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7.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8.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42" r:id="rId4"/>
    <p:sldMasterId id="2147484444" r:id="rId5"/>
    <p:sldMasterId id="2147484556" r:id="rId6"/>
    <p:sldMasterId id="2147484579" r:id="rId7"/>
    <p:sldMasterId id="2147484591" r:id="rId8"/>
    <p:sldMasterId id="2147484608" r:id="rId9"/>
    <p:sldMasterId id="2147484632" r:id="rId10"/>
    <p:sldMasterId id="2147484699" r:id="rId11"/>
    <p:sldMasterId id="2147484716" r:id="rId12"/>
  </p:sldMasterIdLst>
  <p:notesMasterIdLst>
    <p:notesMasterId r:id="rId25"/>
  </p:notesMasterIdLst>
  <p:handoutMasterIdLst>
    <p:handoutMasterId r:id="rId26"/>
  </p:handoutMasterIdLst>
  <p:sldIdLst>
    <p:sldId id="263" r:id="rId13"/>
    <p:sldId id="2146847325" r:id="rId14"/>
    <p:sldId id="2146847298" r:id="rId15"/>
    <p:sldId id="2146847416" r:id="rId16"/>
    <p:sldId id="2146847417" r:id="rId17"/>
    <p:sldId id="2146847418" r:id="rId18"/>
    <p:sldId id="2146847419" r:id="rId19"/>
    <p:sldId id="2147471284" r:id="rId20"/>
    <p:sldId id="2146847420" r:id="rId21"/>
    <p:sldId id="2147472092" r:id="rId22"/>
    <p:sldId id="2147472174" r:id="rId23"/>
    <p:sldId id="2146847422" r:id="rId24"/>
  </p:sldIdLst>
  <p:sldSz cx="12192000" cy="6858000"/>
  <p:notesSz cx="6797675"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839D10F6-92FC-4B6F-919D-587F85157BCF}">
          <p14:sldIdLst>
            <p14:sldId id="263"/>
            <p14:sldId id="2146847325"/>
            <p14:sldId id="2146847298"/>
            <p14:sldId id="2146847416"/>
            <p14:sldId id="2146847417"/>
            <p14:sldId id="2146847418"/>
            <p14:sldId id="2146847419"/>
            <p14:sldId id="2147471284"/>
            <p14:sldId id="2146847420"/>
            <p14:sldId id="2147472092"/>
            <p14:sldId id="2147472174"/>
            <p14:sldId id="21468474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358759-5C8B-0FA0-AC47-9510049DC5CA}" name="Helena Granstedt Löfman" initials="HL" userId="S::helena.lofman@miljo.goteborg.se::91b8c872-4e0f-4a4f-bffa-4ffa92cda22c" providerId="AD"/>
  <p188:author id="{2D85F579-4C59-DCC7-E565-D79E6B88FFE3}" name="Emma Rex" initials="ER" userId="S::emma.rex@miljo.goteborg.se::dce6d223-b386-4a43-91ed-75526dfb9de6" providerId="AD"/>
  <p188:author id="{53B49D92-DAF9-98C8-0B8D-D7089EED8EBB}" name="Nina Zachrisson" initials="NZ" userId="S::nina.zackrisson@miljo.goteborg.se::ffbb1198-9ffa-44e4-91e0-b1594ae872a1" providerId="AD"/>
  <p188:author id="{72866BA0-AF15-FDCA-8CD7-421DFF5A35C9}" name="Kristofer Palmestål" initials="KP" userId="S::kristofer.palmestal@miljo.goteborg.se::e109c13b-14d0-428d-814d-b7fd24d98679" providerId="AD"/>
  <p188:author id="{71088FAE-92BA-E936-9C78-C7D592975B07}" name="Julia Johansson" initials="JJ" userId="S::julia.johansson@miljo.goteborg.se::e455cef4-9d55-4918-ad6c-ec28361ef4c9" providerId="AD"/>
  <p188:author id="{841D7DD2-3E05-9D79-2BF1-90B46FFF90F5}" name="Peter Aarsrud" initials="PA" userId="S::peter.aarsrud@miljo.goteborg.se::3fe9a4d7-1f91-4f4f-98b1-93b5a811371a" providerId="AD"/>
  <p188:author id="{85DEEDE3-A1C6-D4AA-8B7C-F50031FB797F}" name="Jennica Kjällstrand" initials="JK" userId="S::jennica.kjallstrand@miljo.goteborg.se::f0f352eb-9232-4577-83a2-54478fb0a07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BC"/>
    <a:srgbClr val="FFF2B0"/>
    <a:srgbClr val="B8E1C8"/>
    <a:srgbClr val="FBCFB9"/>
    <a:srgbClr val="FFFFFF"/>
    <a:srgbClr val="3F5564"/>
    <a:srgbClr val="D53878"/>
    <a:srgbClr val="008391"/>
    <a:srgbClr val="FBF2B4"/>
    <a:srgbClr val="F0CD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0CF487-6CDF-43B4-942D-C63B723DA757}" v="2" dt="2025-11-03T14:01:28.235"/>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Inget format, tabellrutnä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2619" autoAdjust="0"/>
  </p:normalViewPr>
  <p:slideViewPr>
    <p:cSldViewPr snapToGrid="0">
      <p:cViewPr varScale="1">
        <p:scale>
          <a:sx n="92" d="100"/>
          <a:sy n="92" d="100"/>
        </p:scale>
        <p:origin x="1278" y="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28D75527-1052-40CF-90A7-805EC4F7728D}"/>
              </a:ext>
            </a:extLst>
          </p:cNvPr>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sv-SE"/>
          </a:p>
        </p:txBody>
      </p:sp>
      <p:sp>
        <p:nvSpPr>
          <p:cNvPr id="3" name="Platshållare för datum 2">
            <a:extLst>
              <a:ext uri="{FF2B5EF4-FFF2-40B4-BE49-F238E27FC236}">
                <a16:creationId xmlns:a16="http://schemas.microsoft.com/office/drawing/2014/main" id="{782182B2-420A-475A-83CF-72C9A1964B53}"/>
              </a:ext>
            </a:extLst>
          </p:cNvPr>
          <p:cNvSpPr>
            <a:spLocks noGrp="1"/>
          </p:cNvSpPr>
          <p:nvPr>
            <p:ph type="dt" sz="quarter" idx="1"/>
          </p:nvPr>
        </p:nvSpPr>
        <p:spPr>
          <a:xfrm>
            <a:off x="3850443" y="0"/>
            <a:ext cx="2945659" cy="495348"/>
          </a:xfrm>
          <a:prstGeom prst="rect">
            <a:avLst/>
          </a:prstGeom>
        </p:spPr>
        <p:txBody>
          <a:bodyPr vert="horz" lIns="91440" tIns="45720" rIns="91440" bIns="45720" rtlCol="0"/>
          <a:lstStyle>
            <a:lvl1pPr algn="r">
              <a:defRPr sz="1200"/>
            </a:lvl1pPr>
          </a:lstStyle>
          <a:p>
            <a:fld id="{191BB566-3845-4DC0-8CE2-DC15231A2062}" type="datetime1">
              <a:rPr lang="sv-SE" smtClean="0"/>
              <a:t>2025-11-04</a:t>
            </a:fld>
            <a:endParaRPr lang="sv-SE"/>
          </a:p>
        </p:txBody>
      </p:sp>
      <p:sp>
        <p:nvSpPr>
          <p:cNvPr id="4" name="Platshållare för sidfot 3">
            <a:extLst>
              <a:ext uri="{FF2B5EF4-FFF2-40B4-BE49-F238E27FC236}">
                <a16:creationId xmlns:a16="http://schemas.microsoft.com/office/drawing/2014/main" id="{3CFEBD13-AD79-4726-9C7A-9E5C531A1A58}"/>
              </a:ext>
            </a:extLst>
          </p:cNvPr>
          <p:cNvSpPr>
            <a:spLocks noGrp="1"/>
          </p:cNvSpPr>
          <p:nvPr>
            <p:ph type="ftr" sz="quarter" idx="2"/>
          </p:nvPr>
        </p:nvSpPr>
        <p:spPr>
          <a:xfrm>
            <a:off x="0" y="9377317"/>
            <a:ext cx="2945659" cy="49534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F00A28DF-4169-4B51-B8D3-AA9A5D61235C}"/>
              </a:ext>
            </a:extLst>
          </p:cNvPr>
          <p:cNvSpPr>
            <a:spLocks noGrp="1"/>
          </p:cNvSpPr>
          <p:nvPr>
            <p:ph type="sldNum" sz="quarter" idx="3"/>
          </p:nvPr>
        </p:nvSpPr>
        <p:spPr>
          <a:xfrm>
            <a:off x="3850443" y="9377317"/>
            <a:ext cx="2945659" cy="495347"/>
          </a:xfrm>
          <a:prstGeom prst="rect">
            <a:avLst/>
          </a:prstGeom>
        </p:spPr>
        <p:txBody>
          <a:bodyPr vert="horz" lIns="91440" tIns="45720" rIns="91440" bIns="45720" rtlCol="0" anchor="b"/>
          <a:lstStyle>
            <a:lvl1pPr algn="r">
              <a:defRPr sz="1200"/>
            </a:lvl1pPr>
          </a:lstStyle>
          <a:p>
            <a:fld id="{789A0780-C7EB-45E8-96EB-66D0986C42C0}" type="slidenum">
              <a:rPr lang="sv-SE" smtClean="0"/>
              <a:t>‹#›</a:t>
            </a:fld>
            <a:endParaRPr lang="sv-SE"/>
          </a:p>
        </p:txBody>
      </p:sp>
    </p:spTree>
    <p:extLst>
      <p:ext uri="{BB962C8B-B14F-4D97-AF65-F5344CB8AC3E}">
        <p14:creationId xmlns:p14="http://schemas.microsoft.com/office/powerpoint/2010/main" val="81033701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F995FFDC-F934-4037-B505-500B08CD3B8C}" type="datetime1">
              <a:rPr lang="sv-SE" smtClean="0"/>
              <a:t>2025-11-04</a:t>
            </a:fld>
            <a:endParaRPr lang="sv-SE"/>
          </a:p>
        </p:txBody>
      </p:sp>
      <p:sp>
        <p:nvSpPr>
          <p:cNvPr id="4" name="Platshållare för bildobjekt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4B1086EF-3011-429C-976B-61D9CA3A2B54}" type="slidenum">
              <a:rPr lang="sv-SE" smtClean="0"/>
              <a:t>‹#›</a:t>
            </a:fld>
            <a:endParaRPr lang="sv-SE"/>
          </a:p>
        </p:txBody>
      </p:sp>
    </p:spTree>
    <p:extLst>
      <p:ext uri="{BB962C8B-B14F-4D97-AF65-F5344CB8AC3E}">
        <p14:creationId xmlns:p14="http://schemas.microsoft.com/office/powerpoint/2010/main" val="2079586871"/>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Presentera oss </a:t>
            </a:r>
          </a:p>
          <a:p>
            <a:r>
              <a:rPr lang="sv-SE" dirty="0"/>
              <a:t>Jennica inleder</a:t>
            </a:r>
          </a:p>
        </p:txBody>
      </p:sp>
      <p:sp>
        <p:nvSpPr>
          <p:cNvPr id="4" name="Platshållare för datum 3"/>
          <p:cNvSpPr>
            <a:spLocks noGrp="1"/>
          </p:cNvSpPr>
          <p:nvPr>
            <p:ph type="dt" idx="1"/>
          </p:nvPr>
        </p:nvSpPr>
        <p:spPr/>
        <p:txBody>
          <a:bodyPr/>
          <a:lstStyle/>
          <a:p>
            <a:fld id="{F995FFDC-F934-4037-B505-500B08CD3B8C}" type="datetime1">
              <a:rPr lang="sv-SE" smtClean="0"/>
              <a:t>2025-11-04</a:t>
            </a:fld>
            <a:endParaRPr lang="sv-SE"/>
          </a:p>
        </p:txBody>
      </p:sp>
      <p:sp>
        <p:nvSpPr>
          <p:cNvPr id="5" name="Platshållare för bildnummer 4"/>
          <p:cNvSpPr>
            <a:spLocks noGrp="1"/>
          </p:cNvSpPr>
          <p:nvPr>
            <p:ph type="sldNum" sz="quarter" idx="5"/>
          </p:nvPr>
        </p:nvSpPr>
        <p:spPr/>
        <p:txBody>
          <a:bodyPr/>
          <a:lstStyle/>
          <a:p>
            <a:fld id="{4B1086EF-3011-429C-976B-61D9CA3A2B54}" type="slidenum">
              <a:rPr lang="sv-SE" smtClean="0"/>
              <a:t>1</a:t>
            </a:fld>
            <a:endParaRPr lang="sv-SE"/>
          </a:p>
        </p:txBody>
      </p:sp>
    </p:spTree>
    <p:extLst>
      <p:ext uri="{BB962C8B-B14F-4D97-AF65-F5344CB8AC3E}">
        <p14:creationId xmlns:p14="http://schemas.microsoft.com/office/powerpoint/2010/main" val="34217718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0" dirty="0"/>
          </a:p>
        </p:txBody>
      </p:sp>
      <p:sp>
        <p:nvSpPr>
          <p:cNvPr id="4" name="Platshållare för sidhuvud 3"/>
          <p:cNvSpPr>
            <a:spLocks noGrp="1"/>
          </p:cNvSpPr>
          <p:nvPr>
            <p:ph type="hdr" sz="quarter"/>
          </p:nvPr>
        </p:nvSpPr>
        <p:spPr/>
        <p:txBody>
          <a:bodyPr/>
          <a:lstStyle/>
          <a:p>
            <a:r>
              <a:rPr lang="sv-SE"/>
              <a:t>Presentation för enbart de smartase</a:t>
            </a:r>
            <a:endParaRPr lang="en-GB"/>
          </a:p>
        </p:txBody>
      </p:sp>
      <p:sp>
        <p:nvSpPr>
          <p:cNvPr id="5" name="Platshållare för bildnummer 4"/>
          <p:cNvSpPr>
            <a:spLocks noGrp="1"/>
          </p:cNvSpPr>
          <p:nvPr>
            <p:ph type="sldNum" sz="quarter" idx="5"/>
          </p:nvPr>
        </p:nvSpPr>
        <p:spPr/>
        <p:txBody>
          <a:bodyPr/>
          <a:lstStyle/>
          <a:p>
            <a:fld id="{AC497CE8-006A-4D39-B790-B2C157C25173}" type="slidenum">
              <a:rPr lang="en-GB" smtClean="0"/>
              <a:pPr/>
              <a:t>10</a:t>
            </a:fld>
            <a:endParaRPr lang="en-GB"/>
          </a:p>
        </p:txBody>
      </p:sp>
    </p:spTree>
    <p:extLst>
      <p:ext uri="{BB962C8B-B14F-4D97-AF65-F5344CB8AC3E}">
        <p14:creationId xmlns:p14="http://schemas.microsoft.com/office/powerpoint/2010/main" val="1828411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Nämn att rekommendationerna finns organiserade per N/S i rapporten</a:t>
            </a:r>
          </a:p>
        </p:txBody>
      </p:sp>
      <p:sp>
        <p:nvSpPr>
          <p:cNvPr id="4" name="Platshållare för datum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9999F7-6EBA-4091-BBE7-8C96FF713A89}"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5-11-0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1086EF-3011-429C-976B-61D9CA3A2B5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69175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Jag tror att ni är väl bekanta med den här bilden, som sammanfattar MKP.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a:t>Målbild</a:t>
            </a:r>
          </a:p>
          <a:p>
            <a:pPr>
              <a:defRPr/>
            </a:pPr>
            <a:r>
              <a:rPr lang="sv-SE"/>
              <a:t>De tre målen avser Göteborgssamhället</a:t>
            </a:r>
            <a:endParaRPr lang="sv-SE">
              <a:cs typeface="Arial"/>
            </a:endParaRPr>
          </a:p>
          <a:p>
            <a:pPr>
              <a:defRPr/>
            </a:pPr>
            <a:r>
              <a:rPr lang="sv-SE">
                <a:cs typeface="Arial"/>
              </a:rPr>
              <a:t>De tolv delmålen har huvudsakligen fokus på Göteborgs Stads verksamhet</a:t>
            </a: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sv-SE"/>
              <a:t>De två viktigaste arbetssätten: Tvärgående strategierna + stadens systematiska miljöarbete</a:t>
            </a:r>
            <a:endParaRPr lang="sv-SE">
              <a:cs typeface="Arial"/>
            </a:endParaRPr>
          </a:p>
          <a:p>
            <a:pPr>
              <a:defRPr/>
            </a:pPr>
            <a:r>
              <a:rPr lang="sv-SE">
                <a:cs typeface="Arial"/>
              </a:rPr>
              <a:t>Systematiska miljöarbetet för att jobba effektivt och med ständiga förbättringar i linjeorganisationen. Miljöarbetet ska integreras i den ordinarie styrningen. Genom det systematiska miljöarbetet ska F/B identifiera sin största miljöpåverkan och prioritera åtgärder baserat på detta. </a:t>
            </a:r>
          </a:p>
          <a:p>
            <a:pPr>
              <a:defRPr/>
            </a:pPr>
            <a:r>
              <a:rPr lang="sv-SE">
                <a:cs typeface="Arial"/>
              </a:rPr>
              <a:t>Strategierna: Utvecklingsarbete på tvären mellan förvaltningar, bolag och omvärld för att lösa utmaningar som påverkar flera mål</a:t>
            </a:r>
          </a:p>
          <a:p>
            <a:endParaRPr lang="sv-SE" sz="1200" kern="1200">
              <a:solidFill>
                <a:schemeClr val="tx1"/>
              </a:solidFill>
              <a:effectLst/>
              <a:latin typeface="+mn-lt"/>
              <a:ea typeface="+mn-ea"/>
              <a:cs typeface="+mn-cs"/>
            </a:endParaRPr>
          </a:p>
          <a:p>
            <a:endParaRPr lang="sv-SE">
              <a:cs typeface="Arial"/>
            </a:endParaRPr>
          </a:p>
          <a:p>
            <a:endParaRPr lang="sv-SE">
              <a:cs typeface="Arial"/>
            </a:endParaRPr>
          </a:p>
        </p:txBody>
      </p:sp>
      <p:sp>
        <p:nvSpPr>
          <p:cNvPr id="4" name="Platshållare för datum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532145-269E-4DEC-A5F5-E687CD17D124}"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5-11-0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1086EF-3011-429C-976B-61D9CA3A2B5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45210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a:effectLst/>
              <a:latin typeface="Arial" panose="020B0604020202020204" pitchFamily="34" charset="0"/>
              <a:ea typeface="Calibri" panose="020F0502020204030204" pitchFamily="34" charset="0"/>
              <a:cs typeface="Arial" panose="020B0604020202020204" pitchFamily="34" charset="0"/>
            </a:endParaRPr>
          </a:p>
        </p:txBody>
      </p:sp>
      <p:sp>
        <p:nvSpPr>
          <p:cNvPr id="4" name="Platshållare för datum 3"/>
          <p:cNvSpPr>
            <a:spLocks noGrp="1"/>
          </p:cNvSpPr>
          <p:nvPr>
            <p:ph type="dt" idx="1"/>
          </p:nvPr>
        </p:nvSpPr>
        <p:spPr/>
        <p:txBody>
          <a:bodyPr/>
          <a:lstStyle/>
          <a:p>
            <a:fld id="{479999F7-6EBA-4091-BBE7-8C96FF713A89}" type="datetime1">
              <a:rPr lang="sv-SE" smtClean="0"/>
              <a:t>2025-11-04</a:t>
            </a:fld>
            <a:endParaRPr lang="sv-SE"/>
          </a:p>
        </p:txBody>
      </p:sp>
      <p:sp>
        <p:nvSpPr>
          <p:cNvPr id="5" name="Platshållare för bildnummer 4"/>
          <p:cNvSpPr>
            <a:spLocks noGrp="1"/>
          </p:cNvSpPr>
          <p:nvPr>
            <p:ph type="sldNum" sz="quarter" idx="5"/>
          </p:nvPr>
        </p:nvSpPr>
        <p:spPr/>
        <p:txBody>
          <a:bodyPr/>
          <a:lstStyle/>
          <a:p>
            <a:fld id="{4B1086EF-3011-429C-976B-61D9CA3A2B54}" type="slidenum">
              <a:rPr lang="sv-SE" smtClean="0"/>
              <a:t>3</a:t>
            </a:fld>
            <a:endParaRPr lang="sv-SE"/>
          </a:p>
        </p:txBody>
      </p:sp>
    </p:spTree>
    <p:extLst>
      <p:ext uri="{BB962C8B-B14F-4D97-AF65-F5344CB8AC3E}">
        <p14:creationId xmlns:p14="http://schemas.microsoft.com/office/powerpoint/2010/main" val="2960311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Berätta om hur det gå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Visa inom vilka mål vi behöver särskilt behöver samverka för att klara utmaningarna</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Vi använder även uppföljningen som ett pådrivande verktyg</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endParaRPr lang="sv-SE" dirty="0"/>
          </a:p>
        </p:txBody>
      </p:sp>
      <p:sp>
        <p:nvSpPr>
          <p:cNvPr id="4" name="Platshållare för datum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95FFDC-F934-4037-B505-500B08CD3B8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5-11-0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1086EF-3011-429C-976B-61D9CA3A2B5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470411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a:lnSpc>
                <a:spcPct val="100000"/>
              </a:lnSpc>
              <a:spcBef>
                <a:spcPts val="0"/>
              </a:spcBef>
              <a:spcAft>
                <a:spcPts val="0"/>
              </a:spcAft>
              <a:buClrTx/>
              <a:buSzTx/>
              <a:buFontTx/>
              <a:buNone/>
              <a:tabLst/>
              <a:defRPr/>
            </a:pPr>
            <a:r>
              <a:rPr lang="sv-SE" dirty="0"/>
              <a:t>Vad är det då vi ser när vi zoomar ut och tittar på hur det går med stadens arbete med att nå målen? </a:t>
            </a:r>
            <a:endParaRPr lang="sv-SE" dirty="0">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dirty="0"/>
              <a:t>Vi ser att det är stor skillnad i hur staden arbetar idag jämfört med den förra uppföljningen för två år sedan. Men det är stora utmaningar och vi behöver skruva upp takten mer. </a:t>
            </a:r>
            <a:endParaRPr lang="sv-SE" dirty="0">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dirty="0"/>
              <a:t>Både miljö- och klimatprogrammets tvärgående strategier och stadens systematiska miljöarbete är viktiga arbetssätt som gör att vi fokuserar på rätt frågor och ökar framdriften. </a:t>
            </a:r>
            <a:endParaRPr lang="sv-SE" dirty="0">
              <a:cs typeface="Arial"/>
            </a:endParaRPr>
          </a:p>
          <a:p>
            <a:pPr marL="456565" lvl="1" indent="-229870">
              <a:lnSpc>
                <a:spcPct val="110000"/>
              </a:lnSpc>
              <a:spcAft>
                <a:spcPts val="300"/>
              </a:spcAft>
              <a:buFont typeface="Arial" panose="020B0604020202020204" pitchFamily="34" charset="0"/>
              <a:buChar char="•"/>
              <a:defRPr/>
            </a:pPr>
            <a:r>
              <a:rPr lang="sv-SE" dirty="0">
                <a:solidFill>
                  <a:srgbClr val="333333"/>
                </a:solidFill>
              </a:rPr>
              <a:t>Styrningen mot flera mål har förbättrats de senaste två åren. Flera åtgärdsplaner, lokala åtgärdsprogram och annan styrning har tagits fram. De behöver de genomföras med hög ambitionsnivå. </a:t>
            </a:r>
            <a:r>
              <a:rPr lang="sv-SE" dirty="0"/>
              <a:t>Vi ser också att N/S behöver genomföra rekommendationerna…</a:t>
            </a:r>
            <a:r>
              <a:rPr lang="sv-SE" dirty="0">
                <a:solidFill>
                  <a:srgbClr val="333333"/>
                </a:solidFill>
              </a:rPr>
              <a:t>Rekommendationer för respektive mål</a:t>
            </a:r>
            <a:endParaRPr lang="sv-SE" dirty="0">
              <a:solidFill>
                <a:srgbClr val="333333"/>
              </a:solidFill>
              <a:cs typeface="Arial"/>
            </a:endParaRPr>
          </a:p>
          <a:p>
            <a:pPr marL="456565" lvl="1" indent="-229870">
              <a:lnSpc>
                <a:spcPct val="110000"/>
              </a:lnSpc>
              <a:spcAft>
                <a:spcPts val="300"/>
              </a:spcAft>
              <a:buFont typeface="Arial" panose="020B0604020202020204" pitchFamily="34" charset="0"/>
              <a:buChar char="•"/>
              <a:defRPr/>
            </a:pPr>
            <a:r>
              <a:rPr lang="sv-SE" dirty="0">
                <a:solidFill>
                  <a:srgbClr val="333333"/>
                </a:solidFill>
              </a:rPr>
              <a:t>Övergripande rekommendationer</a:t>
            </a:r>
          </a:p>
          <a:p>
            <a:pPr marL="226695" lvl="1" indent="0">
              <a:lnSpc>
                <a:spcPct val="110000"/>
              </a:lnSpc>
              <a:spcAft>
                <a:spcPts val="300"/>
              </a:spcAft>
              <a:buFont typeface="Arial" panose="020B0604020202020204" pitchFamily="34" charset="0"/>
              <a:buNone/>
              <a:defRPr/>
            </a:pPr>
            <a:endParaRPr lang="sv-SE" dirty="0">
              <a:solidFill>
                <a:srgbClr val="333333"/>
              </a:solidFill>
              <a:cs typeface="Arial"/>
            </a:endParaRPr>
          </a:p>
          <a:p>
            <a:pPr marL="0" indent="0">
              <a:lnSpc>
                <a:spcPct val="115000"/>
              </a:lnSpc>
              <a:spcAft>
                <a:spcPts val="800"/>
              </a:spcAft>
              <a:buNone/>
            </a:pPr>
            <a:r>
              <a:rPr lang="sv-SE" sz="3300" dirty="0">
                <a:effectLst/>
                <a:latin typeface="Arial (Brödtext)"/>
                <a:ea typeface="Times New Roman" panose="02020603050405020304" pitchFamily="18" charset="0"/>
                <a:cs typeface="Times New Roman" panose="02020603050405020304" pitchFamily="18" charset="0"/>
              </a:rPr>
              <a:t>Staden behöver fokusera på vissa områden som har bäring på flera mål: </a:t>
            </a:r>
          </a:p>
          <a:p>
            <a:pPr marL="0" indent="0">
              <a:lnSpc>
                <a:spcPct val="115000"/>
              </a:lnSpc>
              <a:spcAft>
                <a:spcPts val="800"/>
              </a:spcAft>
              <a:buNone/>
            </a:pPr>
            <a:endParaRPr lang="sv-SE" sz="2900" dirty="0">
              <a:effectLst/>
              <a:latin typeface="Arial (Brödtext)"/>
              <a:ea typeface="Times New Roman" panose="02020603050405020304" pitchFamily="18" charset="0"/>
              <a:cs typeface="Times New Roman" panose="02020603050405020304" pitchFamily="18" charset="0"/>
            </a:endParaRPr>
          </a:p>
          <a:p>
            <a:pPr marL="226783" lvl="1" indent="0">
              <a:lnSpc>
                <a:spcPct val="115000"/>
              </a:lnSpc>
              <a:spcAft>
                <a:spcPts val="0"/>
              </a:spcAft>
              <a:buNone/>
            </a:pPr>
            <a:r>
              <a:rPr lang="sv-SE" sz="3200" b="1" dirty="0">
                <a:latin typeface="Arial (Brödtext)"/>
                <a:ea typeface="Times New Roman" panose="02020603050405020304" pitchFamily="18" charset="0"/>
                <a:cs typeface="Times New Roman" panose="02020603050405020304" pitchFamily="18" charset="0"/>
              </a:rPr>
              <a:t>Minskad vägtrafik</a:t>
            </a:r>
          </a:p>
          <a:p>
            <a:pPr marL="226783" lvl="1" indent="0">
              <a:lnSpc>
                <a:spcPct val="115000"/>
              </a:lnSpc>
              <a:spcBef>
                <a:spcPts val="300"/>
              </a:spcBef>
              <a:buNone/>
            </a:pPr>
            <a:r>
              <a:rPr lang="sv-SE" sz="3200" dirty="0">
                <a:effectLst/>
                <a:latin typeface="Arial (Brödtext)"/>
                <a:ea typeface="Times New Roman" panose="02020603050405020304" pitchFamily="18" charset="0"/>
                <a:cs typeface="Times New Roman" panose="02020603050405020304" pitchFamily="18" charset="0"/>
              </a:rPr>
              <a:t>Att minska vägtrafiken är det mest effektiva sättet att förbättra luftkvaliteten och ljudmiljön, samtidigt som klimatpåverkan minskar och ytor kan frigöras till förmån för exempelvis mer grönska. </a:t>
            </a:r>
          </a:p>
          <a:p>
            <a:pPr marL="0" lvl="0" indent="0">
              <a:lnSpc>
                <a:spcPct val="115000"/>
              </a:lnSpc>
              <a:spcBef>
                <a:spcPts val="300"/>
              </a:spcBef>
              <a:buNone/>
            </a:pPr>
            <a:endParaRPr lang="sv-SE" sz="3200" dirty="0">
              <a:effectLst/>
              <a:latin typeface="Arial (Brödtext)"/>
              <a:ea typeface="Times New Roman" panose="02020603050405020304" pitchFamily="18" charset="0"/>
              <a:cs typeface="Times New Roman" panose="02020603050405020304" pitchFamily="18" charset="0"/>
            </a:endParaRPr>
          </a:p>
          <a:p>
            <a:pPr marL="226783" lvl="1" indent="0">
              <a:lnSpc>
                <a:spcPct val="115000"/>
              </a:lnSpc>
              <a:spcAft>
                <a:spcPts val="0"/>
              </a:spcAft>
              <a:buNone/>
            </a:pPr>
            <a:r>
              <a:rPr lang="sv-SE" sz="3200" b="1" dirty="0">
                <a:latin typeface="Arial (Brödtext)"/>
                <a:cs typeface="Times New Roman" panose="02020603050405020304" pitchFamily="18" charset="0"/>
              </a:rPr>
              <a:t>Skydd av natur och prioritering av grönytor</a:t>
            </a:r>
          </a:p>
          <a:p>
            <a:pPr marL="226783" lvl="1" indent="0">
              <a:lnSpc>
                <a:spcPct val="115000"/>
              </a:lnSpc>
              <a:spcAft>
                <a:spcPts val="0"/>
              </a:spcAft>
              <a:buNone/>
            </a:pPr>
            <a:r>
              <a:rPr lang="sv-SE" sz="3200" dirty="0">
                <a:latin typeface="Arial (Brödtext)"/>
                <a:cs typeface="Times New Roman" panose="02020603050405020304" pitchFamily="18" charset="0"/>
              </a:rPr>
              <a:t>Genom ökat skydd av natur och högre prioritering av </a:t>
            </a:r>
            <a:r>
              <a:rPr lang="sv-SE" sz="3200" dirty="0">
                <a:effectLst/>
                <a:latin typeface="Arial (Brödtext)"/>
                <a:ea typeface="Times New Roman" panose="02020603050405020304" pitchFamily="18" charset="0"/>
                <a:cs typeface="Times New Roman" panose="02020603050405020304" pitchFamily="18" charset="0"/>
              </a:rPr>
              <a:t>grönytor i stadsutvecklingen förbättras den biologiska mångfalden samtidigt som ekosystemtjänster gynnas och staden rustas för klimatförändringar. </a:t>
            </a:r>
          </a:p>
          <a:p>
            <a:pPr marL="0" indent="0">
              <a:lnSpc>
                <a:spcPct val="115000"/>
              </a:lnSpc>
              <a:spcAft>
                <a:spcPts val="0"/>
              </a:spcAft>
              <a:buNone/>
            </a:pPr>
            <a:endParaRPr lang="sv-SE" sz="3200" dirty="0">
              <a:effectLst/>
              <a:latin typeface="Arial (Brödtext)"/>
              <a:ea typeface="Times New Roman" panose="02020603050405020304" pitchFamily="18" charset="0"/>
              <a:cs typeface="Times New Roman" panose="02020603050405020304" pitchFamily="18" charset="0"/>
            </a:endParaRPr>
          </a:p>
          <a:p>
            <a:pPr marL="226783" lvl="1" indent="0">
              <a:lnSpc>
                <a:spcPct val="115000"/>
              </a:lnSpc>
              <a:spcAft>
                <a:spcPts val="0"/>
              </a:spcAft>
              <a:buNone/>
            </a:pPr>
            <a:r>
              <a:rPr lang="sv-SE" sz="3200" b="1" dirty="0">
                <a:latin typeface="Arial (Brödtext)"/>
                <a:cs typeface="Times New Roman" panose="02020603050405020304" pitchFamily="18" charset="0"/>
              </a:rPr>
              <a:t>Stadens inköp</a:t>
            </a:r>
          </a:p>
          <a:p>
            <a:pPr marL="226783" lvl="1" indent="0">
              <a:lnSpc>
                <a:spcPct val="115000"/>
              </a:lnSpc>
              <a:spcAft>
                <a:spcPts val="800"/>
              </a:spcAft>
              <a:buNone/>
            </a:pPr>
            <a:r>
              <a:rPr lang="sv-SE" sz="3200" dirty="0">
                <a:effectLst/>
                <a:latin typeface="Arial (Brödtext)"/>
                <a:ea typeface="Times New Roman" panose="02020603050405020304" pitchFamily="18" charset="0"/>
                <a:cs typeface="Times New Roman" panose="02020603050405020304" pitchFamily="18" charset="0"/>
              </a:rPr>
              <a:t>Genom att arbeta strategiskt med stadens inköp och verka för mer hållbara konsumtionsmönster i göteborgssamhället minskar påverkan på både klimat och biologisk mångfald samt exponering för skadliga ämnen längs hela värdekedjan. </a:t>
            </a:r>
          </a:p>
          <a:p>
            <a:endParaRPr lang="sv-SE" dirty="0">
              <a:latin typeface="Arial (Brödtext)"/>
            </a:endParaRPr>
          </a:p>
          <a:p>
            <a:pPr marL="226695" lvl="1" indent="0">
              <a:lnSpc>
                <a:spcPct val="110000"/>
              </a:lnSpc>
              <a:spcAft>
                <a:spcPts val="300"/>
              </a:spcAft>
              <a:buFont typeface="Arial" panose="020B0604020202020204" pitchFamily="34" charset="0"/>
              <a:buNone/>
              <a:defRPr/>
            </a:pPr>
            <a:endParaRPr lang="sv-SE" dirty="0">
              <a:solidFill>
                <a:srgbClr val="333333"/>
              </a:solidFill>
              <a:cs typeface="Arial"/>
            </a:endParaRPr>
          </a:p>
          <a:p>
            <a:pPr marL="171450" indent="-171450">
              <a:buFont typeface="Arial" panose="020B0604020202020204" pitchFamily="34" charset="0"/>
              <a:buChar char="•"/>
              <a:defRPr/>
            </a:pPr>
            <a:endParaRPr lang="sv-SE" dirty="0">
              <a:cs typeface="Arial"/>
            </a:endParaRPr>
          </a:p>
        </p:txBody>
      </p:sp>
      <p:sp>
        <p:nvSpPr>
          <p:cNvPr id="4" name="Platshållare för datum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95FFDC-F934-4037-B505-500B08CD3B8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5-11-0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1086EF-3011-429C-976B-61D9CA3A2B5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05833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sv-SE" dirty="0"/>
              <a:t>Totalt 65 </a:t>
            </a:r>
            <a:r>
              <a:rPr lang="sv-SE" dirty="0" err="1"/>
              <a:t>st</a:t>
            </a:r>
            <a:endParaRPr lang="sv-SE" dirty="0"/>
          </a:p>
          <a:p>
            <a:pPr algn="l"/>
            <a:endParaRPr lang="sv-SE" dirty="0"/>
          </a:p>
        </p:txBody>
      </p:sp>
      <p:sp>
        <p:nvSpPr>
          <p:cNvPr id="4" name="Platshållare för datum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95FFDC-F934-4037-B505-500B08CD3B8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5-11-0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1086EF-3011-429C-976B-61D9CA3A2B5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8531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15000"/>
              </a:lnSpc>
              <a:spcAft>
                <a:spcPts val="800"/>
              </a:spcAft>
            </a:pPr>
            <a:r>
              <a:rPr lang="sv-SE" sz="1800">
                <a:effectLst/>
                <a:latin typeface="Times New Roman" panose="02020603050405020304" pitchFamily="18" charset="0"/>
                <a:ea typeface="MS PMincho" panose="02020600040205080304" pitchFamily="18" charset="-128"/>
                <a:cs typeface="Calibri" panose="020F0502020204030204" pitchFamily="34" charset="0"/>
              </a:rPr>
              <a:t>Jennica</a:t>
            </a:r>
          </a:p>
          <a:p>
            <a:pPr>
              <a:lnSpc>
                <a:spcPct val="115000"/>
              </a:lnSpc>
              <a:spcAft>
                <a:spcPts val="800"/>
              </a:spcAft>
            </a:pPr>
            <a:endParaRPr lang="sv-SE" sz="1800">
              <a:effectLst/>
              <a:latin typeface="Times New Roman" panose="02020603050405020304" pitchFamily="18" charset="0"/>
              <a:ea typeface="MS PMincho" panose="02020600040205080304" pitchFamily="18" charset="-128"/>
              <a:cs typeface="Calibri" panose="020F0502020204030204" pitchFamily="34" charset="0"/>
            </a:endParaRPr>
          </a:p>
          <a:p>
            <a:pPr>
              <a:lnSpc>
                <a:spcPct val="115000"/>
              </a:lnSpc>
              <a:spcAft>
                <a:spcPts val="800"/>
              </a:spcAft>
            </a:pPr>
            <a:r>
              <a:rPr lang="sv-SE" sz="1800">
                <a:effectLst/>
                <a:latin typeface="Times New Roman" panose="02020603050405020304" pitchFamily="18" charset="0"/>
                <a:ea typeface="MS PMincho" panose="02020600040205080304" pitchFamily="18" charset="-128"/>
                <a:cs typeface="Calibri" panose="020F0502020204030204" pitchFamily="34" charset="0"/>
              </a:rPr>
              <a:t>Rapportens övergripande rekommendationer handlar om</a:t>
            </a:r>
            <a:r>
              <a:rPr lang="sv-SE" sz="1800">
                <a:effectLst/>
                <a:latin typeface="Times New Roman" panose="02020603050405020304" pitchFamily="18" charset="0"/>
                <a:ea typeface="MS PMincho" panose="02020600040205080304" pitchFamily="18" charset="-128"/>
                <a:cs typeface="Times New Roman" panose="02020603050405020304" pitchFamily="18" charset="0"/>
              </a:rPr>
              <a:t> åtgärder inom styrning, ledning och organisering som har potential att ge bättre framdrift för alla mål. </a:t>
            </a:r>
          </a:p>
          <a:p>
            <a:pPr marL="457200" indent="-457200">
              <a:buFont typeface="+mj-lt"/>
              <a:buAutoNum type="arabicPeriod"/>
            </a:pPr>
            <a:r>
              <a:rPr lang="sv-SE">
                <a:ea typeface="Times New Roman" panose="02020603050405020304" pitchFamily="18" charset="0"/>
                <a:cs typeface="Times New Roman" panose="02020603050405020304" pitchFamily="18" charset="0"/>
              </a:rPr>
              <a:t>Den första handlar om att samtliga förvaltningar och bolag behöver säkerställa att tillräckliga insatser genomförs. Vi ser att man överlag behöver besluta om, resurssätta och genomföra åtgärder som är ambitiösare än idag, inom ramen för sitt systematiska miljöarbete. Det krävs också fortsatt utvecklingsarbete, både utifrån den egna verksamhetens behov och i gränsytan mellan nämnder, bolag och externa aktörer. </a:t>
            </a:r>
            <a:endParaRPr lang="sv-SE">
              <a:latin typeface="+mn-lt"/>
              <a:ea typeface="+mn-ea"/>
              <a:cs typeface="Times New Roman" panose="02020603050405020304" pitchFamily="18" charset="0"/>
            </a:endParaRPr>
          </a:p>
          <a:p>
            <a:pPr marL="457200" indent="-457200">
              <a:buFont typeface="+mj-lt"/>
              <a:buAutoNum type="arabicPeriod"/>
            </a:pPr>
            <a:r>
              <a:rPr lang="sv-SE">
                <a:latin typeface="Times New Roman" panose="02020603050405020304" pitchFamily="18" charset="0"/>
                <a:ea typeface="Times New Roman" panose="02020603050405020304" pitchFamily="18" charset="0"/>
              </a:rPr>
              <a:t>Nämnder och styrelser måste få kännedom om hinder, målkonflikter och annat som försvårar arbetet med målen.</a:t>
            </a:r>
            <a:r>
              <a:rPr lang="sv-SE" sz="1800" b="0" i="0" u="none" strike="noStrike" baseline="0">
                <a:latin typeface="TimesNewRomanPSMT"/>
              </a:rPr>
              <a:t> Det kan t.ex. handla om processer som går för långsamt, att framdriften är beroende av insatser från andra verksamheter, eller att resurser saknas.</a:t>
            </a:r>
            <a:r>
              <a:rPr lang="sv-SE">
                <a:latin typeface="Times New Roman" panose="02020603050405020304" pitchFamily="18" charset="0"/>
                <a:ea typeface="Times New Roman" panose="02020603050405020304" pitchFamily="18" charset="0"/>
              </a:rPr>
              <a:t> Detta måste beslutsfattarna få veta för att kunna påverka. Beslutsunderlag, till exempel för investeringar, behöver tydligt beskriva vilken påverkan besluten kommer att ha på målen.</a:t>
            </a:r>
            <a:r>
              <a:rPr lang="sv-SE"/>
              <a:t> </a:t>
            </a:r>
            <a:endParaRPr lang="sv-SE" sz="1200" b="0" i="0" u="none" strike="noStrike" baseline="0">
              <a:latin typeface="+mn-lt"/>
            </a:endParaRPr>
          </a:p>
          <a:p>
            <a:pPr marL="457200" indent="-457200">
              <a:buFont typeface="+mj-lt"/>
              <a:buAutoNum type="arabicPeriod"/>
            </a:pPr>
            <a:r>
              <a:rPr lang="sv-SE" sz="1800" b="0" i="0" u="none" strike="noStrike" baseline="0">
                <a:latin typeface="TimesNewRomanPSMT"/>
              </a:rPr>
              <a:t>Nämnder och styrelser behöver identifiera vilka åtgärder som medför ökade kostnader och ta fram en plan för hur de ska finansieras, eller hur ökade kostnader kan motverkas. </a:t>
            </a:r>
            <a:endParaRPr lang="sv-SE" sz="1200" b="0" i="0" u="none" strike="noStrike" baseline="0">
              <a:latin typeface="Times New Roman" panose="02020603050405020304" pitchFamily="18" charset="0"/>
              <a:cs typeface="Times New Roman" panose="02020603050405020304" pitchFamily="18" charset="0"/>
            </a:endParaRPr>
          </a:p>
          <a:p>
            <a:pPr marL="457200" indent="-457200">
              <a:buFont typeface="+mj-lt"/>
              <a:buAutoNum type="arabicPeriod"/>
            </a:pPr>
            <a:r>
              <a:rPr lang="sv-SE" sz="1200" b="0" i="0" u="none" strike="noStrike" baseline="0">
                <a:latin typeface="Times New Roman" panose="02020603050405020304" pitchFamily="18" charset="0"/>
                <a:cs typeface="Times New Roman" panose="02020603050405020304" pitchFamily="18" charset="0"/>
              </a:rPr>
              <a:t>Omställningen till ett hållbart samhälle </a:t>
            </a:r>
            <a:r>
              <a:rPr lang="sv-SE" sz="1800" b="0" i="0" u="none" strike="noStrike" baseline="0">
                <a:latin typeface="TimesNewRomanPSMT"/>
              </a:rPr>
              <a:t>kräver ju både ledare som medarbetare som kan driva förändring. Det kan handla om att ta ett större ansvar för stadenövergripande frågor, stärka förmågan att arbeta med flera hållbarhetsdimensioner samtidigt, skapa bättre förutsättningar för göteborgarna att leva hållbart och att utöka samverkan med det omgivande samhället.  </a:t>
            </a:r>
          </a:p>
          <a:p>
            <a:pPr marL="457200" indent="-457200">
              <a:buFont typeface="+mj-lt"/>
              <a:buAutoNum type="arabicPeriod"/>
            </a:pPr>
            <a:r>
              <a:rPr lang="sv-SE" sz="1800" b="0" i="0" u="none" strike="noStrike" baseline="0">
                <a:latin typeface="TimesNewRomanPSMT"/>
              </a:rPr>
              <a:t>Vi, Göteborgs Stad kan inte nå målen på egen hand, men vi delar målbilden många andra. Staden har många samarbeten med näringsliv, invånare och akademi som vi behöver fortsätta utveckla. Vi behöver också stärka dialogen med politik och myndigheter på nationell och internationell nivå om de utmaningar vi står inför och om vilka förutsättningar vi behöver för att lyckas</a:t>
            </a:r>
            <a:endParaRPr lang="sv-SE">
              <a:latin typeface="Times New Roman" panose="02020603050405020304" pitchFamily="18" charset="0"/>
              <a:ea typeface="Times New Roman" panose="02020603050405020304" pitchFamily="18" charset="0"/>
              <a:cs typeface="Times New Roman" panose="02020603050405020304" pitchFamily="18" charset="0"/>
            </a:endParaRPr>
          </a:p>
          <a:p>
            <a:endParaRPr lang="sv-SE"/>
          </a:p>
        </p:txBody>
      </p:sp>
      <p:sp>
        <p:nvSpPr>
          <p:cNvPr id="4" name="Platshållare för datum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95FFDC-F934-4037-B505-500B08CD3B8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5-11-0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1086EF-3011-429C-976B-61D9CA3A2B5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67795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i="1" kern="1200" dirty="0">
                <a:solidFill>
                  <a:schemeClr val="tx1"/>
                </a:solidFill>
                <a:effectLst/>
                <a:latin typeface="+mn-lt"/>
                <a:ea typeface="+mn-ea"/>
                <a:cs typeface="+mn-cs"/>
              </a:rPr>
              <a:t>Foto: </a:t>
            </a:r>
            <a:r>
              <a:rPr lang="en-US" b="0" i="1" dirty="0">
                <a:solidFill>
                  <a:srgbClr val="000000"/>
                </a:solidFill>
                <a:effectLst/>
                <a:latin typeface="OpenSans"/>
              </a:rPr>
              <a:t>House of Vision/Göteborg &amp; Co</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i="1" kern="1200" dirty="0">
                <a:solidFill>
                  <a:schemeClr val="tx1"/>
                </a:solidFill>
                <a:effectLst/>
                <a:latin typeface="+mn-lt"/>
                <a:ea typeface="+mn-ea"/>
                <a:cs typeface="+mn-cs"/>
              </a:rPr>
              <a:t>https://goteborgco.mediaflowportal.com/search/?Sj%C3%B6manshustrun</a:t>
            </a:r>
          </a:p>
        </p:txBody>
      </p:sp>
      <p:sp>
        <p:nvSpPr>
          <p:cNvPr id="4" name="Platshållare för datum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95FFDC-F934-4037-B505-500B08CD3B8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5-11-0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1086EF-3011-429C-976B-61D9CA3A2B5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71707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A32C5E-CC5C-9729-6156-2A86D1EB6FD6}"/>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5EAB813B-5533-4C27-E5AE-5C1DD4F837F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F0119A09-BB10-41B2-FD99-D4587D35A0ED}"/>
              </a:ext>
            </a:extLst>
          </p:cNvPr>
          <p:cNvSpPr>
            <a:spLocks noGrp="1"/>
          </p:cNvSpPr>
          <p:nvPr>
            <p:ph type="body" idx="1"/>
          </p:nvPr>
        </p:nvSpPr>
        <p:spPr/>
        <p:txBody>
          <a:bodyPr/>
          <a:lstStyle/>
          <a:p>
            <a:endParaRPr lang="sv-SE" dirty="0"/>
          </a:p>
        </p:txBody>
      </p:sp>
      <p:sp>
        <p:nvSpPr>
          <p:cNvPr id="4" name="Platshållare för datum 3">
            <a:extLst>
              <a:ext uri="{FF2B5EF4-FFF2-40B4-BE49-F238E27FC236}">
                <a16:creationId xmlns:a16="http://schemas.microsoft.com/office/drawing/2014/main" id="{83EAA46B-0BC8-2914-1C0E-934E25BCDDA0}"/>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95FFDC-F934-4037-B505-500B08CD3B8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5-11-0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435F10EF-E00C-2DE2-C3B1-B969A20569C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1086EF-3011-429C-976B-61D9CA3A2B5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541319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7.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4.xml"/><Relationship Id="rId4" Type="http://schemas.openxmlformats.org/officeDocument/2006/relationships/image" Target="../media/image17.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Master" Target="../slideMasters/slideMaster6.xml"/><Relationship Id="rId1" Type="http://schemas.openxmlformats.org/officeDocument/2006/relationships/tags" Target="../tags/tag5.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1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6.xml"/><Relationship Id="rId5" Type="http://schemas.openxmlformats.org/officeDocument/2006/relationships/image" Target="../media/image26.png"/><Relationship Id="rId4" Type="http://schemas.openxmlformats.org/officeDocument/2006/relationships/image" Target="../media/image14.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7.xml"/><Relationship Id="rId5" Type="http://schemas.openxmlformats.org/officeDocument/2006/relationships/image" Target="../media/image27.png"/><Relationship Id="rId4" Type="http://schemas.openxmlformats.org/officeDocument/2006/relationships/image" Target="../media/image14.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5" Type="http://schemas.openxmlformats.org/officeDocument/2006/relationships/image" Target="../media/image27.png"/><Relationship Id="rId4" Type="http://schemas.openxmlformats.org/officeDocument/2006/relationships/image" Target="../media/image1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9.xml"/><Relationship Id="rId5" Type="http://schemas.openxmlformats.org/officeDocument/2006/relationships/image" Target="../media/image27.png"/><Relationship Id="rId4" Type="http://schemas.openxmlformats.org/officeDocument/2006/relationships/image" Target="../media/image14.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ubrik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p:nvPr>
        </p:nvSpPr>
        <p:spPr>
          <a:xfrm>
            <a:off x="1731696" y="2626153"/>
            <a:ext cx="8728608" cy="1349829"/>
          </a:xfrm>
          <a:prstGeom prst="rect">
            <a:avLst/>
          </a:prstGeom>
        </p:spPr>
        <p:txBody>
          <a:bodyPr anchor="ctr" anchorCtr="0">
            <a:noAutofit/>
          </a:bodyPr>
          <a:lstStyle>
            <a:lvl1pPr algn="l">
              <a:lnSpc>
                <a:spcPct val="90000"/>
              </a:lnSpc>
              <a:defRPr sz="4200" kern="0" spc="0" baseline="0">
                <a:solidFill>
                  <a:schemeClr val="bg1"/>
                </a:solidFill>
              </a:defRPr>
            </a:lvl1pPr>
          </a:lstStyle>
          <a:p>
            <a:r>
              <a:rPr lang="sv-SE"/>
              <a:t>Klicka här för att ändra mall för rubrikformat</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731696" y="4165601"/>
            <a:ext cx="8728608" cy="251417"/>
          </a:xfrm>
        </p:spPr>
        <p:txBody>
          <a:bodyPr>
            <a:noAutofit/>
          </a:bodyPr>
          <a:lstStyle>
            <a:lvl1pPr marL="0" indent="0">
              <a:lnSpc>
                <a:spcPct val="100000"/>
              </a:lnSpc>
              <a:spcBef>
                <a:spcPts val="0"/>
              </a:spcBef>
              <a:buNone/>
              <a:defRPr sz="18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731696" y="4606637"/>
            <a:ext cx="8728608" cy="251417"/>
          </a:xfrm>
        </p:spPr>
        <p:txBody>
          <a:bodyPr>
            <a:noAutofit/>
          </a:bodyPr>
          <a:lstStyle>
            <a:lvl1pPr marL="0" indent="0">
              <a:lnSpc>
                <a:spcPct val="100000"/>
              </a:lnSpc>
              <a:spcBef>
                <a:spcPts val="0"/>
              </a:spcBef>
              <a:buNone/>
              <a:defRPr sz="14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solidFill>
                  <a:schemeClr val="tx1"/>
                </a:solidFill>
                <a:latin typeface="+mn-lt"/>
              </a:rPr>
              <a:t>Hållbar stad – öppen för värld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41869971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ild helsida med rubrik">
    <p:spTree>
      <p:nvGrpSpPr>
        <p:cNvPr id="1" name=""/>
        <p:cNvGrpSpPr/>
        <p:nvPr/>
      </p:nvGrpSpPr>
      <p:grpSpPr>
        <a:xfrm>
          <a:off x="0" y="0"/>
          <a:ext cx="0" cy="0"/>
          <a:chOff x="0" y="0"/>
          <a:chExt cx="0" cy="0"/>
        </a:xfrm>
      </p:grpSpPr>
      <p:sp>
        <p:nvSpPr>
          <p:cNvPr id="2" name="Platshållare för sidfot 1">
            <a:extLst>
              <a:ext uri="{FF2B5EF4-FFF2-40B4-BE49-F238E27FC236}">
                <a16:creationId xmlns:a16="http://schemas.microsoft.com/office/drawing/2014/main" id="{4C2CB002-9FCD-48CA-BEF4-9C216A36070A}"/>
              </a:ext>
            </a:extLst>
          </p:cNvPr>
          <p:cNvSpPr>
            <a:spLocks noGrp="1"/>
          </p:cNvSpPr>
          <p:nvPr>
            <p:ph type="ftr" sz="quarter" idx="11"/>
          </p:nvPr>
        </p:nvSpPr>
        <p:spPr>
          <a:xfrm>
            <a:off x="479999" y="6376989"/>
            <a:ext cx="5616000" cy="147636"/>
          </a:xfrm>
          <a:prstGeom prst="rect">
            <a:avLst/>
          </a:prstGeom>
        </p:spPr>
        <p:txBody>
          <a:bodyPr/>
          <a:lstStyle/>
          <a:p>
            <a:endParaRPr lang="sv-SE"/>
          </a:p>
        </p:txBody>
      </p:sp>
      <p:sp>
        <p:nvSpPr>
          <p:cNvPr id="4" name="Platshållare för bild 5">
            <a:extLst>
              <a:ext uri="{FF2B5EF4-FFF2-40B4-BE49-F238E27FC236}">
                <a16:creationId xmlns:a16="http://schemas.microsoft.com/office/drawing/2014/main" id="{1566CF40-59BE-4449-B880-5CCAFCC9D997}"/>
              </a:ext>
            </a:extLst>
          </p:cNvPr>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6" name="Title 1">
            <a:extLst>
              <a:ext uri="{FF2B5EF4-FFF2-40B4-BE49-F238E27FC236}">
                <a16:creationId xmlns:a16="http://schemas.microsoft.com/office/drawing/2014/main" id="{5F556A3A-7138-45B2-8593-FAB5296ADD6C}"/>
              </a:ext>
            </a:extLst>
          </p:cNvPr>
          <p:cNvSpPr>
            <a:spLocks noGrp="1"/>
          </p:cNvSpPr>
          <p:nvPr>
            <p:ph type="ctrTitle"/>
          </p:nvPr>
        </p:nvSpPr>
        <p:spPr>
          <a:xfrm>
            <a:off x="1528841" y="2404809"/>
            <a:ext cx="9134323" cy="1113092"/>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spTree>
    <p:extLst>
      <p:ext uri="{BB962C8B-B14F-4D97-AF65-F5344CB8AC3E}">
        <p14:creationId xmlns:p14="http://schemas.microsoft.com/office/powerpoint/2010/main" val="240723735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4_Rubrikbild_ljusrosa">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hasCustomPrompt="1"/>
          </p:nvPr>
        </p:nvSpPr>
        <p:spPr>
          <a:xfrm>
            <a:off x="3405834" y="2674663"/>
            <a:ext cx="6854955" cy="1349829"/>
          </a:xfrm>
          <a:prstGeom prst="rect">
            <a:avLst/>
          </a:prstGeom>
        </p:spPr>
        <p:txBody>
          <a:bodyPr anchor="ctr" anchorCtr="0">
            <a:noAutofit/>
          </a:bodyPr>
          <a:lstStyle>
            <a:lvl1pPr algn="l">
              <a:lnSpc>
                <a:spcPct val="90000"/>
              </a:lnSpc>
              <a:defRPr sz="6000" kern="0" spc="0" baseline="0">
                <a:solidFill>
                  <a:schemeClr val="bg1"/>
                </a:solidFill>
              </a:defRPr>
            </a:lvl1pPr>
          </a:lstStyle>
          <a:p>
            <a:r>
              <a:rPr lang="sv-SE"/>
              <a:t>Rubrik</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3405834" y="4214111"/>
            <a:ext cx="6854955" cy="251417"/>
          </a:xfrm>
        </p:spPr>
        <p:txBody>
          <a:bodyPr>
            <a:noAutofit/>
          </a:bodyPr>
          <a:lstStyle>
            <a:lvl1pPr marL="0" indent="0">
              <a:lnSpc>
                <a:spcPct val="100000"/>
              </a:lnSpc>
              <a:spcBef>
                <a:spcPts val="0"/>
              </a:spcBef>
              <a:buNone/>
              <a:defRPr sz="20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3405834" y="4655147"/>
            <a:ext cx="6854955" cy="251417"/>
          </a:xfrm>
        </p:spPr>
        <p:txBody>
          <a:bodyPr>
            <a:noAutofit/>
          </a:bodyPr>
          <a:lstStyle>
            <a:lvl1pPr marL="0" indent="0">
              <a:lnSpc>
                <a:spcPct val="100000"/>
              </a:lnSpc>
              <a:spcBef>
                <a:spcPts val="0"/>
              </a:spcBef>
              <a:buNone/>
              <a:defRPr sz="16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grpSp>
        <p:nvGrpSpPr>
          <p:cNvPr id="4" name="Grupp 3">
            <a:extLst>
              <a:ext uri="{FF2B5EF4-FFF2-40B4-BE49-F238E27FC236}">
                <a16:creationId xmlns:a16="http://schemas.microsoft.com/office/drawing/2014/main" id="{397C98E5-66B9-0CB8-18CD-A9EA4FA71CEB}"/>
              </a:ext>
            </a:extLst>
          </p:cNvPr>
          <p:cNvGrpSpPr/>
          <p:nvPr userDrawn="1"/>
        </p:nvGrpSpPr>
        <p:grpSpPr>
          <a:xfrm>
            <a:off x="407987" y="1759432"/>
            <a:ext cx="2600266" cy="4691098"/>
            <a:chOff x="407987" y="1759432"/>
            <a:chExt cx="2600266" cy="4691098"/>
          </a:xfrm>
          <a:solidFill>
            <a:schemeClr val="accent5"/>
          </a:solidFill>
        </p:grpSpPr>
        <p:sp>
          <p:nvSpPr>
            <p:cNvPr id="9" name="Frihandsfigur: Form 8">
              <a:extLst>
                <a:ext uri="{FF2B5EF4-FFF2-40B4-BE49-F238E27FC236}">
                  <a16:creationId xmlns:a16="http://schemas.microsoft.com/office/drawing/2014/main" id="{A91D1ADC-88BF-9281-E03D-A5070A7719FA}"/>
                </a:ext>
              </a:extLst>
            </p:cNvPr>
            <p:cNvSpPr/>
            <p:nvPr/>
          </p:nvSpPr>
          <p:spPr>
            <a:xfrm>
              <a:off x="1104479" y="2799058"/>
              <a:ext cx="873633" cy="873633"/>
            </a:xfrm>
            <a:custGeom>
              <a:avLst/>
              <a:gdLst>
                <a:gd name="connsiteX0" fmla="*/ 873634 w 873633"/>
                <a:gd name="connsiteY0" fmla="*/ 436817 h 873633"/>
                <a:gd name="connsiteX1" fmla="*/ 436817 w 873633"/>
                <a:gd name="connsiteY1" fmla="*/ 873634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4"/>
                    <a:pt x="436817" y="873634"/>
                  </a:cubicBezTo>
                  <a:cubicBezTo>
                    <a:pt x="195570" y="873634"/>
                    <a:pt x="0" y="678064"/>
                    <a:pt x="0" y="436817"/>
                  </a:cubicBezTo>
                  <a:cubicBezTo>
                    <a:pt x="0" y="195570"/>
                    <a:pt x="195570" y="0"/>
                    <a:pt x="436817" y="0"/>
                  </a:cubicBezTo>
                  <a:cubicBezTo>
                    <a:pt x="678064" y="0"/>
                    <a:pt x="873634" y="195570"/>
                    <a:pt x="873634" y="436817"/>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ADE9C704-1989-5EC8-8055-BF5E26ECEC13}"/>
                </a:ext>
              </a:extLst>
            </p:cNvPr>
            <p:cNvSpPr/>
            <p:nvPr/>
          </p:nvSpPr>
          <p:spPr>
            <a:xfrm>
              <a:off x="1104479" y="3836467"/>
              <a:ext cx="873633" cy="873633"/>
            </a:xfrm>
            <a:custGeom>
              <a:avLst/>
              <a:gdLst>
                <a:gd name="connsiteX0" fmla="*/ 873634 w 873633"/>
                <a:gd name="connsiteY0" fmla="*/ 436817 h 873633"/>
                <a:gd name="connsiteX1" fmla="*/ 436817 w 873633"/>
                <a:gd name="connsiteY1" fmla="*/ 873634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4"/>
                    <a:pt x="436817" y="873634"/>
                  </a:cubicBezTo>
                  <a:cubicBezTo>
                    <a:pt x="195570" y="873634"/>
                    <a:pt x="0" y="678064"/>
                    <a:pt x="0" y="436817"/>
                  </a:cubicBezTo>
                  <a:cubicBezTo>
                    <a:pt x="0" y="195570"/>
                    <a:pt x="195570" y="0"/>
                    <a:pt x="436817" y="0"/>
                  </a:cubicBezTo>
                  <a:cubicBezTo>
                    <a:pt x="678064" y="0"/>
                    <a:pt x="873634" y="195569"/>
                    <a:pt x="873634" y="436817"/>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56DF8F81-212B-D2EE-7A8E-D9129FFD8E69}"/>
                </a:ext>
              </a:extLst>
            </p:cNvPr>
            <p:cNvSpPr/>
            <p:nvPr/>
          </p:nvSpPr>
          <p:spPr>
            <a:xfrm>
              <a:off x="1096102" y="4873814"/>
              <a:ext cx="873633" cy="873633"/>
            </a:xfrm>
            <a:custGeom>
              <a:avLst/>
              <a:gdLst>
                <a:gd name="connsiteX0" fmla="*/ 873634 w 873633"/>
                <a:gd name="connsiteY0" fmla="*/ 436817 h 873633"/>
                <a:gd name="connsiteX1" fmla="*/ 436817 w 873633"/>
                <a:gd name="connsiteY1" fmla="*/ 873633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3"/>
                    <a:pt x="436817" y="873633"/>
                  </a:cubicBezTo>
                  <a:cubicBezTo>
                    <a:pt x="195570" y="873633"/>
                    <a:pt x="0" y="678064"/>
                    <a:pt x="0" y="436817"/>
                  </a:cubicBezTo>
                  <a:cubicBezTo>
                    <a:pt x="0" y="195570"/>
                    <a:pt x="195570" y="0"/>
                    <a:pt x="436817" y="0"/>
                  </a:cubicBezTo>
                  <a:cubicBezTo>
                    <a:pt x="678064" y="0"/>
                    <a:pt x="873634" y="195570"/>
                    <a:pt x="873634" y="436817"/>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73271FB0-4D7C-5380-BCA8-E77986AE692B}"/>
                </a:ext>
              </a:extLst>
            </p:cNvPr>
            <p:cNvSpPr/>
            <p:nvPr/>
          </p:nvSpPr>
          <p:spPr>
            <a:xfrm>
              <a:off x="407987" y="1759432"/>
              <a:ext cx="531546" cy="2950607"/>
            </a:xfrm>
            <a:custGeom>
              <a:avLst/>
              <a:gdLst>
                <a:gd name="connsiteX0" fmla="*/ 313631 w 531546"/>
                <a:gd name="connsiteY0" fmla="*/ 2135549 h 2950607"/>
                <a:gd name="connsiteX1" fmla="*/ 240089 w 531546"/>
                <a:gd name="connsiteY1" fmla="*/ 1994747 h 2950607"/>
                <a:gd name="connsiteX2" fmla="*/ 240089 w 531546"/>
                <a:gd name="connsiteY2" fmla="*/ 1994378 h 2950607"/>
                <a:gd name="connsiteX3" fmla="*/ 322254 w 531546"/>
                <a:gd name="connsiteY3" fmla="*/ 1847848 h 2950607"/>
                <a:gd name="connsiteX4" fmla="*/ 530869 w 531546"/>
                <a:gd name="connsiteY4" fmla="*/ 1475334 h 2950607"/>
                <a:gd name="connsiteX5" fmla="*/ 322254 w 531546"/>
                <a:gd name="connsiteY5" fmla="*/ 1102821 h 2950607"/>
                <a:gd name="connsiteX6" fmla="*/ 240089 w 531546"/>
                <a:gd name="connsiteY6" fmla="*/ 956291 h 2950607"/>
                <a:gd name="connsiteX7" fmla="*/ 240089 w 531546"/>
                <a:gd name="connsiteY7" fmla="*/ 955922 h 2950607"/>
                <a:gd name="connsiteX8" fmla="*/ 323363 w 531546"/>
                <a:gd name="connsiteY8" fmla="*/ 808653 h 2950607"/>
                <a:gd name="connsiteX9" fmla="*/ 530869 w 531546"/>
                <a:gd name="connsiteY9" fmla="*/ 434723 h 2950607"/>
                <a:gd name="connsiteX10" fmla="*/ 94052 w 531546"/>
                <a:gd name="connsiteY10" fmla="*/ 0 h 2950607"/>
                <a:gd name="connsiteX11" fmla="*/ 0 w 531546"/>
                <a:gd name="connsiteY11" fmla="*/ 10286 h 2950607"/>
                <a:gd name="connsiteX12" fmla="*/ 0 w 531546"/>
                <a:gd name="connsiteY12" fmla="*/ 2940383 h 2950607"/>
                <a:gd name="connsiteX13" fmla="*/ 79948 w 531546"/>
                <a:gd name="connsiteY13" fmla="*/ 2950361 h 2950607"/>
                <a:gd name="connsiteX14" fmla="*/ 80132 w 531546"/>
                <a:gd name="connsiteY14" fmla="*/ 2950361 h 2950607"/>
                <a:gd name="connsiteX15" fmla="*/ 93991 w 531546"/>
                <a:gd name="connsiteY15" fmla="*/ 2950607 h 2950607"/>
                <a:gd name="connsiteX16" fmla="*/ 94422 w 531546"/>
                <a:gd name="connsiteY16" fmla="*/ 2950607 h 2950607"/>
                <a:gd name="connsiteX17" fmla="*/ 94730 w 531546"/>
                <a:gd name="connsiteY17" fmla="*/ 2950607 h 2950607"/>
                <a:gd name="connsiteX18" fmla="*/ 531547 w 531546"/>
                <a:gd name="connsiteY18" fmla="*/ 2513852 h 2950607"/>
                <a:gd name="connsiteX19" fmla="*/ 313569 w 531546"/>
                <a:gd name="connsiteY19" fmla="*/ 2135610 h 295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1546" h="2950607">
                  <a:moveTo>
                    <a:pt x="313631" y="2135549"/>
                  </a:moveTo>
                  <a:cubicBezTo>
                    <a:pt x="268052" y="2103151"/>
                    <a:pt x="240089" y="2051105"/>
                    <a:pt x="240089" y="1994747"/>
                  </a:cubicBezTo>
                  <a:lnTo>
                    <a:pt x="240089" y="1994378"/>
                  </a:lnTo>
                  <a:cubicBezTo>
                    <a:pt x="240089" y="1934571"/>
                    <a:pt x="271255" y="1879137"/>
                    <a:pt x="322254" y="1847848"/>
                  </a:cubicBezTo>
                  <a:cubicBezTo>
                    <a:pt x="447411" y="1771042"/>
                    <a:pt x="530869" y="1632951"/>
                    <a:pt x="530869" y="1475334"/>
                  </a:cubicBezTo>
                  <a:cubicBezTo>
                    <a:pt x="530869" y="1317718"/>
                    <a:pt x="447411" y="1179627"/>
                    <a:pt x="322254" y="1102821"/>
                  </a:cubicBezTo>
                  <a:cubicBezTo>
                    <a:pt x="271255" y="1071532"/>
                    <a:pt x="240089" y="1016098"/>
                    <a:pt x="240089" y="956291"/>
                  </a:cubicBezTo>
                  <a:lnTo>
                    <a:pt x="240089" y="955922"/>
                  </a:lnTo>
                  <a:cubicBezTo>
                    <a:pt x="240089" y="895622"/>
                    <a:pt x="272056" y="840373"/>
                    <a:pt x="323363" y="808653"/>
                  </a:cubicBezTo>
                  <a:cubicBezTo>
                    <a:pt x="448458" y="731354"/>
                    <a:pt x="531670" y="592708"/>
                    <a:pt x="530869" y="434723"/>
                  </a:cubicBezTo>
                  <a:cubicBezTo>
                    <a:pt x="529699" y="193956"/>
                    <a:pt x="334757" y="0"/>
                    <a:pt x="94052" y="0"/>
                  </a:cubicBezTo>
                  <a:cubicBezTo>
                    <a:pt x="61778" y="0"/>
                    <a:pt x="30304" y="3634"/>
                    <a:pt x="0" y="10286"/>
                  </a:cubicBezTo>
                  <a:lnTo>
                    <a:pt x="0" y="2940383"/>
                  </a:lnTo>
                  <a:cubicBezTo>
                    <a:pt x="25869" y="2946049"/>
                    <a:pt x="52600" y="2949499"/>
                    <a:pt x="79948" y="2950361"/>
                  </a:cubicBezTo>
                  <a:cubicBezTo>
                    <a:pt x="80009" y="2950361"/>
                    <a:pt x="80071" y="2950361"/>
                    <a:pt x="80132" y="2950361"/>
                  </a:cubicBezTo>
                  <a:cubicBezTo>
                    <a:pt x="84752" y="2950484"/>
                    <a:pt x="89371" y="2950607"/>
                    <a:pt x="93991" y="2950607"/>
                  </a:cubicBezTo>
                  <a:cubicBezTo>
                    <a:pt x="94114" y="2950607"/>
                    <a:pt x="94299" y="2950607"/>
                    <a:pt x="94422" y="2950607"/>
                  </a:cubicBezTo>
                  <a:cubicBezTo>
                    <a:pt x="94545" y="2950607"/>
                    <a:pt x="94668" y="2950607"/>
                    <a:pt x="94730" y="2950607"/>
                  </a:cubicBezTo>
                  <a:cubicBezTo>
                    <a:pt x="335989" y="2950607"/>
                    <a:pt x="531547" y="2755050"/>
                    <a:pt x="531547" y="2513852"/>
                  </a:cubicBezTo>
                  <a:cubicBezTo>
                    <a:pt x="531547" y="2352171"/>
                    <a:pt x="444023" y="2211123"/>
                    <a:pt x="313569" y="2135610"/>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51FB9766-006D-035C-98B5-2A8A044407BE}"/>
                </a:ext>
              </a:extLst>
            </p:cNvPr>
            <p:cNvSpPr/>
            <p:nvPr/>
          </p:nvSpPr>
          <p:spPr>
            <a:xfrm>
              <a:off x="407987" y="4873691"/>
              <a:ext cx="523231" cy="873633"/>
            </a:xfrm>
            <a:custGeom>
              <a:avLst/>
              <a:gdLst>
                <a:gd name="connsiteX0" fmla="*/ 86415 w 523231"/>
                <a:gd name="connsiteY0" fmla="*/ 123 h 873633"/>
                <a:gd name="connsiteX1" fmla="*/ 0 w 523231"/>
                <a:gd name="connsiteY1" fmla="*/ 8685 h 873633"/>
                <a:gd name="connsiteX2" fmla="*/ 0 w 523231"/>
                <a:gd name="connsiteY2" fmla="*/ 865072 h 873633"/>
                <a:gd name="connsiteX3" fmla="*/ 86415 w 523231"/>
                <a:gd name="connsiteY3" fmla="*/ 873634 h 873633"/>
                <a:gd name="connsiteX4" fmla="*/ 523232 w 523231"/>
                <a:gd name="connsiteY4" fmla="*/ 436817 h 873633"/>
                <a:gd name="connsiteX5" fmla="*/ 86415 w 523231"/>
                <a:gd name="connsiteY5" fmla="*/ 0 h 87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231" h="873633">
                  <a:moveTo>
                    <a:pt x="86415" y="123"/>
                  </a:moveTo>
                  <a:cubicBezTo>
                    <a:pt x="56850" y="123"/>
                    <a:pt x="27963" y="3080"/>
                    <a:pt x="0" y="8685"/>
                  </a:cubicBezTo>
                  <a:lnTo>
                    <a:pt x="0" y="865072"/>
                  </a:lnTo>
                  <a:cubicBezTo>
                    <a:pt x="27902" y="870677"/>
                    <a:pt x="56789" y="873634"/>
                    <a:pt x="86415" y="873634"/>
                  </a:cubicBezTo>
                  <a:cubicBezTo>
                    <a:pt x="327674" y="873634"/>
                    <a:pt x="523232" y="678076"/>
                    <a:pt x="523232" y="436817"/>
                  </a:cubicBezTo>
                  <a:cubicBezTo>
                    <a:pt x="523232" y="195557"/>
                    <a:pt x="327674" y="0"/>
                    <a:pt x="86415" y="0"/>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23F585E2-871A-680A-8D25-0B5B3864DB1F}"/>
                </a:ext>
              </a:extLst>
            </p:cNvPr>
            <p:cNvSpPr/>
            <p:nvPr/>
          </p:nvSpPr>
          <p:spPr>
            <a:xfrm>
              <a:off x="408110" y="5911156"/>
              <a:ext cx="2600143" cy="539374"/>
            </a:xfrm>
            <a:custGeom>
              <a:avLst/>
              <a:gdLst>
                <a:gd name="connsiteX0" fmla="*/ 2587887 w 2600143"/>
                <a:gd name="connsiteY0" fmla="*/ 539375 h 539374"/>
                <a:gd name="connsiteX1" fmla="*/ 2600144 w 2600143"/>
                <a:gd name="connsiteY1" fmla="*/ 436822 h 539374"/>
                <a:gd name="connsiteX2" fmla="*/ 2165483 w 2600143"/>
                <a:gd name="connsiteY2" fmla="*/ 6 h 539374"/>
                <a:gd name="connsiteX3" fmla="*/ 1791553 w 2600143"/>
                <a:gd name="connsiteY3" fmla="*/ 207512 h 539374"/>
                <a:gd name="connsiteX4" fmla="*/ 1644284 w 2600143"/>
                <a:gd name="connsiteY4" fmla="*/ 290786 h 539374"/>
                <a:gd name="connsiteX5" fmla="*/ 1643914 w 2600143"/>
                <a:gd name="connsiteY5" fmla="*/ 290786 h 539374"/>
                <a:gd name="connsiteX6" fmla="*/ 1497385 w 2600143"/>
                <a:gd name="connsiteY6" fmla="*/ 208621 h 539374"/>
                <a:gd name="connsiteX7" fmla="*/ 1124871 w 2600143"/>
                <a:gd name="connsiteY7" fmla="*/ 6 h 539374"/>
                <a:gd name="connsiteX8" fmla="*/ 752357 w 2600143"/>
                <a:gd name="connsiteY8" fmla="*/ 208621 h 539374"/>
                <a:gd name="connsiteX9" fmla="*/ 605828 w 2600143"/>
                <a:gd name="connsiteY9" fmla="*/ 290786 h 539374"/>
                <a:gd name="connsiteX10" fmla="*/ 605458 w 2600143"/>
                <a:gd name="connsiteY10" fmla="*/ 290786 h 539374"/>
                <a:gd name="connsiteX11" fmla="*/ 458190 w 2600143"/>
                <a:gd name="connsiteY11" fmla="*/ 207512 h 539374"/>
                <a:gd name="connsiteX12" fmla="*/ 84259 w 2600143"/>
                <a:gd name="connsiteY12" fmla="*/ 6 h 539374"/>
                <a:gd name="connsiteX13" fmla="*/ 0 w 2600143"/>
                <a:gd name="connsiteY13" fmla="*/ 8567 h 539374"/>
                <a:gd name="connsiteX14" fmla="*/ 0 w 2600143"/>
                <a:gd name="connsiteY14" fmla="*/ 539313 h 539374"/>
                <a:gd name="connsiteX15" fmla="*/ 2588010 w 2600143"/>
                <a:gd name="connsiteY15" fmla="*/ 539313 h 53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00143" h="539374">
                  <a:moveTo>
                    <a:pt x="2587887" y="539375"/>
                  </a:moveTo>
                  <a:cubicBezTo>
                    <a:pt x="2595833" y="506484"/>
                    <a:pt x="2600144" y="472177"/>
                    <a:pt x="2600144" y="436822"/>
                  </a:cubicBezTo>
                  <a:cubicBezTo>
                    <a:pt x="2600144" y="196118"/>
                    <a:pt x="2406188" y="1176"/>
                    <a:pt x="2165483" y="6"/>
                  </a:cubicBezTo>
                  <a:cubicBezTo>
                    <a:pt x="2007436" y="-733"/>
                    <a:pt x="1868790" y="82417"/>
                    <a:pt x="1791553" y="207512"/>
                  </a:cubicBezTo>
                  <a:cubicBezTo>
                    <a:pt x="1759894" y="258819"/>
                    <a:pt x="1704583" y="290786"/>
                    <a:pt x="1644284" y="290786"/>
                  </a:cubicBezTo>
                  <a:lnTo>
                    <a:pt x="1643914" y="290786"/>
                  </a:lnTo>
                  <a:cubicBezTo>
                    <a:pt x="1584108" y="290786"/>
                    <a:pt x="1528674" y="259620"/>
                    <a:pt x="1497385" y="208621"/>
                  </a:cubicBezTo>
                  <a:cubicBezTo>
                    <a:pt x="1420579" y="83464"/>
                    <a:pt x="1282487" y="6"/>
                    <a:pt x="1124871" y="6"/>
                  </a:cubicBezTo>
                  <a:cubicBezTo>
                    <a:pt x="967255" y="6"/>
                    <a:pt x="829164" y="83464"/>
                    <a:pt x="752357" y="208621"/>
                  </a:cubicBezTo>
                  <a:cubicBezTo>
                    <a:pt x="721068" y="259620"/>
                    <a:pt x="665634" y="290786"/>
                    <a:pt x="605828" y="290786"/>
                  </a:cubicBezTo>
                  <a:lnTo>
                    <a:pt x="605458" y="290786"/>
                  </a:lnTo>
                  <a:cubicBezTo>
                    <a:pt x="545159" y="290786"/>
                    <a:pt x="489910" y="258819"/>
                    <a:pt x="458190" y="207512"/>
                  </a:cubicBezTo>
                  <a:cubicBezTo>
                    <a:pt x="380890" y="82417"/>
                    <a:pt x="242245" y="-795"/>
                    <a:pt x="84259" y="6"/>
                  </a:cubicBezTo>
                  <a:cubicBezTo>
                    <a:pt x="55434" y="129"/>
                    <a:pt x="27286" y="3147"/>
                    <a:pt x="0" y="8567"/>
                  </a:cubicBezTo>
                  <a:lnTo>
                    <a:pt x="0" y="539313"/>
                  </a:lnTo>
                  <a:lnTo>
                    <a:pt x="2588010" y="539313"/>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5909964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ndard_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hasCustomPrompt="1"/>
          </p:nvPr>
        </p:nvSpPr>
        <p:spPr/>
        <p:txBody>
          <a:bodyPr>
            <a:normAutofit/>
          </a:bodyPr>
          <a:lstStyle>
            <a:lvl1pPr>
              <a:defRPr sz="4000"/>
            </a:lvl1pPr>
          </a:lstStyle>
          <a:p>
            <a:r>
              <a:rPr lang="sv-SE"/>
              <a:t>Rubrik</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8313"/>
            <a:ext cx="10080000" cy="4175124"/>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latshållare för bildnummer 2">
            <a:extLst>
              <a:ext uri="{FF2B5EF4-FFF2-40B4-BE49-F238E27FC236}">
                <a16:creationId xmlns:a16="http://schemas.microsoft.com/office/drawing/2014/main" id="{040785F0-4073-4C09-A77E-AF825CBA6233}"/>
              </a:ext>
            </a:extLst>
          </p:cNvPr>
          <p:cNvSpPr>
            <a:spLocks noGrp="1"/>
          </p:cNvSpPr>
          <p:nvPr>
            <p:ph type="sldNum" sz="quarter" idx="12"/>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483483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tandard_Rubrik och innehåll_mörk bakgrun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48F1C72-13DB-A97E-9A65-90D29D962748}"/>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5" name="Rubrik 4">
            <a:extLst>
              <a:ext uri="{FF2B5EF4-FFF2-40B4-BE49-F238E27FC236}">
                <a16:creationId xmlns:a16="http://schemas.microsoft.com/office/drawing/2014/main" id="{956AE382-6D43-4751-9CE2-2A4899C59678}"/>
              </a:ext>
            </a:extLst>
          </p:cNvPr>
          <p:cNvSpPr>
            <a:spLocks noGrp="1"/>
          </p:cNvSpPr>
          <p:nvPr>
            <p:ph type="title" hasCustomPrompt="1"/>
          </p:nvPr>
        </p:nvSpPr>
        <p:spPr>
          <a:xfrm>
            <a:off x="407988" y="404813"/>
            <a:ext cx="11371262" cy="736959"/>
          </a:xfrm>
        </p:spPr>
        <p:txBody>
          <a:bodyPr>
            <a:normAutofit/>
          </a:bodyPr>
          <a:lstStyle>
            <a:lvl1pPr>
              <a:defRPr sz="4000">
                <a:solidFill>
                  <a:schemeClr val="bg1"/>
                </a:solidFill>
              </a:defRPr>
            </a:lvl1pPr>
          </a:lstStyle>
          <a:p>
            <a:r>
              <a:rPr lang="sv-SE"/>
              <a:t>Rubrik</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8313"/>
            <a:ext cx="10080000" cy="4175124"/>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latshållare för bildnummer 2">
            <a:extLst>
              <a:ext uri="{FF2B5EF4-FFF2-40B4-BE49-F238E27FC236}">
                <a16:creationId xmlns:a16="http://schemas.microsoft.com/office/drawing/2014/main" id="{040785F0-4073-4C09-A77E-AF825CBA6233}"/>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textruta 3">
            <a:extLst>
              <a:ext uri="{FF2B5EF4-FFF2-40B4-BE49-F238E27FC236}">
                <a16:creationId xmlns:a16="http://schemas.microsoft.com/office/drawing/2014/main" id="{3F516F21-F625-2798-9BDC-FAD89FA156F2}"/>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spTree>
    <p:extLst>
      <p:ext uri="{BB962C8B-B14F-4D97-AF65-F5344CB8AC3E}">
        <p14:creationId xmlns:p14="http://schemas.microsoft.com/office/powerpoint/2010/main" val="325393247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tandard_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BCE7E41F-F5AB-42BF-88B5-ED5B44A6461E}"/>
              </a:ext>
            </a:extLst>
          </p:cNvPr>
          <p:cNvSpPr>
            <a:spLocks noGrp="1"/>
          </p:cNvSpPr>
          <p:nvPr>
            <p:ph type="title" hasCustomPrompt="1"/>
          </p:nvPr>
        </p:nvSpPr>
        <p:spPr/>
        <p:txBody>
          <a:bodyPr>
            <a:normAutofit/>
          </a:bodyPr>
          <a:lstStyle>
            <a:lvl1pPr>
              <a:defRPr sz="4000"/>
            </a:lvl1pPr>
          </a:lstStyle>
          <a:p>
            <a:r>
              <a:rPr lang="sv-SE"/>
              <a:t>Rubrik</a:t>
            </a:r>
          </a:p>
        </p:txBody>
      </p:sp>
      <p:sp>
        <p:nvSpPr>
          <p:cNvPr id="3" name="Text Placeholder 2"/>
          <p:cNvSpPr>
            <a:spLocks noGrp="1"/>
          </p:cNvSpPr>
          <p:nvPr>
            <p:ph type="body" idx="1" hasCustomPrompt="1"/>
          </p:nvPr>
        </p:nvSpPr>
        <p:spPr>
          <a:xfrm>
            <a:off x="407988" y="1588563"/>
            <a:ext cx="5278080" cy="648720"/>
          </a:xfrm>
        </p:spPr>
        <p:txBody>
          <a:bodyPr anchor="t" anchorCtr="0">
            <a:normAutofit/>
          </a:bodyPr>
          <a:lstStyle>
            <a:lvl1pPr marL="0" indent="0">
              <a:spcBef>
                <a:spcPts val="0"/>
              </a:spcBef>
              <a:buNone/>
              <a:defRPr sz="2000" b="1">
                <a:latin typeface="+mj-lt"/>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Underrubrik</a:t>
            </a:r>
          </a:p>
        </p:txBody>
      </p:sp>
      <p:sp>
        <p:nvSpPr>
          <p:cNvPr id="4" name="Content Placeholder 3"/>
          <p:cNvSpPr>
            <a:spLocks noGrp="1"/>
          </p:cNvSpPr>
          <p:nvPr>
            <p:ph sz="half" idx="2"/>
          </p:nvPr>
        </p:nvSpPr>
        <p:spPr>
          <a:xfrm>
            <a:off x="407988" y="2281031"/>
            <a:ext cx="5278080" cy="352468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 Placeholder 4"/>
          <p:cNvSpPr>
            <a:spLocks noGrp="1"/>
          </p:cNvSpPr>
          <p:nvPr>
            <p:ph type="body" sz="quarter" idx="3" hasCustomPrompt="1"/>
          </p:nvPr>
        </p:nvSpPr>
        <p:spPr>
          <a:xfrm>
            <a:off x="6432000" y="1591385"/>
            <a:ext cx="5280000" cy="648720"/>
          </a:xfrm>
        </p:spPr>
        <p:txBody>
          <a:bodyPr anchor="t" anchorCtr="0">
            <a:normAutofit/>
          </a:bodyPr>
          <a:lstStyle>
            <a:lvl1pPr marL="0" indent="0">
              <a:spcBef>
                <a:spcPts val="0"/>
              </a:spcBef>
              <a:buNone/>
              <a:defRPr sz="2000" b="1">
                <a:latin typeface="+mj-lt"/>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Underrubrik</a:t>
            </a:r>
          </a:p>
        </p:txBody>
      </p:sp>
      <p:sp>
        <p:nvSpPr>
          <p:cNvPr id="6" name="Content Placeholder 5"/>
          <p:cNvSpPr>
            <a:spLocks noGrp="1"/>
          </p:cNvSpPr>
          <p:nvPr>
            <p:ph sz="quarter" idx="4"/>
          </p:nvPr>
        </p:nvSpPr>
        <p:spPr>
          <a:xfrm>
            <a:off x="6432000" y="2281035"/>
            <a:ext cx="5280000" cy="352468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5B0B39BD-A593-4A83-AD46-53A96C2F78AD}"/>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6092479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tandard_Endast rubrik">
    <p:spTree>
      <p:nvGrpSpPr>
        <p:cNvPr id="1" name=""/>
        <p:cNvGrpSpPr/>
        <p:nvPr/>
      </p:nvGrpSpPr>
      <p:grpSpPr>
        <a:xfrm>
          <a:off x="0" y="0"/>
          <a:ext cx="0" cy="0"/>
          <a:chOff x="0" y="0"/>
          <a:chExt cx="0" cy="0"/>
        </a:xfrm>
      </p:grpSpPr>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p:txBody>
          <a:bodyPr/>
          <a:lstStyle/>
          <a:p>
            <a:fld id="{59C8BBA8-F427-4879-AAC6-186856FF899B}" type="slidenum">
              <a:rPr lang="sv-SE" smtClean="0"/>
              <a:pPr/>
              <a:t>‹#›</a:t>
            </a:fld>
            <a:endParaRPr lang="sv-SE"/>
          </a:p>
        </p:txBody>
      </p:sp>
      <p:sp>
        <p:nvSpPr>
          <p:cNvPr id="4" name="Rubrik 3">
            <a:extLst>
              <a:ext uri="{FF2B5EF4-FFF2-40B4-BE49-F238E27FC236}">
                <a16:creationId xmlns:a16="http://schemas.microsoft.com/office/drawing/2014/main" id="{DB8A59FB-6344-A331-62F7-D79DE441F034}"/>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24723286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Standard_Rubrik och innehåll_utan logotyp">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hasCustomPrompt="1"/>
          </p:nvPr>
        </p:nvSpPr>
        <p:spPr>
          <a:xfrm>
            <a:off x="1093321" y="883995"/>
            <a:ext cx="4561029" cy="1485981"/>
          </a:xfrm>
        </p:spPr>
        <p:txBody>
          <a:bodyPr>
            <a:normAutofit/>
          </a:bodyPr>
          <a:lstStyle>
            <a:lvl1pPr>
              <a:defRPr sz="4000"/>
            </a:lvl1pPr>
          </a:lstStyle>
          <a:p>
            <a:r>
              <a:rPr lang="sv-SE"/>
              <a:t>Rubrik</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93321" y="2472611"/>
            <a:ext cx="4561029" cy="359011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Tree>
    <p:extLst>
      <p:ext uri="{BB962C8B-B14F-4D97-AF65-F5344CB8AC3E}">
        <p14:creationId xmlns:p14="http://schemas.microsoft.com/office/powerpoint/2010/main" val="202878524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Mönster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6444343" y="1119824"/>
            <a:ext cx="4807599" cy="1232398"/>
          </a:xfrm>
        </p:spPr>
        <p:txBody>
          <a:bodyPr>
            <a:normAutofit/>
          </a:bodyPr>
          <a:lstStyle>
            <a:lvl1pPr>
              <a:defRPr sz="4000">
                <a:solidFill>
                  <a:schemeClr val="bg1"/>
                </a:solidFill>
              </a:defRPr>
            </a:lvl1pPr>
          </a:lstStyle>
          <a:p>
            <a:r>
              <a:rPr lang="sv-SE"/>
              <a:t>Rubrik</a:t>
            </a:r>
          </a:p>
        </p:txBody>
      </p:sp>
      <p:sp>
        <p:nvSpPr>
          <p:cNvPr id="4" name="Platshållare för bildnummer 3">
            <a:extLst>
              <a:ext uri="{FF2B5EF4-FFF2-40B4-BE49-F238E27FC236}">
                <a16:creationId xmlns:a16="http://schemas.microsoft.com/office/drawing/2014/main" id="{F1F5A5EA-BC04-1E7C-5686-018804102841}"/>
              </a:ext>
            </a:extLst>
          </p:cNvPr>
          <p:cNvSpPr>
            <a:spLocks noGrp="1"/>
          </p:cNvSpPr>
          <p:nvPr>
            <p:ph type="sldNum" sz="quarter" idx="10"/>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6444343" y="2612572"/>
            <a:ext cx="4807599"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grpSp>
        <p:nvGrpSpPr>
          <p:cNvPr id="5" name="Grupp 4">
            <a:extLst>
              <a:ext uri="{FF2B5EF4-FFF2-40B4-BE49-F238E27FC236}">
                <a16:creationId xmlns:a16="http://schemas.microsoft.com/office/drawing/2014/main" id="{DDCCDA9E-6179-9297-4CE6-208A426CD8C3}"/>
              </a:ext>
            </a:extLst>
          </p:cNvPr>
          <p:cNvGrpSpPr/>
          <p:nvPr userDrawn="1"/>
        </p:nvGrpSpPr>
        <p:grpSpPr>
          <a:xfrm>
            <a:off x="0" y="1514037"/>
            <a:ext cx="6431351" cy="5342947"/>
            <a:chOff x="0" y="1514037"/>
            <a:chExt cx="6431351" cy="5342947"/>
          </a:xfrm>
          <a:solidFill>
            <a:schemeClr val="bg2"/>
          </a:solidFill>
        </p:grpSpPr>
        <p:sp>
          <p:nvSpPr>
            <p:cNvPr id="8" name="Frihandsfigur: Form 7">
              <a:extLst>
                <a:ext uri="{FF2B5EF4-FFF2-40B4-BE49-F238E27FC236}">
                  <a16:creationId xmlns:a16="http://schemas.microsoft.com/office/drawing/2014/main" id="{3B18824A-942B-8D97-18CA-18DF866EA91C}"/>
                </a:ext>
              </a:extLst>
            </p:cNvPr>
            <p:cNvSpPr/>
            <p:nvPr/>
          </p:nvSpPr>
          <p:spPr>
            <a:xfrm>
              <a:off x="733239" y="2694341"/>
              <a:ext cx="991743" cy="991743"/>
            </a:xfrm>
            <a:custGeom>
              <a:avLst/>
              <a:gdLst>
                <a:gd name="connsiteX0" fmla="*/ 991743 w 991743"/>
                <a:gd name="connsiteY0" fmla="*/ 495872 h 991743"/>
                <a:gd name="connsiteX1" fmla="*/ 495872 w 991743"/>
                <a:gd name="connsiteY1" fmla="*/ 991743 h 991743"/>
                <a:gd name="connsiteX2" fmla="*/ 0 w 991743"/>
                <a:gd name="connsiteY2" fmla="*/ 495872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2"/>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0CD50A7D-87C2-93B9-A22B-65C691B70C5F}"/>
                </a:ext>
              </a:extLst>
            </p:cNvPr>
            <p:cNvSpPr/>
            <p:nvPr/>
          </p:nvSpPr>
          <p:spPr>
            <a:xfrm>
              <a:off x="1912212" y="2694341"/>
              <a:ext cx="991743" cy="991743"/>
            </a:xfrm>
            <a:custGeom>
              <a:avLst/>
              <a:gdLst>
                <a:gd name="connsiteX0" fmla="*/ 991743 w 991743"/>
                <a:gd name="connsiteY0" fmla="*/ 495872 h 991743"/>
                <a:gd name="connsiteX1" fmla="*/ 495871 w 991743"/>
                <a:gd name="connsiteY1" fmla="*/ 991743 h 991743"/>
                <a:gd name="connsiteX2" fmla="*/ 0 w 991743"/>
                <a:gd name="connsiteY2" fmla="*/ 495872 h 991743"/>
                <a:gd name="connsiteX3" fmla="*/ 495871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1" y="991743"/>
                  </a:cubicBezTo>
                  <a:cubicBezTo>
                    <a:pt x="222009" y="991743"/>
                    <a:pt x="0" y="769734"/>
                    <a:pt x="0" y="495872"/>
                  </a:cubicBezTo>
                  <a:cubicBezTo>
                    <a:pt x="0" y="222009"/>
                    <a:pt x="222009" y="0"/>
                    <a:pt x="495871"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9DBA07E8-1315-FE06-F24A-BF4D7E5317CB}"/>
                </a:ext>
              </a:extLst>
            </p:cNvPr>
            <p:cNvSpPr/>
            <p:nvPr/>
          </p:nvSpPr>
          <p:spPr>
            <a:xfrm>
              <a:off x="4270219" y="2694341"/>
              <a:ext cx="991743" cy="991743"/>
            </a:xfrm>
            <a:custGeom>
              <a:avLst/>
              <a:gdLst>
                <a:gd name="connsiteX0" fmla="*/ 991743 w 991743"/>
                <a:gd name="connsiteY0" fmla="*/ 495872 h 991743"/>
                <a:gd name="connsiteX1" fmla="*/ 495872 w 991743"/>
                <a:gd name="connsiteY1" fmla="*/ 991743 h 991743"/>
                <a:gd name="connsiteX2" fmla="*/ 0 w 991743"/>
                <a:gd name="connsiteY2" fmla="*/ 495872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2"/>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6E783BF6-131B-265E-9457-A0663DD72072}"/>
                </a:ext>
              </a:extLst>
            </p:cNvPr>
            <p:cNvSpPr/>
            <p:nvPr/>
          </p:nvSpPr>
          <p:spPr>
            <a:xfrm>
              <a:off x="4270219" y="3871981"/>
              <a:ext cx="991743" cy="991743"/>
            </a:xfrm>
            <a:custGeom>
              <a:avLst/>
              <a:gdLst>
                <a:gd name="connsiteX0" fmla="*/ 991743 w 991743"/>
                <a:gd name="connsiteY0" fmla="*/ 495872 h 991743"/>
                <a:gd name="connsiteX1" fmla="*/ 495872 w 991743"/>
                <a:gd name="connsiteY1" fmla="*/ 991743 h 991743"/>
                <a:gd name="connsiteX2" fmla="*/ 0 w 991743"/>
                <a:gd name="connsiteY2" fmla="*/ 495871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1"/>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6ED505CF-0B4A-A8FE-3A8A-06BD61D84FF1}"/>
                </a:ext>
              </a:extLst>
            </p:cNvPr>
            <p:cNvSpPr/>
            <p:nvPr/>
          </p:nvSpPr>
          <p:spPr>
            <a:xfrm>
              <a:off x="723719" y="5049684"/>
              <a:ext cx="991743" cy="991743"/>
            </a:xfrm>
            <a:custGeom>
              <a:avLst/>
              <a:gdLst>
                <a:gd name="connsiteX0" fmla="*/ 991743 w 991743"/>
                <a:gd name="connsiteY0" fmla="*/ 495872 h 991743"/>
                <a:gd name="connsiteX1" fmla="*/ 495872 w 991743"/>
                <a:gd name="connsiteY1" fmla="*/ 991743 h 991743"/>
                <a:gd name="connsiteX2" fmla="*/ 0 w 991743"/>
                <a:gd name="connsiteY2" fmla="*/ 495872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2"/>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77E7A3F0-57BC-809D-DD7F-BEAC89B38243}"/>
                </a:ext>
              </a:extLst>
            </p:cNvPr>
            <p:cNvSpPr/>
            <p:nvPr/>
          </p:nvSpPr>
          <p:spPr>
            <a:xfrm>
              <a:off x="1902691" y="5049684"/>
              <a:ext cx="991743" cy="991743"/>
            </a:xfrm>
            <a:custGeom>
              <a:avLst/>
              <a:gdLst>
                <a:gd name="connsiteX0" fmla="*/ 991743 w 991743"/>
                <a:gd name="connsiteY0" fmla="*/ 495872 h 991743"/>
                <a:gd name="connsiteX1" fmla="*/ 495871 w 991743"/>
                <a:gd name="connsiteY1" fmla="*/ 991743 h 991743"/>
                <a:gd name="connsiteX2" fmla="*/ 0 w 991743"/>
                <a:gd name="connsiteY2" fmla="*/ 495872 h 991743"/>
                <a:gd name="connsiteX3" fmla="*/ 495871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1" y="991743"/>
                  </a:cubicBezTo>
                  <a:cubicBezTo>
                    <a:pt x="222009" y="991743"/>
                    <a:pt x="0" y="769734"/>
                    <a:pt x="0" y="495872"/>
                  </a:cubicBezTo>
                  <a:cubicBezTo>
                    <a:pt x="0" y="222009"/>
                    <a:pt x="222009" y="0"/>
                    <a:pt x="495871"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77C3D03E-1276-2007-CF6C-CB6FB57A1F85}"/>
                </a:ext>
              </a:extLst>
            </p:cNvPr>
            <p:cNvSpPr/>
            <p:nvPr/>
          </p:nvSpPr>
          <p:spPr>
            <a:xfrm>
              <a:off x="3081664" y="5049684"/>
              <a:ext cx="991743" cy="991743"/>
            </a:xfrm>
            <a:custGeom>
              <a:avLst/>
              <a:gdLst>
                <a:gd name="connsiteX0" fmla="*/ 991743 w 991743"/>
                <a:gd name="connsiteY0" fmla="*/ 495872 h 991743"/>
                <a:gd name="connsiteX1" fmla="*/ 495871 w 991743"/>
                <a:gd name="connsiteY1" fmla="*/ 991743 h 991743"/>
                <a:gd name="connsiteX2" fmla="*/ 0 w 991743"/>
                <a:gd name="connsiteY2" fmla="*/ 495872 h 991743"/>
                <a:gd name="connsiteX3" fmla="*/ 495871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1" y="991743"/>
                  </a:cubicBezTo>
                  <a:cubicBezTo>
                    <a:pt x="222009" y="991743"/>
                    <a:pt x="0" y="769734"/>
                    <a:pt x="0" y="495872"/>
                  </a:cubicBezTo>
                  <a:cubicBezTo>
                    <a:pt x="0" y="222009"/>
                    <a:pt x="222009" y="0"/>
                    <a:pt x="495871"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55ADBABD-0E6D-9DDF-ED1A-6E7FD594DA06}"/>
                </a:ext>
              </a:extLst>
            </p:cNvPr>
            <p:cNvSpPr/>
            <p:nvPr/>
          </p:nvSpPr>
          <p:spPr>
            <a:xfrm>
              <a:off x="4260636" y="5049684"/>
              <a:ext cx="991743" cy="991743"/>
            </a:xfrm>
            <a:custGeom>
              <a:avLst/>
              <a:gdLst>
                <a:gd name="connsiteX0" fmla="*/ 991743 w 991743"/>
                <a:gd name="connsiteY0" fmla="*/ 495872 h 991743"/>
                <a:gd name="connsiteX1" fmla="*/ 495872 w 991743"/>
                <a:gd name="connsiteY1" fmla="*/ 991743 h 991743"/>
                <a:gd name="connsiteX2" fmla="*/ 0 w 991743"/>
                <a:gd name="connsiteY2" fmla="*/ 495872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2"/>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A6BD21F4-EC77-ADDB-3C64-02774466811C}"/>
                </a:ext>
              </a:extLst>
            </p:cNvPr>
            <p:cNvSpPr/>
            <p:nvPr/>
          </p:nvSpPr>
          <p:spPr>
            <a:xfrm>
              <a:off x="733113" y="1514037"/>
              <a:ext cx="3349750" cy="3349814"/>
            </a:xfrm>
            <a:custGeom>
              <a:avLst/>
              <a:gdLst>
                <a:gd name="connsiteX0" fmla="*/ 3102418 w 3349750"/>
                <a:gd name="connsiteY0" fmla="*/ 2424395 h 3349814"/>
                <a:gd name="connsiteX1" fmla="*/ 3018895 w 3349750"/>
                <a:gd name="connsiteY1" fmla="*/ 2264520 h 3349814"/>
                <a:gd name="connsiteX2" fmla="*/ 3018895 w 3349750"/>
                <a:gd name="connsiteY2" fmla="*/ 2264076 h 3349814"/>
                <a:gd name="connsiteX3" fmla="*/ 3112129 w 3349750"/>
                <a:gd name="connsiteY3" fmla="*/ 2097664 h 3349814"/>
                <a:gd name="connsiteX4" fmla="*/ 3348989 w 3349750"/>
                <a:gd name="connsiteY4" fmla="*/ 1674780 h 3349814"/>
                <a:gd name="connsiteX5" fmla="*/ 3112129 w 3349750"/>
                <a:gd name="connsiteY5" fmla="*/ 1251896 h 3349814"/>
                <a:gd name="connsiteX6" fmla="*/ 3018895 w 3349750"/>
                <a:gd name="connsiteY6" fmla="*/ 1085485 h 3349814"/>
                <a:gd name="connsiteX7" fmla="*/ 3018895 w 3349750"/>
                <a:gd name="connsiteY7" fmla="*/ 1085040 h 3349814"/>
                <a:gd name="connsiteX8" fmla="*/ 3113398 w 3349750"/>
                <a:gd name="connsiteY8" fmla="*/ 917867 h 3349814"/>
                <a:gd name="connsiteX9" fmla="*/ 3348989 w 3349750"/>
                <a:gd name="connsiteY9" fmla="*/ 493333 h 3349814"/>
                <a:gd name="connsiteX10" fmla="*/ 2853118 w 3349750"/>
                <a:gd name="connsiteY10" fmla="*/ 0 h 3349814"/>
                <a:gd name="connsiteX11" fmla="*/ 2357246 w 3349750"/>
                <a:gd name="connsiteY11" fmla="*/ 495872 h 3349814"/>
                <a:gd name="connsiteX12" fmla="*/ 2594107 w 3349750"/>
                <a:gd name="connsiteY12" fmla="*/ 918755 h 3349814"/>
                <a:gd name="connsiteX13" fmla="*/ 2687341 w 3349750"/>
                <a:gd name="connsiteY13" fmla="*/ 1085167 h 3349814"/>
                <a:gd name="connsiteX14" fmla="*/ 2687341 w 3349750"/>
                <a:gd name="connsiteY14" fmla="*/ 1085612 h 3349814"/>
                <a:gd name="connsiteX15" fmla="*/ 2594107 w 3349750"/>
                <a:gd name="connsiteY15" fmla="*/ 1252023 h 3349814"/>
                <a:gd name="connsiteX16" fmla="*/ 2357246 w 3349750"/>
                <a:gd name="connsiteY16" fmla="*/ 1674907 h 3349814"/>
                <a:gd name="connsiteX17" fmla="*/ 2594107 w 3349750"/>
                <a:gd name="connsiteY17" fmla="*/ 2097791 h 3349814"/>
                <a:gd name="connsiteX18" fmla="*/ 2687341 w 3349750"/>
                <a:gd name="connsiteY18" fmla="*/ 2264203 h 3349814"/>
                <a:gd name="connsiteX19" fmla="*/ 2687341 w 3349750"/>
                <a:gd name="connsiteY19" fmla="*/ 2264647 h 3349814"/>
                <a:gd name="connsiteX20" fmla="*/ 2594107 w 3349750"/>
                <a:gd name="connsiteY20" fmla="*/ 2431059 h 3349814"/>
                <a:gd name="connsiteX21" fmla="*/ 2424014 w 3349750"/>
                <a:gd name="connsiteY21" fmla="*/ 2605341 h 3349814"/>
                <a:gd name="connsiteX22" fmla="*/ 2264647 w 3349750"/>
                <a:gd name="connsiteY22" fmla="*/ 2688166 h 3349814"/>
                <a:gd name="connsiteX23" fmla="*/ 2264203 w 3349750"/>
                <a:gd name="connsiteY23" fmla="*/ 2688166 h 3349814"/>
                <a:gd name="connsiteX24" fmla="*/ 2097791 w 3349750"/>
                <a:gd name="connsiteY24" fmla="*/ 2594932 h 3349814"/>
                <a:gd name="connsiteX25" fmla="*/ 1674907 w 3349750"/>
                <a:gd name="connsiteY25" fmla="*/ 2358071 h 3349814"/>
                <a:gd name="connsiteX26" fmla="*/ 1252023 w 3349750"/>
                <a:gd name="connsiteY26" fmla="*/ 2594932 h 3349814"/>
                <a:gd name="connsiteX27" fmla="*/ 1085611 w 3349750"/>
                <a:gd name="connsiteY27" fmla="*/ 2688166 h 3349814"/>
                <a:gd name="connsiteX28" fmla="*/ 1085167 w 3349750"/>
                <a:gd name="connsiteY28" fmla="*/ 2688166 h 3349814"/>
                <a:gd name="connsiteX29" fmla="*/ 917994 w 3349750"/>
                <a:gd name="connsiteY29" fmla="*/ 2593663 h 3349814"/>
                <a:gd name="connsiteX30" fmla="*/ 493460 w 3349750"/>
                <a:gd name="connsiteY30" fmla="*/ 2358071 h 3349814"/>
                <a:gd name="connsiteX31" fmla="*/ 0 w 3349750"/>
                <a:gd name="connsiteY31" fmla="*/ 2853943 h 3349814"/>
                <a:gd name="connsiteX32" fmla="*/ 495872 w 3349750"/>
                <a:gd name="connsiteY32" fmla="*/ 3349814 h 3349814"/>
                <a:gd name="connsiteX33" fmla="*/ 918755 w 3349750"/>
                <a:gd name="connsiteY33" fmla="*/ 3112954 h 3349814"/>
                <a:gd name="connsiteX34" fmla="*/ 1085167 w 3349750"/>
                <a:gd name="connsiteY34" fmla="*/ 3019720 h 3349814"/>
                <a:gd name="connsiteX35" fmla="*/ 1085611 w 3349750"/>
                <a:gd name="connsiteY35" fmla="*/ 3019720 h 3349814"/>
                <a:gd name="connsiteX36" fmla="*/ 1252023 w 3349750"/>
                <a:gd name="connsiteY36" fmla="*/ 3112954 h 3349814"/>
                <a:gd name="connsiteX37" fmla="*/ 1674907 w 3349750"/>
                <a:gd name="connsiteY37" fmla="*/ 3349814 h 3349814"/>
                <a:gd name="connsiteX38" fmla="*/ 2097791 w 3349750"/>
                <a:gd name="connsiteY38" fmla="*/ 3112954 h 3349814"/>
                <a:gd name="connsiteX39" fmla="*/ 2264203 w 3349750"/>
                <a:gd name="connsiteY39" fmla="*/ 3019720 h 3349814"/>
                <a:gd name="connsiteX40" fmla="*/ 2264647 w 3349750"/>
                <a:gd name="connsiteY40" fmla="*/ 3019720 h 3349814"/>
                <a:gd name="connsiteX41" fmla="*/ 2423062 w 3349750"/>
                <a:gd name="connsiteY41" fmla="*/ 3101149 h 3349814"/>
                <a:gd name="connsiteX42" fmla="*/ 2836997 w 3349750"/>
                <a:gd name="connsiteY42" fmla="*/ 3349561 h 3349814"/>
                <a:gd name="connsiteX43" fmla="*/ 2837251 w 3349750"/>
                <a:gd name="connsiteY43" fmla="*/ 3349561 h 3349814"/>
                <a:gd name="connsiteX44" fmla="*/ 2852991 w 3349750"/>
                <a:gd name="connsiteY44" fmla="*/ 3349814 h 3349814"/>
                <a:gd name="connsiteX45" fmla="*/ 2853498 w 3349750"/>
                <a:gd name="connsiteY45" fmla="*/ 3349814 h 3349814"/>
                <a:gd name="connsiteX46" fmla="*/ 2853879 w 3349750"/>
                <a:gd name="connsiteY46" fmla="*/ 3349814 h 3349814"/>
                <a:gd name="connsiteX47" fmla="*/ 3349751 w 3349750"/>
                <a:gd name="connsiteY47" fmla="*/ 2853943 h 3349814"/>
                <a:gd name="connsiteX48" fmla="*/ 3102291 w 3349750"/>
                <a:gd name="connsiteY48" fmla="*/ 2424522 h 3349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349750" h="3349814">
                  <a:moveTo>
                    <a:pt x="3102418" y="2424395"/>
                  </a:moveTo>
                  <a:cubicBezTo>
                    <a:pt x="3050629" y="2387584"/>
                    <a:pt x="3018895" y="2328559"/>
                    <a:pt x="3018895" y="2264520"/>
                  </a:cubicBezTo>
                  <a:lnTo>
                    <a:pt x="3018895" y="2264076"/>
                  </a:lnTo>
                  <a:cubicBezTo>
                    <a:pt x="3018895" y="2196166"/>
                    <a:pt x="3054246" y="2133206"/>
                    <a:pt x="3112129" y="2097664"/>
                  </a:cubicBezTo>
                  <a:cubicBezTo>
                    <a:pt x="3254232" y="2010460"/>
                    <a:pt x="3348989" y="1853695"/>
                    <a:pt x="3348989" y="1674780"/>
                  </a:cubicBezTo>
                  <a:cubicBezTo>
                    <a:pt x="3348989" y="1495865"/>
                    <a:pt x="3254232" y="1339101"/>
                    <a:pt x="3112129" y="1251896"/>
                  </a:cubicBezTo>
                  <a:cubicBezTo>
                    <a:pt x="3054246" y="1216355"/>
                    <a:pt x="3018895" y="1153458"/>
                    <a:pt x="3018895" y="1085485"/>
                  </a:cubicBezTo>
                  <a:lnTo>
                    <a:pt x="3018895" y="1085040"/>
                  </a:lnTo>
                  <a:cubicBezTo>
                    <a:pt x="3018895" y="1016622"/>
                    <a:pt x="3055198" y="953853"/>
                    <a:pt x="3113398" y="917867"/>
                  </a:cubicBezTo>
                  <a:cubicBezTo>
                    <a:pt x="3255438" y="830091"/>
                    <a:pt x="3349878" y="672755"/>
                    <a:pt x="3348989" y="493333"/>
                  </a:cubicBezTo>
                  <a:cubicBezTo>
                    <a:pt x="3347656" y="220169"/>
                    <a:pt x="3126409" y="0"/>
                    <a:pt x="2853118" y="0"/>
                  </a:cubicBezTo>
                  <a:cubicBezTo>
                    <a:pt x="2579256" y="0"/>
                    <a:pt x="2357246" y="222009"/>
                    <a:pt x="2357246" y="495872"/>
                  </a:cubicBezTo>
                  <a:cubicBezTo>
                    <a:pt x="2357246" y="674786"/>
                    <a:pt x="2452003" y="831551"/>
                    <a:pt x="2594107" y="918755"/>
                  </a:cubicBezTo>
                  <a:cubicBezTo>
                    <a:pt x="2651989" y="954297"/>
                    <a:pt x="2687341" y="1017194"/>
                    <a:pt x="2687341" y="1085167"/>
                  </a:cubicBezTo>
                  <a:lnTo>
                    <a:pt x="2687341" y="1085612"/>
                  </a:lnTo>
                  <a:cubicBezTo>
                    <a:pt x="2687341" y="1153522"/>
                    <a:pt x="2651989" y="1216482"/>
                    <a:pt x="2594107" y="1252023"/>
                  </a:cubicBezTo>
                  <a:cubicBezTo>
                    <a:pt x="2452003" y="1339228"/>
                    <a:pt x="2357246" y="1495992"/>
                    <a:pt x="2357246" y="1674907"/>
                  </a:cubicBezTo>
                  <a:cubicBezTo>
                    <a:pt x="2357246" y="1853822"/>
                    <a:pt x="2452003" y="2010587"/>
                    <a:pt x="2594107" y="2097791"/>
                  </a:cubicBezTo>
                  <a:cubicBezTo>
                    <a:pt x="2651989" y="2133333"/>
                    <a:pt x="2687341" y="2196229"/>
                    <a:pt x="2687341" y="2264203"/>
                  </a:cubicBezTo>
                  <a:lnTo>
                    <a:pt x="2687341" y="2264647"/>
                  </a:lnTo>
                  <a:cubicBezTo>
                    <a:pt x="2687341" y="2332557"/>
                    <a:pt x="2651989" y="2395517"/>
                    <a:pt x="2594107" y="2431059"/>
                  </a:cubicBezTo>
                  <a:cubicBezTo>
                    <a:pt x="2523975" y="2474090"/>
                    <a:pt x="2465395" y="2534130"/>
                    <a:pt x="2424014" y="2605341"/>
                  </a:cubicBezTo>
                  <a:cubicBezTo>
                    <a:pt x="2387203" y="2656686"/>
                    <a:pt x="2328432" y="2688166"/>
                    <a:pt x="2264647" y="2688166"/>
                  </a:cubicBezTo>
                  <a:lnTo>
                    <a:pt x="2264203" y="2688166"/>
                  </a:lnTo>
                  <a:cubicBezTo>
                    <a:pt x="2196293" y="2688166"/>
                    <a:pt x="2133333" y="2652815"/>
                    <a:pt x="2097791" y="2594932"/>
                  </a:cubicBezTo>
                  <a:cubicBezTo>
                    <a:pt x="2010587" y="2452828"/>
                    <a:pt x="1853822" y="2358071"/>
                    <a:pt x="1674907" y="2358071"/>
                  </a:cubicBezTo>
                  <a:cubicBezTo>
                    <a:pt x="1495992" y="2358071"/>
                    <a:pt x="1339228" y="2452828"/>
                    <a:pt x="1252023" y="2594932"/>
                  </a:cubicBezTo>
                  <a:cubicBezTo>
                    <a:pt x="1216481" y="2652815"/>
                    <a:pt x="1153585" y="2688166"/>
                    <a:pt x="1085611" y="2688166"/>
                  </a:cubicBezTo>
                  <a:lnTo>
                    <a:pt x="1085167" y="2688166"/>
                  </a:lnTo>
                  <a:cubicBezTo>
                    <a:pt x="1016749" y="2688166"/>
                    <a:pt x="953980" y="2651862"/>
                    <a:pt x="917994" y="2593663"/>
                  </a:cubicBezTo>
                  <a:cubicBezTo>
                    <a:pt x="830218" y="2451622"/>
                    <a:pt x="672882" y="2357183"/>
                    <a:pt x="493460" y="2358071"/>
                  </a:cubicBezTo>
                  <a:cubicBezTo>
                    <a:pt x="220232" y="2359404"/>
                    <a:pt x="0" y="2580652"/>
                    <a:pt x="0" y="2853943"/>
                  </a:cubicBezTo>
                  <a:cubicBezTo>
                    <a:pt x="0" y="3127805"/>
                    <a:pt x="222009" y="3349814"/>
                    <a:pt x="495872" y="3349814"/>
                  </a:cubicBezTo>
                  <a:cubicBezTo>
                    <a:pt x="674786" y="3349814"/>
                    <a:pt x="831551" y="3255057"/>
                    <a:pt x="918755" y="3112954"/>
                  </a:cubicBezTo>
                  <a:cubicBezTo>
                    <a:pt x="954297" y="3055071"/>
                    <a:pt x="1017194" y="3019720"/>
                    <a:pt x="1085167" y="3019720"/>
                  </a:cubicBezTo>
                  <a:lnTo>
                    <a:pt x="1085611" y="3019720"/>
                  </a:lnTo>
                  <a:cubicBezTo>
                    <a:pt x="1153522" y="3019720"/>
                    <a:pt x="1216481" y="3055071"/>
                    <a:pt x="1252023" y="3112954"/>
                  </a:cubicBezTo>
                  <a:cubicBezTo>
                    <a:pt x="1339228" y="3255057"/>
                    <a:pt x="1495992" y="3349814"/>
                    <a:pt x="1674907" y="3349814"/>
                  </a:cubicBezTo>
                  <a:cubicBezTo>
                    <a:pt x="1853822" y="3349814"/>
                    <a:pt x="2010587" y="3255057"/>
                    <a:pt x="2097791" y="3112954"/>
                  </a:cubicBezTo>
                  <a:cubicBezTo>
                    <a:pt x="2133333" y="3055071"/>
                    <a:pt x="2196229" y="3019720"/>
                    <a:pt x="2264203" y="3019720"/>
                  </a:cubicBezTo>
                  <a:lnTo>
                    <a:pt x="2264647" y="3019720"/>
                  </a:lnTo>
                  <a:cubicBezTo>
                    <a:pt x="2327797" y="3019720"/>
                    <a:pt x="2386568" y="3050311"/>
                    <a:pt x="2423062" y="3101149"/>
                  </a:cubicBezTo>
                  <a:cubicBezTo>
                    <a:pt x="2506205" y="3245474"/>
                    <a:pt x="2659859" y="3343975"/>
                    <a:pt x="2836997" y="3349561"/>
                  </a:cubicBezTo>
                  <a:cubicBezTo>
                    <a:pt x="2837061" y="3349561"/>
                    <a:pt x="2837187" y="3349561"/>
                    <a:pt x="2837251" y="3349561"/>
                  </a:cubicBezTo>
                  <a:cubicBezTo>
                    <a:pt x="2842519" y="3349751"/>
                    <a:pt x="2847723" y="3349814"/>
                    <a:pt x="2852991" y="3349814"/>
                  </a:cubicBezTo>
                  <a:cubicBezTo>
                    <a:pt x="2853181" y="3349814"/>
                    <a:pt x="2853308" y="3349814"/>
                    <a:pt x="2853498" y="3349814"/>
                  </a:cubicBezTo>
                  <a:cubicBezTo>
                    <a:pt x="2853626" y="3349814"/>
                    <a:pt x="2853753" y="3349814"/>
                    <a:pt x="2853879" y="3349814"/>
                  </a:cubicBezTo>
                  <a:cubicBezTo>
                    <a:pt x="3127742" y="3349814"/>
                    <a:pt x="3349751" y="3127805"/>
                    <a:pt x="3349751" y="2853943"/>
                  </a:cubicBezTo>
                  <a:cubicBezTo>
                    <a:pt x="3349751" y="2670395"/>
                    <a:pt x="3250361" y="2510266"/>
                    <a:pt x="3102291" y="2424522"/>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0D22623D-2E13-A3C2-3E57-4118F42BF11F}"/>
                </a:ext>
              </a:extLst>
            </p:cNvPr>
            <p:cNvSpPr/>
            <p:nvPr/>
          </p:nvSpPr>
          <p:spPr>
            <a:xfrm>
              <a:off x="0" y="2694278"/>
              <a:ext cx="546010" cy="991743"/>
            </a:xfrm>
            <a:custGeom>
              <a:avLst/>
              <a:gdLst>
                <a:gd name="connsiteX0" fmla="*/ 52615 w 546010"/>
                <a:gd name="connsiteY0" fmla="*/ 63 h 991743"/>
                <a:gd name="connsiteX1" fmla="*/ 0 w 546010"/>
                <a:gd name="connsiteY1" fmla="*/ 2602 h 991743"/>
                <a:gd name="connsiteX2" fmla="*/ 0 w 546010"/>
                <a:gd name="connsiteY2" fmla="*/ 989268 h 991743"/>
                <a:gd name="connsiteX3" fmla="*/ 50139 w 546010"/>
                <a:gd name="connsiteY3" fmla="*/ 991743 h 991743"/>
                <a:gd name="connsiteX4" fmla="*/ 546011 w 546010"/>
                <a:gd name="connsiteY4" fmla="*/ 495871 h 991743"/>
                <a:gd name="connsiteX5" fmla="*/ 52551 w 546010"/>
                <a:gd name="connsiteY5" fmla="*/ 0 h 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010" h="991743">
                  <a:moveTo>
                    <a:pt x="52615" y="63"/>
                  </a:moveTo>
                  <a:cubicBezTo>
                    <a:pt x="34844" y="0"/>
                    <a:pt x="17327" y="889"/>
                    <a:pt x="0" y="2602"/>
                  </a:cubicBezTo>
                  <a:lnTo>
                    <a:pt x="0" y="989268"/>
                  </a:lnTo>
                  <a:cubicBezTo>
                    <a:pt x="16502" y="990918"/>
                    <a:pt x="33194" y="991743"/>
                    <a:pt x="50139" y="991743"/>
                  </a:cubicBezTo>
                  <a:cubicBezTo>
                    <a:pt x="324002" y="991743"/>
                    <a:pt x="546011" y="769734"/>
                    <a:pt x="546011" y="495871"/>
                  </a:cubicBezTo>
                  <a:cubicBezTo>
                    <a:pt x="546011" y="222644"/>
                    <a:pt x="325842" y="1333"/>
                    <a:pt x="52551" y="0"/>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CB5F0E76-B9D2-CEE5-326F-9F32A7B886CC}"/>
                </a:ext>
              </a:extLst>
            </p:cNvPr>
            <p:cNvSpPr/>
            <p:nvPr/>
          </p:nvSpPr>
          <p:spPr>
            <a:xfrm>
              <a:off x="0" y="3871981"/>
              <a:ext cx="546010" cy="991743"/>
            </a:xfrm>
            <a:custGeom>
              <a:avLst/>
              <a:gdLst>
                <a:gd name="connsiteX0" fmla="*/ 50139 w 546010"/>
                <a:gd name="connsiteY0" fmla="*/ 0 h 991743"/>
                <a:gd name="connsiteX1" fmla="*/ 0 w 546010"/>
                <a:gd name="connsiteY1" fmla="*/ 2539 h 991743"/>
                <a:gd name="connsiteX2" fmla="*/ 0 w 546010"/>
                <a:gd name="connsiteY2" fmla="*/ 989204 h 991743"/>
                <a:gd name="connsiteX3" fmla="*/ 50139 w 546010"/>
                <a:gd name="connsiteY3" fmla="*/ 991743 h 991743"/>
                <a:gd name="connsiteX4" fmla="*/ 546011 w 546010"/>
                <a:gd name="connsiteY4" fmla="*/ 495872 h 991743"/>
                <a:gd name="connsiteX5" fmla="*/ 50139 w 546010"/>
                <a:gd name="connsiteY5" fmla="*/ 0 h 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010" h="991743">
                  <a:moveTo>
                    <a:pt x="50139" y="0"/>
                  </a:moveTo>
                  <a:cubicBezTo>
                    <a:pt x="33194" y="0"/>
                    <a:pt x="16502" y="889"/>
                    <a:pt x="0" y="2539"/>
                  </a:cubicBezTo>
                  <a:lnTo>
                    <a:pt x="0" y="989204"/>
                  </a:lnTo>
                  <a:cubicBezTo>
                    <a:pt x="16502" y="990855"/>
                    <a:pt x="33194" y="991743"/>
                    <a:pt x="50139" y="991743"/>
                  </a:cubicBezTo>
                  <a:cubicBezTo>
                    <a:pt x="324002" y="991743"/>
                    <a:pt x="546011" y="769734"/>
                    <a:pt x="546011" y="495872"/>
                  </a:cubicBezTo>
                  <a:cubicBezTo>
                    <a:pt x="546011" y="222009"/>
                    <a:pt x="324002" y="0"/>
                    <a:pt x="50139" y="0"/>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CEE3F2A6-2628-6A5C-E56E-11862182CB21}"/>
                </a:ext>
              </a:extLst>
            </p:cNvPr>
            <p:cNvSpPr/>
            <p:nvPr/>
          </p:nvSpPr>
          <p:spPr>
            <a:xfrm>
              <a:off x="0" y="5049620"/>
              <a:ext cx="546017" cy="1807363"/>
            </a:xfrm>
            <a:custGeom>
              <a:avLst/>
              <a:gdLst>
                <a:gd name="connsiteX0" fmla="*/ 528050 w 546017"/>
                <a:gd name="connsiteY0" fmla="*/ 1807364 h 1807363"/>
                <a:gd name="connsiteX1" fmla="*/ 546011 w 546017"/>
                <a:gd name="connsiteY1" fmla="*/ 1674907 h 1807363"/>
                <a:gd name="connsiteX2" fmla="*/ 309150 w 546017"/>
                <a:gd name="connsiteY2" fmla="*/ 1252023 h 1807363"/>
                <a:gd name="connsiteX3" fmla="*/ 215916 w 546017"/>
                <a:gd name="connsiteY3" fmla="*/ 1085611 h 1807363"/>
                <a:gd name="connsiteX4" fmla="*/ 215916 w 546017"/>
                <a:gd name="connsiteY4" fmla="*/ 1085167 h 1807363"/>
                <a:gd name="connsiteX5" fmla="*/ 310420 w 546017"/>
                <a:gd name="connsiteY5" fmla="*/ 917994 h 1807363"/>
                <a:gd name="connsiteX6" fmla="*/ 546011 w 546017"/>
                <a:gd name="connsiteY6" fmla="*/ 493460 h 1807363"/>
                <a:gd name="connsiteX7" fmla="*/ 50139 w 546017"/>
                <a:gd name="connsiteY7" fmla="*/ 0 h 1807363"/>
                <a:gd name="connsiteX8" fmla="*/ 0 w 546017"/>
                <a:gd name="connsiteY8" fmla="*/ 2538 h 1807363"/>
                <a:gd name="connsiteX9" fmla="*/ 0 w 546017"/>
                <a:gd name="connsiteY9" fmla="*/ 1807300 h 1807363"/>
                <a:gd name="connsiteX10" fmla="*/ 528050 w 546017"/>
                <a:gd name="connsiteY10" fmla="*/ 1807300 h 180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6017" h="1807363">
                  <a:moveTo>
                    <a:pt x="528050" y="1807364"/>
                  </a:moveTo>
                  <a:cubicBezTo>
                    <a:pt x="539728" y="1765222"/>
                    <a:pt x="546011" y="1720794"/>
                    <a:pt x="546011" y="1674907"/>
                  </a:cubicBezTo>
                  <a:cubicBezTo>
                    <a:pt x="546011" y="1495993"/>
                    <a:pt x="451254" y="1339228"/>
                    <a:pt x="309150" y="1252023"/>
                  </a:cubicBezTo>
                  <a:cubicBezTo>
                    <a:pt x="251268" y="1216481"/>
                    <a:pt x="215916" y="1153585"/>
                    <a:pt x="215916" y="1085611"/>
                  </a:cubicBezTo>
                  <a:lnTo>
                    <a:pt x="215916" y="1085167"/>
                  </a:lnTo>
                  <a:cubicBezTo>
                    <a:pt x="215916" y="1016749"/>
                    <a:pt x="252220" y="953980"/>
                    <a:pt x="310420" y="917994"/>
                  </a:cubicBezTo>
                  <a:cubicBezTo>
                    <a:pt x="452460" y="830218"/>
                    <a:pt x="546899" y="672883"/>
                    <a:pt x="546011" y="493460"/>
                  </a:cubicBezTo>
                  <a:cubicBezTo>
                    <a:pt x="544678" y="220232"/>
                    <a:pt x="323430" y="0"/>
                    <a:pt x="50139" y="0"/>
                  </a:cubicBezTo>
                  <a:cubicBezTo>
                    <a:pt x="33194" y="0"/>
                    <a:pt x="16502" y="889"/>
                    <a:pt x="0" y="2538"/>
                  </a:cubicBezTo>
                  <a:lnTo>
                    <a:pt x="0" y="1807300"/>
                  </a:lnTo>
                  <a:lnTo>
                    <a:pt x="528050" y="1807300"/>
                  </a:ln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2A03EF30-837B-9FD3-2E58-D16813F6DA12}"/>
                </a:ext>
              </a:extLst>
            </p:cNvPr>
            <p:cNvSpPr/>
            <p:nvPr/>
          </p:nvSpPr>
          <p:spPr>
            <a:xfrm>
              <a:off x="723719" y="6227323"/>
              <a:ext cx="991743" cy="629661"/>
            </a:xfrm>
            <a:custGeom>
              <a:avLst/>
              <a:gdLst>
                <a:gd name="connsiteX0" fmla="*/ 973338 w 991743"/>
                <a:gd name="connsiteY0" fmla="*/ 629661 h 629661"/>
                <a:gd name="connsiteX1" fmla="*/ 991743 w 991743"/>
                <a:gd name="connsiteY1" fmla="*/ 495872 h 629661"/>
                <a:gd name="connsiteX2" fmla="*/ 495872 w 991743"/>
                <a:gd name="connsiteY2" fmla="*/ 0 h 629661"/>
                <a:gd name="connsiteX3" fmla="*/ 0 w 991743"/>
                <a:gd name="connsiteY3" fmla="*/ 495872 h 629661"/>
                <a:gd name="connsiteX4" fmla="*/ 18406 w 991743"/>
                <a:gd name="connsiteY4" fmla="*/ 629661 h 629661"/>
                <a:gd name="connsiteX5" fmla="*/ 973338 w 991743"/>
                <a:gd name="connsiteY5" fmla="*/ 629661 h 62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743" h="629661">
                  <a:moveTo>
                    <a:pt x="973338" y="629661"/>
                  </a:moveTo>
                  <a:cubicBezTo>
                    <a:pt x="985269" y="587074"/>
                    <a:pt x="991743" y="542266"/>
                    <a:pt x="991743" y="495872"/>
                  </a:cubicBezTo>
                  <a:cubicBezTo>
                    <a:pt x="991743" y="222009"/>
                    <a:pt x="769734" y="0"/>
                    <a:pt x="495872" y="0"/>
                  </a:cubicBezTo>
                  <a:cubicBezTo>
                    <a:pt x="222009" y="0"/>
                    <a:pt x="0" y="222009"/>
                    <a:pt x="0" y="495872"/>
                  </a:cubicBezTo>
                  <a:cubicBezTo>
                    <a:pt x="0" y="542266"/>
                    <a:pt x="6474" y="587074"/>
                    <a:pt x="18406" y="629661"/>
                  </a:cubicBezTo>
                  <a:lnTo>
                    <a:pt x="973338" y="629661"/>
                  </a:ln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299B5960-F2F3-F857-EF4B-70F02CCECCF2}"/>
                </a:ext>
              </a:extLst>
            </p:cNvPr>
            <p:cNvSpPr/>
            <p:nvPr/>
          </p:nvSpPr>
          <p:spPr>
            <a:xfrm>
              <a:off x="1902692" y="6228656"/>
              <a:ext cx="991742" cy="628328"/>
            </a:xfrm>
            <a:custGeom>
              <a:avLst/>
              <a:gdLst>
                <a:gd name="connsiteX0" fmla="*/ 973718 w 991742"/>
                <a:gd name="connsiteY0" fmla="*/ 628328 h 628328"/>
                <a:gd name="connsiteX1" fmla="*/ 991743 w 991742"/>
                <a:gd name="connsiteY1" fmla="*/ 495871 h 628328"/>
                <a:gd name="connsiteX2" fmla="*/ 495872 w 991742"/>
                <a:gd name="connsiteY2" fmla="*/ 0 h 628328"/>
                <a:gd name="connsiteX3" fmla="*/ 0 w 991742"/>
                <a:gd name="connsiteY3" fmla="*/ 495871 h 628328"/>
                <a:gd name="connsiteX4" fmla="*/ 18025 w 991742"/>
                <a:gd name="connsiteY4" fmla="*/ 628328 h 628328"/>
                <a:gd name="connsiteX5" fmla="*/ 973718 w 991742"/>
                <a:gd name="connsiteY5" fmla="*/ 628328 h 62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742" h="628328">
                  <a:moveTo>
                    <a:pt x="973718" y="628328"/>
                  </a:moveTo>
                  <a:cubicBezTo>
                    <a:pt x="985396" y="586122"/>
                    <a:pt x="991743" y="541758"/>
                    <a:pt x="991743" y="495871"/>
                  </a:cubicBezTo>
                  <a:cubicBezTo>
                    <a:pt x="991743" y="222009"/>
                    <a:pt x="769734" y="0"/>
                    <a:pt x="495872" y="0"/>
                  </a:cubicBezTo>
                  <a:cubicBezTo>
                    <a:pt x="222009" y="0"/>
                    <a:pt x="0" y="222009"/>
                    <a:pt x="0" y="495871"/>
                  </a:cubicBezTo>
                  <a:cubicBezTo>
                    <a:pt x="0" y="541758"/>
                    <a:pt x="6347" y="586122"/>
                    <a:pt x="18025" y="628328"/>
                  </a:cubicBezTo>
                  <a:lnTo>
                    <a:pt x="973718" y="628328"/>
                  </a:ln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53E942A5-2ABB-7DCA-CFE7-370D17CDAA52}"/>
                </a:ext>
              </a:extLst>
            </p:cNvPr>
            <p:cNvSpPr/>
            <p:nvPr/>
          </p:nvSpPr>
          <p:spPr>
            <a:xfrm>
              <a:off x="3081537" y="6227317"/>
              <a:ext cx="3349814" cy="629667"/>
            </a:xfrm>
            <a:custGeom>
              <a:avLst/>
              <a:gdLst>
                <a:gd name="connsiteX0" fmla="*/ 3331409 w 3349814"/>
                <a:gd name="connsiteY0" fmla="*/ 629667 h 629667"/>
                <a:gd name="connsiteX1" fmla="*/ 3349815 w 3349814"/>
                <a:gd name="connsiteY1" fmla="*/ 495878 h 629667"/>
                <a:gd name="connsiteX2" fmla="*/ 2856355 w 3349814"/>
                <a:gd name="connsiteY2" fmla="*/ 6 h 629667"/>
                <a:gd name="connsiteX3" fmla="*/ 2431821 w 3349814"/>
                <a:gd name="connsiteY3" fmla="*/ 235598 h 629667"/>
                <a:gd name="connsiteX4" fmla="*/ 2264647 w 3349814"/>
                <a:gd name="connsiteY4" fmla="*/ 330101 h 629667"/>
                <a:gd name="connsiteX5" fmla="*/ 2264203 w 3349814"/>
                <a:gd name="connsiteY5" fmla="*/ 330101 h 629667"/>
                <a:gd name="connsiteX6" fmla="*/ 2097791 w 3349814"/>
                <a:gd name="connsiteY6" fmla="*/ 236867 h 629667"/>
                <a:gd name="connsiteX7" fmla="*/ 1674907 w 3349814"/>
                <a:gd name="connsiteY7" fmla="*/ 6 h 629667"/>
                <a:gd name="connsiteX8" fmla="*/ 1252023 w 3349814"/>
                <a:gd name="connsiteY8" fmla="*/ 236867 h 629667"/>
                <a:gd name="connsiteX9" fmla="*/ 1085612 w 3349814"/>
                <a:gd name="connsiteY9" fmla="*/ 330101 h 629667"/>
                <a:gd name="connsiteX10" fmla="*/ 1085167 w 3349814"/>
                <a:gd name="connsiteY10" fmla="*/ 330101 h 629667"/>
                <a:gd name="connsiteX11" fmla="*/ 917994 w 3349814"/>
                <a:gd name="connsiteY11" fmla="*/ 235598 h 629667"/>
                <a:gd name="connsiteX12" fmla="*/ 493460 w 3349814"/>
                <a:gd name="connsiteY12" fmla="*/ 6 h 629667"/>
                <a:gd name="connsiteX13" fmla="*/ 0 w 3349814"/>
                <a:gd name="connsiteY13" fmla="*/ 495878 h 629667"/>
                <a:gd name="connsiteX14" fmla="*/ 18406 w 3349814"/>
                <a:gd name="connsiteY14" fmla="*/ 629667 h 629667"/>
                <a:gd name="connsiteX15" fmla="*/ 3331282 w 3349814"/>
                <a:gd name="connsiteY15" fmla="*/ 629667 h 62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49814" h="629667">
                  <a:moveTo>
                    <a:pt x="3331409" y="629667"/>
                  </a:moveTo>
                  <a:cubicBezTo>
                    <a:pt x="3343341" y="587081"/>
                    <a:pt x="3349815" y="542273"/>
                    <a:pt x="3349815" y="495878"/>
                  </a:cubicBezTo>
                  <a:cubicBezTo>
                    <a:pt x="3349815" y="222587"/>
                    <a:pt x="3129646" y="1339"/>
                    <a:pt x="2856355" y="6"/>
                  </a:cubicBezTo>
                  <a:cubicBezTo>
                    <a:pt x="2676932" y="-882"/>
                    <a:pt x="2519533" y="93557"/>
                    <a:pt x="2431821" y="235598"/>
                  </a:cubicBezTo>
                  <a:cubicBezTo>
                    <a:pt x="2395835" y="293797"/>
                    <a:pt x="2333065" y="330101"/>
                    <a:pt x="2264647" y="330101"/>
                  </a:cubicBezTo>
                  <a:lnTo>
                    <a:pt x="2264203" y="330101"/>
                  </a:lnTo>
                  <a:cubicBezTo>
                    <a:pt x="2196293" y="330101"/>
                    <a:pt x="2133333" y="294749"/>
                    <a:pt x="2097791" y="236867"/>
                  </a:cubicBezTo>
                  <a:cubicBezTo>
                    <a:pt x="2010587" y="94763"/>
                    <a:pt x="1853822" y="6"/>
                    <a:pt x="1674907" y="6"/>
                  </a:cubicBezTo>
                  <a:cubicBezTo>
                    <a:pt x="1495992" y="6"/>
                    <a:pt x="1339227" y="94763"/>
                    <a:pt x="1252023" y="236867"/>
                  </a:cubicBezTo>
                  <a:cubicBezTo>
                    <a:pt x="1216482" y="294749"/>
                    <a:pt x="1153585" y="330101"/>
                    <a:pt x="1085612" y="330101"/>
                  </a:cubicBezTo>
                  <a:lnTo>
                    <a:pt x="1085167" y="330101"/>
                  </a:lnTo>
                  <a:cubicBezTo>
                    <a:pt x="1016749" y="330101"/>
                    <a:pt x="953980" y="293797"/>
                    <a:pt x="917994" y="235598"/>
                  </a:cubicBezTo>
                  <a:cubicBezTo>
                    <a:pt x="830282" y="93557"/>
                    <a:pt x="672882" y="-882"/>
                    <a:pt x="493460" y="6"/>
                  </a:cubicBezTo>
                  <a:cubicBezTo>
                    <a:pt x="220232" y="1339"/>
                    <a:pt x="0" y="222587"/>
                    <a:pt x="0" y="495878"/>
                  </a:cubicBezTo>
                  <a:cubicBezTo>
                    <a:pt x="0" y="542273"/>
                    <a:pt x="6474" y="587081"/>
                    <a:pt x="18406" y="629667"/>
                  </a:cubicBezTo>
                  <a:lnTo>
                    <a:pt x="3331282" y="629667"/>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346979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Mönster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6444343" y="1119824"/>
            <a:ext cx="4807599" cy="1232398"/>
          </a:xfrm>
        </p:spPr>
        <p:txBody>
          <a:bodyPr>
            <a:normAutofit/>
          </a:bodyPr>
          <a:lstStyle>
            <a:lvl1pPr>
              <a:defRPr sz="4000">
                <a:solidFill>
                  <a:schemeClr val="bg1"/>
                </a:solidFill>
              </a:defRPr>
            </a:lvl1pPr>
          </a:lstStyle>
          <a:p>
            <a:r>
              <a:rPr lang="sv-SE"/>
              <a:t>Rubrik</a:t>
            </a:r>
          </a:p>
        </p:txBody>
      </p:sp>
      <p:sp>
        <p:nvSpPr>
          <p:cNvPr id="4" name="Platshållare för bildnummer 3">
            <a:extLst>
              <a:ext uri="{FF2B5EF4-FFF2-40B4-BE49-F238E27FC236}">
                <a16:creationId xmlns:a16="http://schemas.microsoft.com/office/drawing/2014/main" id="{F1F5A5EA-BC04-1E7C-5686-018804102841}"/>
              </a:ext>
            </a:extLst>
          </p:cNvPr>
          <p:cNvSpPr>
            <a:spLocks noGrp="1"/>
          </p:cNvSpPr>
          <p:nvPr>
            <p:ph type="sldNum" sz="quarter" idx="10"/>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6444343" y="2612572"/>
            <a:ext cx="4807599"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grpSp>
        <p:nvGrpSpPr>
          <p:cNvPr id="5" name="Grupp 4">
            <a:extLst>
              <a:ext uri="{FF2B5EF4-FFF2-40B4-BE49-F238E27FC236}">
                <a16:creationId xmlns:a16="http://schemas.microsoft.com/office/drawing/2014/main" id="{B7676922-E58E-9C9E-CCAB-3AC2C7A03990}"/>
              </a:ext>
            </a:extLst>
          </p:cNvPr>
          <p:cNvGrpSpPr/>
          <p:nvPr userDrawn="1"/>
        </p:nvGrpSpPr>
        <p:grpSpPr>
          <a:xfrm>
            <a:off x="0" y="1514037"/>
            <a:ext cx="6431351" cy="5342947"/>
            <a:chOff x="0" y="1514037"/>
            <a:chExt cx="6431351" cy="5342947"/>
          </a:xfrm>
          <a:solidFill>
            <a:schemeClr val="accent5"/>
          </a:solidFill>
        </p:grpSpPr>
        <p:sp>
          <p:nvSpPr>
            <p:cNvPr id="8" name="Frihandsfigur: Form 7">
              <a:extLst>
                <a:ext uri="{FF2B5EF4-FFF2-40B4-BE49-F238E27FC236}">
                  <a16:creationId xmlns:a16="http://schemas.microsoft.com/office/drawing/2014/main" id="{C0A36C82-0A6A-7C04-BF61-DE1AAA3AA7B7}"/>
                </a:ext>
              </a:extLst>
            </p:cNvPr>
            <p:cNvSpPr/>
            <p:nvPr/>
          </p:nvSpPr>
          <p:spPr>
            <a:xfrm>
              <a:off x="733239" y="2694341"/>
              <a:ext cx="991743" cy="991743"/>
            </a:xfrm>
            <a:custGeom>
              <a:avLst/>
              <a:gdLst>
                <a:gd name="connsiteX0" fmla="*/ 991743 w 991743"/>
                <a:gd name="connsiteY0" fmla="*/ 495872 h 991743"/>
                <a:gd name="connsiteX1" fmla="*/ 495872 w 991743"/>
                <a:gd name="connsiteY1" fmla="*/ 991743 h 991743"/>
                <a:gd name="connsiteX2" fmla="*/ 0 w 991743"/>
                <a:gd name="connsiteY2" fmla="*/ 495872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2"/>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4268940C-E3F0-CF03-43A2-9E919E270776}"/>
                </a:ext>
              </a:extLst>
            </p:cNvPr>
            <p:cNvSpPr/>
            <p:nvPr/>
          </p:nvSpPr>
          <p:spPr>
            <a:xfrm>
              <a:off x="1912212" y="2694341"/>
              <a:ext cx="991743" cy="991743"/>
            </a:xfrm>
            <a:custGeom>
              <a:avLst/>
              <a:gdLst>
                <a:gd name="connsiteX0" fmla="*/ 991743 w 991743"/>
                <a:gd name="connsiteY0" fmla="*/ 495872 h 991743"/>
                <a:gd name="connsiteX1" fmla="*/ 495871 w 991743"/>
                <a:gd name="connsiteY1" fmla="*/ 991743 h 991743"/>
                <a:gd name="connsiteX2" fmla="*/ 0 w 991743"/>
                <a:gd name="connsiteY2" fmla="*/ 495872 h 991743"/>
                <a:gd name="connsiteX3" fmla="*/ 495871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1" y="991743"/>
                  </a:cubicBezTo>
                  <a:cubicBezTo>
                    <a:pt x="222009" y="991743"/>
                    <a:pt x="0" y="769734"/>
                    <a:pt x="0" y="495872"/>
                  </a:cubicBezTo>
                  <a:cubicBezTo>
                    <a:pt x="0" y="222009"/>
                    <a:pt x="222009" y="0"/>
                    <a:pt x="495871"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41D0EF52-18F1-805A-66B2-543675B787BD}"/>
                </a:ext>
              </a:extLst>
            </p:cNvPr>
            <p:cNvSpPr/>
            <p:nvPr/>
          </p:nvSpPr>
          <p:spPr>
            <a:xfrm>
              <a:off x="4270219" y="2694341"/>
              <a:ext cx="991743" cy="991743"/>
            </a:xfrm>
            <a:custGeom>
              <a:avLst/>
              <a:gdLst>
                <a:gd name="connsiteX0" fmla="*/ 991743 w 991743"/>
                <a:gd name="connsiteY0" fmla="*/ 495872 h 991743"/>
                <a:gd name="connsiteX1" fmla="*/ 495872 w 991743"/>
                <a:gd name="connsiteY1" fmla="*/ 991743 h 991743"/>
                <a:gd name="connsiteX2" fmla="*/ 0 w 991743"/>
                <a:gd name="connsiteY2" fmla="*/ 495872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2"/>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62C46A3D-4F90-7715-82A1-330BF1B95119}"/>
                </a:ext>
              </a:extLst>
            </p:cNvPr>
            <p:cNvSpPr/>
            <p:nvPr/>
          </p:nvSpPr>
          <p:spPr>
            <a:xfrm>
              <a:off x="4270219" y="3871981"/>
              <a:ext cx="991743" cy="991743"/>
            </a:xfrm>
            <a:custGeom>
              <a:avLst/>
              <a:gdLst>
                <a:gd name="connsiteX0" fmla="*/ 991743 w 991743"/>
                <a:gd name="connsiteY0" fmla="*/ 495872 h 991743"/>
                <a:gd name="connsiteX1" fmla="*/ 495872 w 991743"/>
                <a:gd name="connsiteY1" fmla="*/ 991743 h 991743"/>
                <a:gd name="connsiteX2" fmla="*/ 0 w 991743"/>
                <a:gd name="connsiteY2" fmla="*/ 495871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1"/>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A15295D9-32F6-C49A-5F3F-2EDAE8B451D7}"/>
                </a:ext>
              </a:extLst>
            </p:cNvPr>
            <p:cNvSpPr/>
            <p:nvPr/>
          </p:nvSpPr>
          <p:spPr>
            <a:xfrm>
              <a:off x="723719" y="5049684"/>
              <a:ext cx="991743" cy="991743"/>
            </a:xfrm>
            <a:custGeom>
              <a:avLst/>
              <a:gdLst>
                <a:gd name="connsiteX0" fmla="*/ 991743 w 991743"/>
                <a:gd name="connsiteY0" fmla="*/ 495872 h 991743"/>
                <a:gd name="connsiteX1" fmla="*/ 495872 w 991743"/>
                <a:gd name="connsiteY1" fmla="*/ 991743 h 991743"/>
                <a:gd name="connsiteX2" fmla="*/ 0 w 991743"/>
                <a:gd name="connsiteY2" fmla="*/ 495872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2"/>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EDCBC248-D85F-44D3-07EE-9C0B224EBF64}"/>
                </a:ext>
              </a:extLst>
            </p:cNvPr>
            <p:cNvSpPr/>
            <p:nvPr/>
          </p:nvSpPr>
          <p:spPr>
            <a:xfrm>
              <a:off x="1902691" y="5049684"/>
              <a:ext cx="991743" cy="991743"/>
            </a:xfrm>
            <a:custGeom>
              <a:avLst/>
              <a:gdLst>
                <a:gd name="connsiteX0" fmla="*/ 991743 w 991743"/>
                <a:gd name="connsiteY0" fmla="*/ 495872 h 991743"/>
                <a:gd name="connsiteX1" fmla="*/ 495871 w 991743"/>
                <a:gd name="connsiteY1" fmla="*/ 991743 h 991743"/>
                <a:gd name="connsiteX2" fmla="*/ 0 w 991743"/>
                <a:gd name="connsiteY2" fmla="*/ 495872 h 991743"/>
                <a:gd name="connsiteX3" fmla="*/ 495871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1" y="991743"/>
                  </a:cubicBezTo>
                  <a:cubicBezTo>
                    <a:pt x="222009" y="991743"/>
                    <a:pt x="0" y="769734"/>
                    <a:pt x="0" y="495872"/>
                  </a:cubicBezTo>
                  <a:cubicBezTo>
                    <a:pt x="0" y="222009"/>
                    <a:pt x="222009" y="0"/>
                    <a:pt x="495871"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A7198DB9-1D3F-E599-D2CF-859DCB29A15C}"/>
                </a:ext>
              </a:extLst>
            </p:cNvPr>
            <p:cNvSpPr/>
            <p:nvPr/>
          </p:nvSpPr>
          <p:spPr>
            <a:xfrm>
              <a:off x="3081664" y="5049684"/>
              <a:ext cx="991743" cy="991743"/>
            </a:xfrm>
            <a:custGeom>
              <a:avLst/>
              <a:gdLst>
                <a:gd name="connsiteX0" fmla="*/ 991743 w 991743"/>
                <a:gd name="connsiteY0" fmla="*/ 495872 h 991743"/>
                <a:gd name="connsiteX1" fmla="*/ 495871 w 991743"/>
                <a:gd name="connsiteY1" fmla="*/ 991743 h 991743"/>
                <a:gd name="connsiteX2" fmla="*/ 0 w 991743"/>
                <a:gd name="connsiteY2" fmla="*/ 495872 h 991743"/>
                <a:gd name="connsiteX3" fmla="*/ 495871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1" y="991743"/>
                  </a:cubicBezTo>
                  <a:cubicBezTo>
                    <a:pt x="222009" y="991743"/>
                    <a:pt x="0" y="769734"/>
                    <a:pt x="0" y="495872"/>
                  </a:cubicBezTo>
                  <a:cubicBezTo>
                    <a:pt x="0" y="222009"/>
                    <a:pt x="222009" y="0"/>
                    <a:pt x="495871"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49FE0C91-F542-CCD8-C7FD-F0430FFAE332}"/>
                </a:ext>
              </a:extLst>
            </p:cNvPr>
            <p:cNvSpPr/>
            <p:nvPr/>
          </p:nvSpPr>
          <p:spPr>
            <a:xfrm>
              <a:off x="4260636" y="5049684"/>
              <a:ext cx="991743" cy="991743"/>
            </a:xfrm>
            <a:custGeom>
              <a:avLst/>
              <a:gdLst>
                <a:gd name="connsiteX0" fmla="*/ 991743 w 991743"/>
                <a:gd name="connsiteY0" fmla="*/ 495872 h 991743"/>
                <a:gd name="connsiteX1" fmla="*/ 495872 w 991743"/>
                <a:gd name="connsiteY1" fmla="*/ 991743 h 991743"/>
                <a:gd name="connsiteX2" fmla="*/ 0 w 991743"/>
                <a:gd name="connsiteY2" fmla="*/ 495872 h 991743"/>
                <a:gd name="connsiteX3" fmla="*/ 495872 w 991743"/>
                <a:gd name="connsiteY3" fmla="*/ 0 h 991743"/>
                <a:gd name="connsiteX4" fmla="*/ 991743 w 991743"/>
                <a:gd name="connsiteY4" fmla="*/ 495872 h 99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43" h="991743">
                  <a:moveTo>
                    <a:pt x="991743" y="495872"/>
                  </a:moveTo>
                  <a:cubicBezTo>
                    <a:pt x="991743" y="769734"/>
                    <a:pt x="769734" y="991743"/>
                    <a:pt x="495872" y="991743"/>
                  </a:cubicBezTo>
                  <a:cubicBezTo>
                    <a:pt x="222009" y="991743"/>
                    <a:pt x="0" y="769734"/>
                    <a:pt x="0" y="495872"/>
                  </a:cubicBezTo>
                  <a:cubicBezTo>
                    <a:pt x="0" y="222009"/>
                    <a:pt x="222009" y="0"/>
                    <a:pt x="495872" y="0"/>
                  </a:cubicBezTo>
                  <a:cubicBezTo>
                    <a:pt x="769734" y="0"/>
                    <a:pt x="991743" y="222009"/>
                    <a:pt x="991743" y="495872"/>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E5408263-3A5E-6895-A47B-430A8A8DA182}"/>
                </a:ext>
              </a:extLst>
            </p:cNvPr>
            <p:cNvSpPr/>
            <p:nvPr/>
          </p:nvSpPr>
          <p:spPr>
            <a:xfrm>
              <a:off x="733113" y="1514037"/>
              <a:ext cx="3349750" cy="3349814"/>
            </a:xfrm>
            <a:custGeom>
              <a:avLst/>
              <a:gdLst>
                <a:gd name="connsiteX0" fmla="*/ 3102418 w 3349750"/>
                <a:gd name="connsiteY0" fmla="*/ 2424395 h 3349814"/>
                <a:gd name="connsiteX1" fmla="*/ 3018895 w 3349750"/>
                <a:gd name="connsiteY1" fmla="*/ 2264520 h 3349814"/>
                <a:gd name="connsiteX2" fmla="*/ 3018895 w 3349750"/>
                <a:gd name="connsiteY2" fmla="*/ 2264076 h 3349814"/>
                <a:gd name="connsiteX3" fmla="*/ 3112129 w 3349750"/>
                <a:gd name="connsiteY3" fmla="*/ 2097664 h 3349814"/>
                <a:gd name="connsiteX4" fmla="*/ 3348989 w 3349750"/>
                <a:gd name="connsiteY4" fmla="*/ 1674780 h 3349814"/>
                <a:gd name="connsiteX5" fmla="*/ 3112129 w 3349750"/>
                <a:gd name="connsiteY5" fmla="*/ 1251896 h 3349814"/>
                <a:gd name="connsiteX6" fmla="*/ 3018895 w 3349750"/>
                <a:gd name="connsiteY6" fmla="*/ 1085485 h 3349814"/>
                <a:gd name="connsiteX7" fmla="*/ 3018895 w 3349750"/>
                <a:gd name="connsiteY7" fmla="*/ 1085040 h 3349814"/>
                <a:gd name="connsiteX8" fmla="*/ 3113398 w 3349750"/>
                <a:gd name="connsiteY8" fmla="*/ 917867 h 3349814"/>
                <a:gd name="connsiteX9" fmla="*/ 3348989 w 3349750"/>
                <a:gd name="connsiteY9" fmla="*/ 493333 h 3349814"/>
                <a:gd name="connsiteX10" fmla="*/ 2853118 w 3349750"/>
                <a:gd name="connsiteY10" fmla="*/ 0 h 3349814"/>
                <a:gd name="connsiteX11" fmla="*/ 2357246 w 3349750"/>
                <a:gd name="connsiteY11" fmla="*/ 495872 h 3349814"/>
                <a:gd name="connsiteX12" fmla="*/ 2594107 w 3349750"/>
                <a:gd name="connsiteY12" fmla="*/ 918755 h 3349814"/>
                <a:gd name="connsiteX13" fmla="*/ 2687341 w 3349750"/>
                <a:gd name="connsiteY13" fmla="*/ 1085167 h 3349814"/>
                <a:gd name="connsiteX14" fmla="*/ 2687341 w 3349750"/>
                <a:gd name="connsiteY14" fmla="*/ 1085612 h 3349814"/>
                <a:gd name="connsiteX15" fmla="*/ 2594107 w 3349750"/>
                <a:gd name="connsiteY15" fmla="*/ 1252023 h 3349814"/>
                <a:gd name="connsiteX16" fmla="*/ 2357246 w 3349750"/>
                <a:gd name="connsiteY16" fmla="*/ 1674907 h 3349814"/>
                <a:gd name="connsiteX17" fmla="*/ 2594107 w 3349750"/>
                <a:gd name="connsiteY17" fmla="*/ 2097791 h 3349814"/>
                <a:gd name="connsiteX18" fmla="*/ 2687341 w 3349750"/>
                <a:gd name="connsiteY18" fmla="*/ 2264203 h 3349814"/>
                <a:gd name="connsiteX19" fmla="*/ 2687341 w 3349750"/>
                <a:gd name="connsiteY19" fmla="*/ 2264647 h 3349814"/>
                <a:gd name="connsiteX20" fmla="*/ 2594107 w 3349750"/>
                <a:gd name="connsiteY20" fmla="*/ 2431059 h 3349814"/>
                <a:gd name="connsiteX21" fmla="*/ 2424014 w 3349750"/>
                <a:gd name="connsiteY21" fmla="*/ 2605341 h 3349814"/>
                <a:gd name="connsiteX22" fmla="*/ 2264647 w 3349750"/>
                <a:gd name="connsiteY22" fmla="*/ 2688166 h 3349814"/>
                <a:gd name="connsiteX23" fmla="*/ 2264203 w 3349750"/>
                <a:gd name="connsiteY23" fmla="*/ 2688166 h 3349814"/>
                <a:gd name="connsiteX24" fmla="*/ 2097791 w 3349750"/>
                <a:gd name="connsiteY24" fmla="*/ 2594932 h 3349814"/>
                <a:gd name="connsiteX25" fmla="*/ 1674907 w 3349750"/>
                <a:gd name="connsiteY25" fmla="*/ 2358071 h 3349814"/>
                <a:gd name="connsiteX26" fmla="*/ 1252023 w 3349750"/>
                <a:gd name="connsiteY26" fmla="*/ 2594932 h 3349814"/>
                <a:gd name="connsiteX27" fmla="*/ 1085611 w 3349750"/>
                <a:gd name="connsiteY27" fmla="*/ 2688166 h 3349814"/>
                <a:gd name="connsiteX28" fmla="*/ 1085167 w 3349750"/>
                <a:gd name="connsiteY28" fmla="*/ 2688166 h 3349814"/>
                <a:gd name="connsiteX29" fmla="*/ 917994 w 3349750"/>
                <a:gd name="connsiteY29" fmla="*/ 2593663 h 3349814"/>
                <a:gd name="connsiteX30" fmla="*/ 493460 w 3349750"/>
                <a:gd name="connsiteY30" fmla="*/ 2358071 h 3349814"/>
                <a:gd name="connsiteX31" fmla="*/ 0 w 3349750"/>
                <a:gd name="connsiteY31" fmla="*/ 2853943 h 3349814"/>
                <a:gd name="connsiteX32" fmla="*/ 495872 w 3349750"/>
                <a:gd name="connsiteY32" fmla="*/ 3349814 h 3349814"/>
                <a:gd name="connsiteX33" fmla="*/ 918755 w 3349750"/>
                <a:gd name="connsiteY33" fmla="*/ 3112954 h 3349814"/>
                <a:gd name="connsiteX34" fmla="*/ 1085167 w 3349750"/>
                <a:gd name="connsiteY34" fmla="*/ 3019720 h 3349814"/>
                <a:gd name="connsiteX35" fmla="*/ 1085611 w 3349750"/>
                <a:gd name="connsiteY35" fmla="*/ 3019720 h 3349814"/>
                <a:gd name="connsiteX36" fmla="*/ 1252023 w 3349750"/>
                <a:gd name="connsiteY36" fmla="*/ 3112954 h 3349814"/>
                <a:gd name="connsiteX37" fmla="*/ 1674907 w 3349750"/>
                <a:gd name="connsiteY37" fmla="*/ 3349814 h 3349814"/>
                <a:gd name="connsiteX38" fmla="*/ 2097791 w 3349750"/>
                <a:gd name="connsiteY38" fmla="*/ 3112954 h 3349814"/>
                <a:gd name="connsiteX39" fmla="*/ 2264203 w 3349750"/>
                <a:gd name="connsiteY39" fmla="*/ 3019720 h 3349814"/>
                <a:gd name="connsiteX40" fmla="*/ 2264647 w 3349750"/>
                <a:gd name="connsiteY40" fmla="*/ 3019720 h 3349814"/>
                <a:gd name="connsiteX41" fmla="*/ 2423062 w 3349750"/>
                <a:gd name="connsiteY41" fmla="*/ 3101149 h 3349814"/>
                <a:gd name="connsiteX42" fmla="*/ 2836997 w 3349750"/>
                <a:gd name="connsiteY42" fmla="*/ 3349561 h 3349814"/>
                <a:gd name="connsiteX43" fmla="*/ 2837251 w 3349750"/>
                <a:gd name="connsiteY43" fmla="*/ 3349561 h 3349814"/>
                <a:gd name="connsiteX44" fmla="*/ 2852991 w 3349750"/>
                <a:gd name="connsiteY44" fmla="*/ 3349814 h 3349814"/>
                <a:gd name="connsiteX45" fmla="*/ 2853498 w 3349750"/>
                <a:gd name="connsiteY45" fmla="*/ 3349814 h 3349814"/>
                <a:gd name="connsiteX46" fmla="*/ 2853879 w 3349750"/>
                <a:gd name="connsiteY46" fmla="*/ 3349814 h 3349814"/>
                <a:gd name="connsiteX47" fmla="*/ 3349751 w 3349750"/>
                <a:gd name="connsiteY47" fmla="*/ 2853943 h 3349814"/>
                <a:gd name="connsiteX48" fmla="*/ 3102291 w 3349750"/>
                <a:gd name="connsiteY48" fmla="*/ 2424522 h 3349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349750" h="3349814">
                  <a:moveTo>
                    <a:pt x="3102418" y="2424395"/>
                  </a:moveTo>
                  <a:cubicBezTo>
                    <a:pt x="3050629" y="2387584"/>
                    <a:pt x="3018895" y="2328559"/>
                    <a:pt x="3018895" y="2264520"/>
                  </a:cubicBezTo>
                  <a:lnTo>
                    <a:pt x="3018895" y="2264076"/>
                  </a:lnTo>
                  <a:cubicBezTo>
                    <a:pt x="3018895" y="2196166"/>
                    <a:pt x="3054246" y="2133206"/>
                    <a:pt x="3112129" y="2097664"/>
                  </a:cubicBezTo>
                  <a:cubicBezTo>
                    <a:pt x="3254232" y="2010460"/>
                    <a:pt x="3348989" y="1853695"/>
                    <a:pt x="3348989" y="1674780"/>
                  </a:cubicBezTo>
                  <a:cubicBezTo>
                    <a:pt x="3348989" y="1495865"/>
                    <a:pt x="3254232" y="1339101"/>
                    <a:pt x="3112129" y="1251896"/>
                  </a:cubicBezTo>
                  <a:cubicBezTo>
                    <a:pt x="3054246" y="1216355"/>
                    <a:pt x="3018895" y="1153458"/>
                    <a:pt x="3018895" y="1085485"/>
                  </a:cubicBezTo>
                  <a:lnTo>
                    <a:pt x="3018895" y="1085040"/>
                  </a:lnTo>
                  <a:cubicBezTo>
                    <a:pt x="3018895" y="1016622"/>
                    <a:pt x="3055198" y="953853"/>
                    <a:pt x="3113398" y="917867"/>
                  </a:cubicBezTo>
                  <a:cubicBezTo>
                    <a:pt x="3255438" y="830091"/>
                    <a:pt x="3349878" y="672755"/>
                    <a:pt x="3348989" y="493333"/>
                  </a:cubicBezTo>
                  <a:cubicBezTo>
                    <a:pt x="3347656" y="220169"/>
                    <a:pt x="3126409" y="0"/>
                    <a:pt x="2853118" y="0"/>
                  </a:cubicBezTo>
                  <a:cubicBezTo>
                    <a:pt x="2579256" y="0"/>
                    <a:pt x="2357246" y="222009"/>
                    <a:pt x="2357246" y="495872"/>
                  </a:cubicBezTo>
                  <a:cubicBezTo>
                    <a:pt x="2357246" y="674786"/>
                    <a:pt x="2452003" y="831551"/>
                    <a:pt x="2594107" y="918755"/>
                  </a:cubicBezTo>
                  <a:cubicBezTo>
                    <a:pt x="2651989" y="954297"/>
                    <a:pt x="2687341" y="1017194"/>
                    <a:pt x="2687341" y="1085167"/>
                  </a:cubicBezTo>
                  <a:lnTo>
                    <a:pt x="2687341" y="1085612"/>
                  </a:lnTo>
                  <a:cubicBezTo>
                    <a:pt x="2687341" y="1153522"/>
                    <a:pt x="2651989" y="1216482"/>
                    <a:pt x="2594107" y="1252023"/>
                  </a:cubicBezTo>
                  <a:cubicBezTo>
                    <a:pt x="2452003" y="1339228"/>
                    <a:pt x="2357246" y="1495992"/>
                    <a:pt x="2357246" y="1674907"/>
                  </a:cubicBezTo>
                  <a:cubicBezTo>
                    <a:pt x="2357246" y="1853822"/>
                    <a:pt x="2452003" y="2010587"/>
                    <a:pt x="2594107" y="2097791"/>
                  </a:cubicBezTo>
                  <a:cubicBezTo>
                    <a:pt x="2651989" y="2133333"/>
                    <a:pt x="2687341" y="2196229"/>
                    <a:pt x="2687341" y="2264203"/>
                  </a:cubicBezTo>
                  <a:lnTo>
                    <a:pt x="2687341" y="2264647"/>
                  </a:lnTo>
                  <a:cubicBezTo>
                    <a:pt x="2687341" y="2332557"/>
                    <a:pt x="2651989" y="2395517"/>
                    <a:pt x="2594107" y="2431059"/>
                  </a:cubicBezTo>
                  <a:cubicBezTo>
                    <a:pt x="2523975" y="2474090"/>
                    <a:pt x="2465395" y="2534130"/>
                    <a:pt x="2424014" y="2605341"/>
                  </a:cubicBezTo>
                  <a:cubicBezTo>
                    <a:pt x="2387203" y="2656686"/>
                    <a:pt x="2328432" y="2688166"/>
                    <a:pt x="2264647" y="2688166"/>
                  </a:cubicBezTo>
                  <a:lnTo>
                    <a:pt x="2264203" y="2688166"/>
                  </a:lnTo>
                  <a:cubicBezTo>
                    <a:pt x="2196293" y="2688166"/>
                    <a:pt x="2133333" y="2652815"/>
                    <a:pt x="2097791" y="2594932"/>
                  </a:cubicBezTo>
                  <a:cubicBezTo>
                    <a:pt x="2010587" y="2452828"/>
                    <a:pt x="1853822" y="2358071"/>
                    <a:pt x="1674907" y="2358071"/>
                  </a:cubicBezTo>
                  <a:cubicBezTo>
                    <a:pt x="1495992" y="2358071"/>
                    <a:pt x="1339228" y="2452828"/>
                    <a:pt x="1252023" y="2594932"/>
                  </a:cubicBezTo>
                  <a:cubicBezTo>
                    <a:pt x="1216481" y="2652815"/>
                    <a:pt x="1153585" y="2688166"/>
                    <a:pt x="1085611" y="2688166"/>
                  </a:cubicBezTo>
                  <a:lnTo>
                    <a:pt x="1085167" y="2688166"/>
                  </a:lnTo>
                  <a:cubicBezTo>
                    <a:pt x="1016749" y="2688166"/>
                    <a:pt x="953980" y="2651862"/>
                    <a:pt x="917994" y="2593663"/>
                  </a:cubicBezTo>
                  <a:cubicBezTo>
                    <a:pt x="830218" y="2451622"/>
                    <a:pt x="672882" y="2357183"/>
                    <a:pt x="493460" y="2358071"/>
                  </a:cubicBezTo>
                  <a:cubicBezTo>
                    <a:pt x="220232" y="2359404"/>
                    <a:pt x="0" y="2580652"/>
                    <a:pt x="0" y="2853943"/>
                  </a:cubicBezTo>
                  <a:cubicBezTo>
                    <a:pt x="0" y="3127805"/>
                    <a:pt x="222009" y="3349814"/>
                    <a:pt x="495872" y="3349814"/>
                  </a:cubicBezTo>
                  <a:cubicBezTo>
                    <a:pt x="674786" y="3349814"/>
                    <a:pt x="831551" y="3255057"/>
                    <a:pt x="918755" y="3112954"/>
                  </a:cubicBezTo>
                  <a:cubicBezTo>
                    <a:pt x="954297" y="3055071"/>
                    <a:pt x="1017194" y="3019720"/>
                    <a:pt x="1085167" y="3019720"/>
                  </a:cubicBezTo>
                  <a:lnTo>
                    <a:pt x="1085611" y="3019720"/>
                  </a:lnTo>
                  <a:cubicBezTo>
                    <a:pt x="1153522" y="3019720"/>
                    <a:pt x="1216481" y="3055071"/>
                    <a:pt x="1252023" y="3112954"/>
                  </a:cubicBezTo>
                  <a:cubicBezTo>
                    <a:pt x="1339228" y="3255057"/>
                    <a:pt x="1495992" y="3349814"/>
                    <a:pt x="1674907" y="3349814"/>
                  </a:cubicBezTo>
                  <a:cubicBezTo>
                    <a:pt x="1853822" y="3349814"/>
                    <a:pt x="2010587" y="3255057"/>
                    <a:pt x="2097791" y="3112954"/>
                  </a:cubicBezTo>
                  <a:cubicBezTo>
                    <a:pt x="2133333" y="3055071"/>
                    <a:pt x="2196229" y="3019720"/>
                    <a:pt x="2264203" y="3019720"/>
                  </a:cubicBezTo>
                  <a:lnTo>
                    <a:pt x="2264647" y="3019720"/>
                  </a:lnTo>
                  <a:cubicBezTo>
                    <a:pt x="2327797" y="3019720"/>
                    <a:pt x="2386568" y="3050311"/>
                    <a:pt x="2423062" y="3101149"/>
                  </a:cubicBezTo>
                  <a:cubicBezTo>
                    <a:pt x="2506205" y="3245474"/>
                    <a:pt x="2659859" y="3343975"/>
                    <a:pt x="2836997" y="3349561"/>
                  </a:cubicBezTo>
                  <a:cubicBezTo>
                    <a:pt x="2837061" y="3349561"/>
                    <a:pt x="2837187" y="3349561"/>
                    <a:pt x="2837251" y="3349561"/>
                  </a:cubicBezTo>
                  <a:cubicBezTo>
                    <a:pt x="2842519" y="3349751"/>
                    <a:pt x="2847723" y="3349814"/>
                    <a:pt x="2852991" y="3349814"/>
                  </a:cubicBezTo>
                  <a:cubicBezTo>
                    <a:pt x="2853181" y="3349814"/>
                    <a:pt x="2853308" y="3349814"/>
                    <a:pt x="2853498" y="3349814"/>
                  </a:cubicBezTo>
                  <a:cubicBezTo>
                    <a:pt x="2853626" y="3349814"/>
                    <a:pt x="2853753" y="3349814"/>
                    <a:pt x="2853879" y="3349814"/>
                  </a:cubicBezTo>
                  <a:cubicBezTo>
                    <a:pt x="3127742" y="3349814"/>
                    <a:pt x="3349751" y="3127805"/>
                    <a:pt x="3349751" y="2853943"/>
                  </a:cubicBezTo>
                  <a:cubicBezTo>
                    <a:pt x="3349751" y="2670395"/>
                    <a:pt x="3250361" y="2510266"/>
                    <a:pt x="3102291" y="2424522"/>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539F5A47-524E-5131-3118-3E6F0616C17C}"/>
                </a:ext>
              </a:extLst>
            </p:cNvPr>
            <p:cNvSpPr/>
            <p:nvPr/>
          </p:nvSpPr>
          <p:spPr>
            <a:xfrm>
              <a:off x="0" y="2694278"/>
              <a:ext cx="546010" cy="991743"/>
            </a:xfrm>
            <a:custGeom>
              <a:avLst/>
              <a:gdLst>
                <a:gd name="connsiteX0" fmla="*/ 52615 w 546010"/>
                <a:gd name="connsiteY0" fmla="*/ 63 h 991743"/>
                <a:gd name="connsiteX1" fmla="*/ 0 w 546010"/>
                <a:gd name="connsiteY1" fmla="*/ 2602 h 991743"/>
                <a:gd name="connsiteX2" fmla="*/ 0 w 546010"/>
                <a:gd name="connsiteY2" fmla="*/ 989268 h 991743"/>
                <a:gd name="connsiteX3" fmla="*/ 50139 w 546010"/>
                <a:gd name="connsiteY3" fmla="*/ 991743 h 991743"/>
                <a:gd name="connsiteX4" fmla="*/ 546011 w 546010"/>
                <a:gd name="connsiteY4" fmla="*/ 495871 h 991743"/>
                <a:gd name="connsiteX5" fmla="*/ 52551 w 546010"/>
                <a:gd name="connsiteY5" fmla="*/ 0 h 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010" h="991743">
                  <a:moveTo>
                    <a:pt x="52615" y="63"/>
                  </a:moveTo>
                  <a:cubicBezTo>
                    <a:pt x="34844" y="0"/>
                    <a:pt x="17327" y="889"/>
                    <a:pt x="0" y="2602"/>
                  </a:cubicBezTo>
                  <a:lnTo>
                    <a:pt x="0" y="989268"/>
                  </a:lnTo>
                  <a:cubicBezTo>
                    <a:pt x="16502" y="990918"/>
                    <a:pt x="33194" y="991743"/>
                    <a:pt x="50139" y="991743"/>
                  </a:cubicBezTo>
                  <a:cubicBezTo>
                    <a:pt x="324002" y="991743"/>
                    <a:pt x="546011" y="769734"/>
                    <a:pt x="546011" y="495871"/>
                  </a:cubicBezTo>
                  <a:cubicBezTo>
                    <a:pt x="546011" y="222644"/>
                    <a:pt x="325842" y="1333"/>
                    <a:pt x="52551" y="0"/>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38AC078F-186E-3363-ADCB-373793A21708}"/>
                </a:ext>
              </a:extLst>
            </p:cNvPr>
            <p:cNvSpPr/>
            <p:nvPr/>
          </p:nvSpPr>
          <p:spPr>
            <a:xfrm>
              <a:off x="0" y="3871981"/>
              <a:ext cx="546010" cy="991743"/>
            </a:xfrm>
            <a:custGeom>
              <a:avLst/>
              <a:gdLst>
                <a:gd name="connsiteX0" fmla="*/ 50139 w 546010"/>
                <a:gd name="connsiteY0" fmla="*/ 0 h 991743"/>
                <a:gd name="connsiteX1" fmla="*/ 0 w 546010"/>
                <a:gd name="connsiteY1" fmla="*/ 2539 h 991743"/>
                <a:gd name="connsiteX2" fmla="*/ 0 w 546010"/>
                <a:gd name="connsiteY2" fmla="*/ 989204 h 991743"/>
                <a:gd name="connsiteX3" fmla="*/ 50139 w 546010"/>
                <a:gd name="connsiteY3" fmla="*/ 991743 h 991743"/>
                <a:gd name="connsiteX4" fmla="*/ 546011 w 546010"/>
                <a:gd name="connsiteY4" fmla="*/ 495872 h 991743"/>
                <a:gd name="connsiteX5" fmla="*/ 50139 w 546010"/>
                <a:gd name="connsiteY5" fmla="*/ 0 h 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010" h="991743">
                  <a:moveTo>
                    <a:pt x="50139" y="0"/>
                  </a:moveTo>
                  <a:cubicBezTo>
                    <a:pt x="33194" y="0"/>
                    <a:pt x="16502" y="889"/>
                    <a:pt x="0" y="2539"/>
                  </a:cubicBezTo>
                  <a:lnTo>
                    <a:pt x="0" y="989204"/>
                  </a:lnTo>
                  <a:cubicBezTo>
                    <a:pt x="16502" y="990855"/>
                    <a:pt x="33194" y="991743"/>
                    <a:pt x="50139" y="991743"/>
                  </a:cubicBezTo>
                  <a:cubicBezTo>
                    <a:pt x="324002" y="991743"/>
                    <a:pt x="546011" y="769734"/>
                    <a:pt x="546011" y="495872"/>
                  </a:cubicBezTo>
                  <a:cubicBezTo>
                    <a:pt x="546011" y="222009"/>
                    <a:pt x="324002" y="0"/>
                    <a:pt x="50139" y="0"/>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E812996E-AC86-8E17-8909-ACCA212E9E01}"/>
                </a:ext>
              </a:extLst>
            </p:cNvPr>
            <p:cNvSpPr/>
            <p:nvPr/>
          </p:nvSpPr>
          <p:spPr>
            <a:xfrm>
              <a:off x="0" y="5049620"/>
              <a:ext cx="546017" cy="1807363"/>
            </a:xfrm>
            <a:custGeom>
              <a:avLst/>
              <a:gdLst>
                <a:gd name="connsiteX0" fmla="*/ 528050 w 546017"/>
                <a:gd name="connsiteY0" fmla="*/ 1807364 h 1807363"/>
                <a:gd name="connsiteX1" fmla="*/ 546011 w 546017"/>
                <a:gd name="connsiteY1" fmla="*/ 1674907 h 1807363"/>
                <a:gd name="connsiteX2" fmla="*/ 309150 w 546017"/>
                <a:gd name="connsiteY2" fmla="*/ 1252023 h 1807363"/>
                <a:gd name="connsiteX3" fmla="*/ 215916 w 546017"/>
                <a:gd name="connsiteY3" fmla="*/ 1085611 h 1807363"/>
                <a:gd name="connsiteX4" fmla="*/ 215916 w 546017"/>
                <a:gd name="connsiteY4" fmla="*/ 1085167 h 1807363"/>
                <a:gd name="connsiteX5" fmla="*/ 310420 w 546017"/>
                <a:gd name="connsiteY5" fmla="*/ 917994 h 1807363"/>
                <a:gd name="connsiteX6" fmla="*/ 546011 w 546017"/>
                <a:gd name="connsiteY6" fmla="*/ 493460 h 1807363"/>
                <a:gd name="connsiteX7" fmla="*/ 50139 w 546017"/>
                <a:gd name="connsiteY7" fmla="*/ 0 h 1807363"/>
                <a:gd name="connsiteX8" fmla="*/ 0 w 546017"/>
                <a:gd name="connsiteY8" fmla="*/ 2538 h 1807363"/>
                <a:gd name="connsiteX9" fmla="*/ 0 w 546017"/>
                <a:gd name="connsiteY9" fmla="*/ 1807300 h 1807363"/>
                <a:gd name="connsiteX10" fmla="*/ 528050 w 546017"/>
                <a:gd name="connsiteY10" fmla="*/ 1807300 h 180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6017" h="1807363">
                  <a:moveTo>
                    <a:pt x="528050" y="1807364"/>
                  </a:moveTo>
                  <a:cubicBezTo>
                    <a:pt x="539728" y="1765222"/>
                    <a:pt x="546011" y="1720794"/>
                    <a:pt x="546011" y="1674907"/>
                  </a:cubicBezTo>
                  <a:cubicBezTo>
                    <a:pt x="546011" y="1495993"/>
                    <a:pt x="451254" y="1339228"/>
                    <a:pt x="309150" y="1252023"/>
                  </a:cubicBezTo>
                  <a:cubicBezTo>
                    <a:pt x="251268" y="1216481"/>
                    <a:pt x="215916" y="1153585"/>
                    <a:pt x="215916" y="1085611"/>
                  </a:cubicBezTo>
                  <a:lnTo>
                    <a:pt x="215916" y="1085167"/>
                  </a:lnTo>
                  <a:cubicBezTo>
                    <a:pt x="215916" y="1016749"/>
                    <a:pt x="252220" y="953980"/>
                    <a:pt x="310420" y="917994"/>
                  </a:cubicBezTo>
                  <a:cubicBezTo>
                    <a:pt x="452460" y="830218"/>
                    <a:pt x="546899" y="672883"/>
                    <a:pt x="546011" y="493460"/>
                  </a:cubicBezTo>
                  <a:cubicBezTo>
                    <a:pt x="544678" y="220232"/>
                    <a:pt x="323430" y="0"/>
                    <a:pt x="50139" y="0"/>
                  </a:cubicBezTo>
                  <a:cubicBezTo>
                    <a:pt x="33194" y="0"/>
                    <a:pt x="16502" y="889"/>
                    <a:pt x="0" y="2538"/>
                  </a:cubicBezTo>
                  <a:lnTo>
                    <a:pt x="0" y="1807300"/>
                  </a:lnTo>
                  <a:lnTo>
                    <a:pt x="528050" y="1807300"/>
                  </a:ln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AA2C289E-FEB4-E990-E029-E13F3BDBC626}"/>
                </a:ext>
              </a:extLst>
            </p:cNvPr>
            <p:cNvSpPr/>
            <p:nvPr/>
          </p:nvSpPr>
          <p:spPr>
            <a:xfrm>
              <a:off x="723719" y="6227323"/>
              <a:ext cx="991743" cy="629661"/>
            </a:xfrm>
            <a:custGeom>
              <a:avLst/>
              <a:gdLst>
                <a:gd name="connsiteX0" fmla="*/ 973338 w 991743"/>
                <a:gd name="connsiteY0" fmla="*/ 629661 h 629661"/>
                <a:gd name="connsiteX1" fmla="*/ 991743 w 991743"/>
                <a:gd name="connsiteY1" fmla="*/ 495872 h 629661"/>
                <a:gd name="connsiteX2" fmla="*/ 495872 w 991743"/>
                <a:gd name="connsiteY2" fmla="*/ 0 h 629661"/>
                <a:gd name="connsiteX3" fmla="*/ 0 w 991743"/>
                <a:gd name="connsiteY3" fmla="*/ 495872 h 629661"/>
                <a:gd name="connsiteX4" fmla="*/ 18406 w 991743"/>
                <a:gd name="connsiteY4" fmla="*/ 629661 h 629661"/>
                <a:gd name="connsiteX5" fmla="*/ 973338 w 991743"/>
                <a:gd name="connsiteY5" fmla="*/ 629661 h 62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743" h="629661">
                  <a:moveTo>
                    <a:pt x="973338" y="629661"/>
                  </a:moveTo>
                  <a:cubicBezTo>
                    <a:pt x="985269" y="587074"/>
                    <a:pt x="991743" y="542266"/>
                    <a:pt x="991743" y="495872"/>
                  </a:cubicBezTo>
                  <a:cubicBezTo>
                    <a:pt x="991743" y="222009"/>
                    <a:pt x="769734" y="0"/>
                    <a:pt x="495872" y="0"/>
                  </a:cubicBezTo>
                  <a:cubicBezTo>
                    <a:pt x="222009" y="0"/>
                    <a:pt x="0" y="222009"/>
                    <a:pt x="0" y="495872"/>
                  </a:cubicBezTo>
                  <a:cubicBezTo>
                    <a:pt x="0" y="542266"/>
                    <a:pt x="6474" y="587074"/>
                    <a:pt x="18406" y="629661"/>
                  </a:cubicBezTo>
                  <a:lnTo>
                    <a:pt x="973338" y="629661"/>
                  </a:ln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37D62C6F-70D3-1CBF-E796-C3D405704E87}"/>
                </a:ext>
              </a:extLst>
            </p:cNvPr>
            <p:cNvSpPr/>
            <p:nvPr/>
          </p:nvSpPr>
          <p:spPr>
            <a:xfrm>
              <a:off x="1902692" y="6228656"/>
              <a:ext cx="991742" cy="628328"/>
            </a:xfrm>
            <a:custGeom>
              <a:avLst/>
              <a:gdLst>
                <a:gd name="connsiteX0" fmla="*/ 973718 w 991742"/>
                <a:gd name="connsiteY0" fmla="*/ 628328 h 628328"/>
                <a:gd name="connsiteX1" fmla="*/ 991743 w 991742"/>
                <a:gd name="connsiteY1" fmla="*/ 495871 h 628328"/>
                <a:gd name="connsiteX2" fmla="*/ 495872 w 991742"/>
                <a:gd name="connsiteY2" fmla="*/ 0 h 628328"/>
                <a:gd name="connsiteX3" fmla="*/ 0 w 991742"/>
                <a:gd name="connsiteY3" fmla="*/ 495871 h 628328"/>
                <a:gd name="connsiteX4" fmla="*/ 18025 w 991742"/>
                <a:gd name="connsiteY4" fmla="*/ 628328 h 628328"/>
                <a:gd name="connsiteX5" fmla="*/ 973718 w 991742"/>
                <a:gd name="connsiteY5" fmla="*/ 628328 h 62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742" h="628328">
                  <a:moveTo>
                    <a:pt x="973718" y="628328"/>
                  </a:moveTo>
                  <a:cubicBezTo>
                    <a:pt x="985396" y="586122"/>
                    <a:pt x="991743" y="541758"/>
                    <a:pt x="991743" y="495871"/>
                  </a:cubicBezTo>
                  <a:cubicBezTo>
                    <a:pt x="991743" y="222009"/>
                    <a:pt x="769734" y="0"/>
                    <a:pt x="495872" y="0"/>
                  </a:cubicBezTo>
                  <a:cubicBezTo>
                    <a:pt x="222009" y="0"/>
                    <a:pt x="0" y="222009"/>
                    <a:pt x="0" y="495871"/>
                  </a:cubicBezTo>
                  <a:cubicBezTo>
                    <a:pt x="0" y="541758"/>
                    <a:pt x="6347" y="586122"/>
                    <a:pt x="18025" y="628328"/>
                  </a:cubicBezTo>
                  <a:lnTo>
                    <a:pt x="973718" y="628328"/>
                  </a:ln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51D02A23-4B31-A59C-69BB-7DDFCF3E7BF2}"/>
                </a:ext>
              </a:extLst>
            </p:cNvPr>
            <p:cNvSpPr/>
            <p:nvPr/>
          </p:nvSpPr>
          <p:spPr>
            <a:xfrm>
              <a:off x="3081537" y="6227317"/>
              <a:ext cx="3349814" cy="629667"/>
            </a:xfrm>
            <a:custGeom>
              <a:avLst/>
              <a:gdLst>
                <a:gd name="connsiteX0" fmla="*/ 3331409 w 3349814"/>
                <a:gd name="connsiteY0" fmla="*/ 629667 h 629667"/>
                <a:gd name="connsiteX1" fmla="*/ 3349815 w 3349814"/>
                <a:gd name="connsiteY1" fmla="*/ 495878 h 629667"/>
                <a:gd name="connsiteX2" fmla="*/ 2856355 w 3349814"/>
                <a:gd name="connsiteY2" fmla="*/ 6 h 629667"/>
                <a:gd name="connsiteX3" fmla="*/ 2431821 w 3349814"/>
                <a:gd name="connsiteY3" fmla="*/ 235598 h 629667"/>
                <a:gd name="connsiteX4" fmla="*/ 2264647 w 3349814"/>
                <a:gd name="connsiteY4" fmla="*/ 330101 h 629667"/>
                <a:gd name="connsiteX5" fmla="*/ 2264203 w 3349814"/>
                <a:gd name="connsiteY5" fmla="*/ 330101 h 629667"/>
                <a:gd name="connsiteX6" fmla="*/ 2097791 w 3349814"/>
                <a:gd name="connsiteY6" fmla="*/ 236867 h 629667"/>
                <a:gd name="connsiteX7" fmla="*/ 1674907 w 3349814"/>
                <a:gd name="connsiteY7" fmla="*/ 6 h 629667"/>
                <a:gd name="connsiteX8" fmla="*/ 1252023 w 3349814"/>
                <a:gd name="connsiteY8" fmla="*/ 236867 h 629667"/>
                <a:gd name="connsiteX9" fmla="*/ 1085612 w 3349814"/>
                <a:gd name="connsiteY9" fmla="*/ 330101 h 629667"/>
                <a:gd name="connsiteX10" fmla="*/ 1085167 w 3349814"/>
                <a:gd name="connsiteY10" fmla="*/ 330101 h 629667"/>
                <a:gd name="connsiteX11" fmla="*/ 917994 w 3349814"/>
                <a:gd name="connsiteY11" fmla="*/ 235598 h 629667"/>
                <a:gd name="connsiteX12" fmla="*/ 493460 w 3349814"/>
                <a:gd name="connsiteY12" fmla="*/ 6 h 629667"/>
                <a:gd name="connsiteX13" fmla="*/ 0 w 3349814"/>
                <a:gd name="connsiteY13" fmla="*/ 495878 h 629667"/>
                <a:gd name="connsiteX14" fmla="*/ 18406 w 3349814"/>
                <a:gd name="connsiteY14" fmla="*/ 629667 h 629667"/>
                <a:gd name="connsiteX15" fmla="*/ 3331282 w 3349814"/>
                <a:gd name="connsiteY15" fmla="*/ 629667 h 62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49814" h="629667">
                  <a:moveTo>
                    <a:pt x="3331409" y="629667"/>
                  </a:moveTo>
                  <a:cubicBezTo>
                    <a:pt x="3343341" y="587081"/>
                    <a:pt x="3349815" y="542273"/>
                    <a:pt x="3349815" y="495878"/>
                  </a:cubicBezTo>
                  <a:cubicBezTo>
                    <a:pt x="3349815" y="222587"/>
                    <a:pt x="3129646" y="1339"/>
                    <a:pt x="2856355" y="6"/>
                  </a:cubicBezTo>
                  <a:cubicBezTo>
                    <a:pt x="2676932" y="-882"/>
                    <a:pt x="2519533" y="93557"/>
                    <a:pt x="2431821" y="235598"/>
                  </a:cubicBezTo>
                  <a:cubicBezTo>
                    <a:pt x="2395835" y="293797"/>
                    <a:pt x="2333065" y="330101"/>
                    <a:pt x="2264647" y="330101"/>
                  </a:cubicBezTo>
                  <a:lnTo>
                    <a:pt x="2264203" y="330101"/>
                  </a:lnTo>
                  <a:cubicBezTo>
                    <a:pt x="2196293" y="330101"/>
                    <a:pt x="2133333" y="294749"/>
                    <a:pt x="2097791" y="236867"/>
                  </a:cubicBezTo>
                  <a:cubicBezTo>
                    <a:pt x="2010587" y="94763"/>
                    <a:pt x="1853822" y="6"/>
                    <a:pt x="1674907" y="6"/>
                  </a:cubicBezTo>
                  <a:cubicBezTo>
                    <a:pt x="1495992" y="6"/>
                    <a:pt x="1339227" y="94763"/>
                    <a:pt x="1252023" y="236867"/>
                  </a:cubicBezTo>
                  <a:cubicBezTo>
                    <a:pt x="1216482" y="294749"/>
                    <a:pt x="1153585" y="330101"/>
                    <a:pt x="1085612" y="330101"/>
                  </a:cubicBezTo>
                  <a:lnTo>
                    <a:pt x="1085167" y="330101"/>
                  </a:lnTo>
                  <a:cubicBezTo>
                    <a:pt x="1016749" y="330101"/>
                    <a:pt x="953980" y="293797"/>
                    <a:pt x="917994" y="235598"/>
                  </a:cubicBezTo>
                  <a:cubicBezTo>
                    <a:pt x="830282" y="93557"/>
                    <a:pt x="672882" y="-882"/>
                    <a:pt x="493460" y="6"/>
                  </a:cubicBezTo>
                  <a:cubicBezTo>
                    <a:pt x="220232" y="1339"/>
                    <a:pt x="0" y="222587"/>
                    <a:pt x="0" y="495878"/>
                  </a:cubicBezTo>
                  <a:cubicBezTo>
                    <a:pt x="0" y="542273"/>
                    <a:pt x="6474" y="587081"/>
                    <a:pt x="18406" y="629667"/>
                  </a:cubicBezTo>
                  <a:lnTo>
                    <a:pt x="3331282" y="629667"/>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29962164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Mönster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895799" y="1031048"/>
            <a:ext cx="5905595" cy="1232398"/>
          </a:xfrm>
        </p:spPr>
        <p:txBody>
          <a:bodyPr>
            <a:normAutofit/>
          </a:bodyPr>
          <a:lstStyle>
            <a:lvl1pPr>
              <a:defRPr sz="4000">
                <a:solidFill>
                  <a:schemeClr val="bg1"/>
                </a:solidFill>
              </a:defRPr>
            </a:lvl1pPr>
          </a:lstStyle>
          <a:p>
            <a:r>
              <a:rPr lang="sv-SE"/>
              <a:t>Rubrik</a:t>
            </a:r>
          </a:p>
        </p:txBody>
      </p:sp>
      <p:sp>
        <p:nvSpPr>
          <p:cNvPr id="4" name="Platshållare för bildnummer 3">
            <a:extLst>
              <a:ext uri="{FF2B5EF4-FFF2-40B4-BE49-F238E27FC236}">
                <a16:creationId xmlns:a16="http://schemas.microsoft.com/office/drawing/2014/main" id="{F1F5A5EA-BC04-1E7C-5686-018804102841}"/>
              </a:ext>
            </a:extLst>
          </p:cNvPr>
          <p:cNvSpPr>
            <a:spLocks noGrp="1"/>
          </p:cNvSpPr>
          <p:nvPr>
            <p:ph type="sldNum" sz="quarter" idx="10"/>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895799" y="2523796"/>
            <a:ext cx="5905595"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ruta 4">
            <a:extLst>
              <a:ext uri="{FF2B5EF4-FFF2-40B4-BE49-F238E27FC236}">
                <a16:creationId xmlns:a16="http://schemas.microsoft.com/office/drawing/2014/main" id="{E321CA30-00B9-E5D3-0D2B-A095164FAA6D}"/>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grpSp>
        <p:nvGrpSpPr>
          <p:cNvPr id="7" name="Grupp 6">
            <a:extLst>
              <a:ext uri="{FF2B5EF4-FFF2-40B4-BE49-F238E27FC236}">
                <a16:creationId xmlns:a16="http://schemas.microsoft.com/office/drawing/2014/main" id="{71CFB717-957C-5E43-BDB6-64B6C682EDC8}"/>
              </a:ext>
            </a:extLst>
          </p:cNvPr>
          <p:cNvGrpSpPr/>
          <p:nvPr userDrawn="1"/>
        </p:nvGrpSpPr>
        <p:grpSpPr>
          <a:xfrm>
            <a:off x="7844921" y="0"/>
            <a:ext cx="4344788" cy="6012312"/>
            <a:chOff x="7844921" y="0"/>
            <a:chExt cx="4344788" cy="6012312"/>
          </a:xfrm>
          <a:solidFill>
            <a:schemeClr val="bg2"/>
          </a:solidFill>
        </p:grpSpPr>
        <p:sp>
          <p:nvSpPr>
            <p:cNvPr id="8" name="Frihandsfigur: Form 7">
              <a:extLst>
                <a:ext uri="{FF2B5EF4-FFF2-40B4-BE49-F238E27FC236}">
                  <a16:creationId xmlns:a16="http://schemas.microsoft.com/office/drawing/2014/main" id="{69855B37-5F22-D535-3CAA-510BC0C6E9D3}"/>
                </a:ext>
              </a:extLst>
            </p:cNvPr>
            <p:cNvSpPr/>
            <p:nvPr/>
          </p:nvSpPr>
          <p:spPr>
            <a:xfrm>
              <a:off x="7859157" y="2780222"/>
              <a:ext cx="1475718" cy="1475718"/>
            </a:xfrm>
            <a:custGeom>
              <a:avLst/>
              <a:gdLst>
                <a:gd name="connsiteX0" fmla="*/ 1475718 w 1475718"/>
                <a:gd name="connsiteY0" fmla="*/ 737859 h 1475718"/>
                <a:gd name="connsiteX1" fmla="*/ 737859 w 1475718"/>
                <a:gd name="connsiteY1" fmla="*/ 1475718 h 1475718"/>
                <a:gd name="connsiteX2" fmla="*/ 0 w 1475718"/>
                <a:gd name="connsiteY2" fmla="*/ 737859 h 1475718"/>
                <a:gd name="connsiteX3" fmla="*/ 737859 w 1475718"/>
                <a:gd name="connsiteY3" fmla="*/ 0 h 1475718"/>
                <a:gd name="connsiteX4" fmla="*/ 1475718 w 1475718"/>
                <a:gd name="connsiteY4" fmla="*/ 737859 h 1475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718" h="1475718">
                  <a:moveTo>
                    <a:pt x="1475718" y="737859"/>
                  </a:moveTo>
                  <a:cubicBezTo>
                    <a:pt x="1475718" y="1145367"/>
                    <a:pt x="1145368" y="1475718"/>
                    <a:pt x="737859" y="1475718"/>
                  </a:cubicBezTo>
                  <a:cubicBezTo>
                    <a:pt x="330351" y="1475718"/>
                    <a:pt x="0" y="1145367"/>
                    <a:pt x="0" y="737859"/>
                  </a:cubicBezTo>
                  <a:cubicBezTo>
                    <a:pt x="0" y="330351"/>
                    <a:pt x="330351" y="0"/>
                    <a:pt x="737859" y="0"/>
                  </a:cubicBezTo>
                  <a:cubicBezTo>
                    <a:pt x="1145368" y="0"/>
                    <a:pt x="1475718" y="330351"/>
                    <a:pt x="1475718" y="737859"/>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434B1891-4789-4372-9B01-DA1C3B5284F2}"/>
                </a:ext>
              </a:extLst>
            </p:cNvPr>
            <p:cNvSpPr/>
            <p:nvPr/>
          </p:nvSpPr>
          <p:spPr>
            <a:xfrm>
              <a:off x="9599250" y="1027791"/>
              <a:ext cx="1475726" cy="4984521"/>
            </a:xfrm>
            <a:custGeom>
              <a:avLst/>
              <a:gdLst>
                <a:gd name="connsiteX0" fmla="*/ 9 w 1475726"/>
                <a:gd name="connsiteY0" fmla="*/ 4250158 h 4984521"/>
                <a:gd name="connsiteX1" fmla="*/ 350571 w 1475726"/>
                <a:gd name="connsiteY1" fmla="*/ 3618434 h 4984521"/>
                <a:gd name="connsiteX2" fmla="*/ 491215 w 1475726"/>
                <a:gd name="connsiteY2" fmla="*/ 3369684 h 4984521"/>
                <a:gd name="connsiteX3" fmla="*/ 491215 w 1475726"/>
                <a:gd name="connsiteY3" fmla="*/ 3369049 h 4984521"/>
                <a:gd name="connsiteX4" fmla="*/ 352414 w 1475726"/>
                <a:gd name="connsiteY4" fmla="*/ 3121443 h 4984521"/>
                <a:gd name="connsiteX5" fmla="*/ 9 w 1475726"/>
                <a:gd name="connsiteY5" fmla="*/ 2492197 h 4984521"/>
                <a:gd name="connsiteX6" fmla="*/ 352414 w 1475726"/>
                <a:gd name="connsiteY6" fmla="*/ 1862952 h 4984521"/>
                <a:gd name="connsiteX7" fmla="*/ 491215 w 1475726"/>
                <a:gd name="connsiteY7" fmla="*/ 1615346 h 4984521"/>
                <a:gd name="connsiteX8" fmla="*/ 491215 w 1475726"/>
                <a:gd name="connsiteY8" fmla="*/ 1614711 h 4984521"/>
                <a:gd name="connsiteX9" fmla="*/ 350571 w 1475726"/>
                <a:gd name="connsiteY9" fmla="*/ 1365961 h 4984521"/>
                <a:gd name="connsiteX10" fmla="*/ 9 w 1475726"/>
                <a:gd name="connsiteY10" fmla="*/ 734237 h 4984521"/>
                <a:gd name="connsiteX11" fmla="*/ 737868 w 1475726"/>
                <a:gd name="connsiteY11" fmla="*/ 0 h 4984521"/>
                <a:gd name="connsiteX12" fmla="*/ 1475727 w 1475726"/>
                <a:gd name="connsiteY12" fmla="*/ 737859 h 4984521"/>
                <a:gd name="connsiteX13" fmla="*/ 1123321 w 1475726"/>
                <a:gd name="connsiteY13" fmla="*/ 1367105 h 4984521"/>
                <a:gd name="connsiteX14" fmla="*/ 984520 w 1475726"/>
                <a:gd name="connsiteY14" fmla="*/ 1614711 h 4984521"/>
                <a:gd name="connsiteX15" fmla="*/ 984520 w 1475726"/>
                <a:gd name="connsiteY15" fmla="*/ 1615410 h 4984521"/>
                <a:gd name="connsiteX16" fmla="*/ 1123321 w 1475726"/>
                <a:gd name="connsiteY16" fmla="*/ 1863015 h 4984521"/>
                <a:gd name="connsiteX17" fmla="*/ 1475727 w 1475726"/>
                <a:gd name="connsiteY17" fmla="*/ 2492261 h 4984521"/>
                <a:gd name="connsiteX18" fmla="*/ 1123321 w 1475726"/>
                <a:gd name="connsiteY18" fmla="*/ 3121507 h 4984521"/>
                <a:gd name="connsiteX19" fmla="*/ 984520 w 1475726"/>
                <a:gd name="connsiteY19" fmla="*/ 3369112 h 4984521"/>
                <a:gd name="connsiteX20" fmla="*/ 984520 w 1475726"/>
                <a:gd name="connsiteY20" fmla="*/ 3369811 h 4984521"/>
                <a:gd name="connsiteX21" fmla="*/ 1123321 w 1475726"/>
                <a:gd name="connsiteY21" fmla="*/ 3617417 h 4984521"/>
                <a:gd name="connsiteX22" fmla="*/ 1475727 w 1475726"/>
                <a:gd name="connsiteY22" fmla="*/ 4246663 h 4984521"/>
                <a:gd name="connsiteX23" fmla="*/ 737868 w 1475726"/>
                <a:gd name="connsiteY23" fmla="*/ 4984522 h 4984521"/>
                <a:gd name="connsiteX24" fmla="*/ 9 w 1475726"/>
                <a:gd name="connsiteY24" fmla="*/ 4250285 h 498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75726" h="4984521">
                  <a:moveTo>
                    <a:pt x="9" y="4250158"/>
                  </a:moveTo>
                  <a:cubicBezTo>
                    <a:pt x="-1263" y="3983232"/>
                    <a:pt x="139255" y="3749037"/>
                    <a:pt x="350571" y="3618434"/>
                  </a:cubicBezTo>
                  <a:cubicBezTo>
                    <a:pt x="437195" y="3564922"/>
                    <a:pt x="491215" y="3471497"/>
                    <a:pt x="491215" y="3369684"/>
                  </a:cubicBezTo>
                  <a:lnTo>
                    <a:pt x="491215" y="3369049"/>
                  </a:lnTo>
                  <a:cubicBezTo>
                    <a:pt x="491215" y="3267998"/>
                    <a:pt x="438593" y="3174320"/>
                    <a:pt x="352414" y="3121443"/>
                  </a:cubicBezTo>
                  <a:cubicBezTo>
                    <a:pt x="141034" y="2991666"/>
                    <a:pt x="9" y="2758424"/>
                    <a:pt x="9" y="2492197"/>
                  </a:cubicBezTo>
                  <a:cubicBezTo>
                    <a:pt x="9" y="2225971"/>
                    <a:pt x="141034" y="1992728"/>
                    <a:pt x="352414" y="1862952"/>
                  </a:cubicBezTo>
                  <a:cubicBezTo>
                    <a:pt x="438529" y="1810075"/>
                    <a:pt x="491215" y="1716460"/>
                    <a:pt x="491215" y="1615346"/>
                  </a:cubicBezTo>
                  <a:lnTo>
                    <a:pt x="491215" y="1614711"/>
                  </a:lnTo>
                  <a:cubicBezTo>
                    <a:pt x="491215" y="1512897"/>
                    <a:pt x="437258" y="1419473"/>
                    <a:pt x="350571" y="1365961"/>
                  </a:cubicBezTo>
                  <a:cubicBezTo>
                    <a:pt x="139255" y="1235422"/>
                    <a:pt x="-1263" y="1001226"/>
                    <a:pt x="9" y="734237"/>
                  </a:cubicBezTo>
                  <a:cubicBezTo>
                    <a:pt x="1979" y="327620"/>
                    <a:pt x="331251" y="0"/>
                    <a:pt x="737868" y="0"/>
                  </a:cubicBezTo>
                  <a:cubicBezTo>
                    <a:pt x="1145374" y="0"/>
                    <a:pt x="1475727" y="330352"/>
                    <a:pt x="1475727" y="737859"/>
                  </a:cubicBezTo>
                  <a:cubicBezTo>
                    <a:pt x="1475727" y="1004086"/>
                    <a:pt x="1334701" y="1237328"/>
                    <a:pt x="1123321" y="1367105"/>
                  </a:cubicBezTo>
                  <a:cubicBezTo>
                    <a:pt x="1037206" y="1419982"/>
                    <a:pt x="984520" y="1513597"/>
                    <a:pt x="984520" y="1614711"/>
                  </a:cubicBezTo>
                  <a:lnTo>
                    <a:pt x="984520" y="1615410"/>
                  </a:lnTo>
                  <a:cubicBezTo>
                    <a:pt x="984520" y="1716460"/>
                    <a:pt x="1037142" y="1810138"/>
                    <a:pt x="1123321" y="1863015"/>
                  </a:cubicBezTo>
                  <a:cubicBezTo>
                    <a:pt x="1334701" y="1992792"/>
                    <a:pt x="1475727" y="2226034"/>
                    <a:pt x="1475727" y="2492261"/>
                  </a:cubicBezTo>
                  <a:cubicBezTo>
                    <a:pt x="1475727" y="2758488"/>
                    <a:pt x="1334701" y="2991730"/>
                    <a:pt x="1123321" y="3121507"/>
                  </a:cubicBezTo>
                  <a:cubicBezTo>
                    <a:pt x="1037206" y="3174384"/>
                    <a:pt x="984520" y="3267998"/>
                    <a:pt x="984520" y="3369112"/>
                  </a:cubicBezTo>
                  <a:lnTo>
                    <a:pt x="984520" y="3369811"/>
                  </a:lnTo>
                  <a:cubicBezTo>
                    <a:pt x="984520" y="3470862"/>
                    <a:pt x="1037142" y="3564540"/>
                    <a:pt x="1123321" y="3617417"/>
                  </a:cubicBezTo>
                  <a:cubicBezTo>
                    <a:pt x="1334701" y="3747194"/>
                    <a:pt x="1475727" y="3980436"/>
                    <a:pt x="1475727" y="4246663"/>
                  </a:cubicBezTo>
                  <a:cubicBezTo>
                    <a:pt x="1475727" y="4654169"/>
                    <a:pt x="1145374" y="4984522"/>
                    <a:pt x="737868" y="4984522"/>
                  </a:cubicBezTo>
                  <a:cubicBezTo>
                    <a:pt x="331251" y="4984522"/>
                    <a:pt x="1979" y="4656902"/>
                    <a:pt x="9" y="4250285"/>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4A442D97-AA9A-C1D8-B037-2471036C9A2E}"/>
                </a:ext>
              </a:extLst>
            </p:cNvPr>
            <p:cNvSpPr/>
            <p:nvPr/>
          </p:nvSpPr>
          <p:spPr>
            <a:xfrm>
              <a:off x="7844921" y="0"/>
              <a:ext cx="1475718" cy="751205"/>
            </a:xfrm>
            <a:custGeom>
              <a:avLst/>
              <a:gdLst>
                <a:gd name="connsiteX0" fmla="*/ 191 w 1475718"/>
                <a:gd name="connsiteY0" fmla="*/ 0 h 751205"/>
                <a:gd name="connsiteX1" fmla="*/ 0 w 1475718"/>
                <a:gd name="connsiteY1" fmla="*/ 13346 h 751205"/>
                <a:gd name="connsiteX2" fmla="*/ 737859 w 1475718"/>
                <a:gd name="connsiteY2" fmla="*/ 751205 h 751205"/>
                <a:gd name="connsiteX3" fmla="*/ 1475718 w 1475718"/>
                <a:gd name="connsiteY3" fmla="*/ 13346 h 751205"/>
                <a:gd name="connsiteX4" fmla="*/ 1475528 w 1475718"/>
                <a:gd name="connsiteY4" fmla="*/ 0 h 751205"/>
                <a:gd name="connsiteX5" fmla="*/ 191 w 1475718"/>
                <a:gd name="connsiteY5" fmla="*/ 0 h 7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5718" h="751205">
                  <a:moveTo>
                    <a:pt x="191" y="0"/>
                  </a:moveTo>
                  <a:cubicBezTo>
                    <a:pt x="127" y="4449"/>
                    <a:pt x="0" y="8898"/>
                    <a:pt x="0" y="13346"/>
                  </a:cubicBezTo>
                  <a:cubicBezTo>
                    <a:pt x="0" y="420853"/>
                    <a:pt x="330352" y="751205"/>
                    <a:pt x="737859" y="751205"/>
                  </a:cubicBezTo>
                  <a:cubicBezTo>
                    <a:pt x="1145366" y="751205"/>
                    <a:pt x="1475718" y="420853"/>
                    <a:pt x="1475718" y="13346"/>
                  </a:cubicBezTo>
                  <a:cubicBezTo>
                    <a:pt x="1475718" y="8898"/>
                    <a:pt x="1475655" y="4449"/>
                    <a:pt x="1475528" y="0"/>
                  </a:cubicBezTo>
                  <a:lnTo>
                    <a:pt x="191" y="0"/>
                  </a:ln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D17FF462-E3AC-0D57-5F0B-D98341E0B9DD}"/>
                </a:ext>
              </a:extLst>
            </p:cNvPr>
            <p:cNvSpPr/>
            <p:nvPr/>
          </p:nvSpPr>
          <p:spPr>
            <a:xfrm>
              <a:off x="9599258" y="0"/>
              <a:ext cx="2590451" cy="751205"/>
            </a:xfrm>
            <a:custGeom>
              <a:avLst/>
              <a:gdLst>
                <a:gd name="connsiteX0" fmla="*/ 2590451 w 2590451"/>
                <a:gd name="connsiteY0" fmla="*/ 0 h 751205"/>
                <a:gd name="connsiteX1" fmla="*/ 191 w 2590451"/>
                <a:gd name="connsiteY1" fmla="*/ 0 h 751205"/>
                <a:gd name="connsiteX2" fmla="*/ 0 w 2590451"/>
                <a:gd name="connsiteY2" fmla="*/ 13346 h 751205"/>
                <a:gd name="connsiteX3" fmla="*/ 737859 w 2590451"/>
                <a:gd name="connsiteY3" fmla="*/ 751205 h 751205"/>
                <a:gd name="connsiteX4" fmla="*/ 1370346 w 2590451"/>
                <a:gd name="connsiteY4" fmla="*/ 393461 h 751205"/>
                <a:gd name="connsiteX5" fmla="*/ 1608418 w 2590451"/>
                <a:gd name="connsiteY5" fmla="*/ 260062 h 751205"/>
                <a:gd name="connsiteX6" fmla="*/ 1621638 w 2590451"/>
                <a:gd name="connsiteY6" fmla="*/ 260062 h 751205"/>
                <a:gd name="connsiteX7" fmla="*/ 1859710 w 2590451"/>
                <a:gd name="connsiteY7" fmla="*/ 393461 h 751205"/>
                <a:gd name="connsiteX8" fmla="*/ 2492197 w 2590451"/>
                <a:gd name="connsiteY8" fmla="*/ 751205 h 751205"/>
                <a:gd name="connsiteX9" fmla="*/ 2590451 w 2590451"/>
                <a:gd name="connsiteY9" fmla="*/ 744659 h 751205"/>
                <a:gd name="connsiteX10" fmla="*/ 2590451 w 2590451"/>
                <a:gd name="connsiteY10" fmla="*/ 0 h 7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90451" h="751205">
                  <a:moveTo>
                    <a:pt x="2590451" y="0"/>
                  </a:moveTo>
                  <a:lnTo>
                    <a:pt x="191" y="0"/>
                  </a:lnTo>
                  <a:cubicBezTo>
                    <a:pt x="127" y="4449"/>
                    <a:pt x="0" y="8898"/>
                    <a:pt x="0" y="13346"/>
                  </a:cubicBezTo>
                  <a:cubicBezTo>
                    <a:pt x="0" y="420853"/>
                    <a:pt x="330352" y="751205"/>
                    <a:pt x="737859" y="751205"/>
                  </a:cubicBezTo>
                  <a:cubicBezTo>
                    <a:pt x="1006310" y="751205"/>
                    <a:pt x="1241268" y="607828"/>
                    <a:pt x="1370346" y="393461"/>
                  </a:cubicBezTo>
                  <a:cubicBezTo>
                    <a:pt x="1420490" y="310206"/>
                    <a:pt x="1511245" y="260062"/>
                    <a:pt x="1608418" y="260062"/>
                  </a:cubicBezTo>
                  <a:lnTo>
                    <a:pt x="1621638" y="260062"/>
                  </a:lnTo>
                  <a:cubicBezTo>
                    <a:pt x="1718811" y="260062"/>
                    <a:pt x="1809566" y="310269"/>
                    <a:pt x="1859710" y="393461"/>
                  </a:cubicBezTo>
                  <a:cubicBezTo>
                    <a:pt x="1988788" y="607828"/>
                    <a:pt x="2223746" y="751205"/>
                    <a:pt x="2492197" y="751205"/>
                  </a:cubicBezTo>
                  <a:cubicBezTo>
                    <a:pt x="2525499" y="751205"/>
                    <a:pt x="2558293" y="748981"/>
                    <a:pt x="2590451" y="744659"/>
                  </a:cubicBezTo>
                  <a:lnTo>
                    <a:pt x="2590451" y="0"/>
                  </a:ln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28BD37E9-B359-FA81-BA9B-90B803F34200}"/>
                </a:ext>
              </a:extLst>
            </p:cNvPr>
            <p:cNvSpPr/>
            <p:nvPr/>
          </p:nvSpPr>
          <p:spPr>
            <a:xfrm>
              <a:off x="11367769" y="1027854"/>
              <a:ext cx="821940" cy="1475718"/>
            </a:xfrm>
            <a:custGeom>
              <a:avLst/>
              <a:gdLst>
                <a:gd name="connsiteX0" fmla="*/ 821941 w 821940"/>
                <a:gd name="connsiteY0" fmla="*/ 4767 h 1475718"/>
                <a:gd name="connsiteX1" fmla="*/ 737859 w 821940"/>
                <a:gd name="connsiteY1" fmla="*/ 0 h 1475718"/>
                <a:gd name="connsiteX2" fmla="*/ 0 w 821940"/>
                <a:gd name="connsiteY2" fmla="*/ 737859 h 1475718"/>
                <a:gd name="connsiteX3" fmla="*/ 737859 w 821940"/>
                <a:gd name="connsiteY3" fmla="*/ 1475718 h 1475718"/>
                <a:gd name="connsiteX4" fmla="*/ 821941 w 821940"/>
                <a:gd name="connsiteY4" fmla="*/ 1470952 h 1475718"/>
                <a:gd name="connsiteX5" fmla="*/ 821941 w 821940"/>
                <a:gd name="connsiteY5" fmla="*/ 4830 h 147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1940" h="1475718">
                  <a:moveTo>
                    <a:pt x="821941" y="4767"/>
                  </a:moveTo>
                  <a:cubicBezTo>
                    <a:pt x="794358" y="1652"/>
                    <a:pt x="766331" y="0"/>
                    <a:pt x="737859" y="0"/>
                  </a:cubicBezTo>
                  <a:cubicBezTo>
                    <a:pt x="330352" y="0"/>
                    <a:pt x="0" y="330353"/>
                    <a:pt x="0" y="737859"/>
                  </a:cubicBezTo>
                  <a:cubicBezTo>
                    <a:pt x="0" y="1145366"/>
                    <a:pt x="330352" y="1475718"/>
                    <a:pt x="737859" y="1475718"/>
                  </a:cubicBezTo>
                  <a:cubicBezTo>
                    <a:pt x="766268" y="1475718"/>
                    <a:pt x="794295" y="1474066"/>
                    <a:pt x="821941" y="1470952"/>
                  </a:cubicBezTo>
                  <a:lnTo>
                    <a:pt x="821941" y="4830"/>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24281814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Mönster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895799" y="1031048"/>
            <a:ext cx="5905595" cy="1232398"/>
          </a:xfrm>
        </p:spPr>
        <p:txBody>
          <a:bodyPr>
            <a:normAutofit/>
          </a:bodyPr>
          <a:lstStyle>
            <a:lvl1pPr>
              <a:defRPr sz="4000">
                <a:solidFill>
                  <a:schemeClr val="bg1"/>
                </a:solidFill>
              </a:defRPr>
            </a:lvl1pPr>
          </a:lstStyle>
          <a:p>
            <a:r>
              <a:rPr lang="sv-SE"/>
              <a:t>Rubrik</a:t>
            </a:r>
          </a:p>
        </p:txBody>
      </p:sp>
      <p:sp>
        <p:nvSpPr>
          <p:cNvPr id="4" name="Platshållare för bildnummer 3">
            <a:extLst>
              <a:ext uri="{FF2B5EF4-FFF2-40B4-BE49-F238E27FC236}">
                <a16:creationId xmlns:a16="http://schemas.microsoft.com/office/drawing/2014/main" id="{F1F5A5EA-BC04-1E7C-5686-018804102841}"/>
              </a:ext>
            </a:extLst>
          </p:cNvPr>
          <p:cNvSpPr>
            <a:spLocks noGrp="1"/>
          </p:cNvSpPr>
          <p:nvPr>
            <p:ph type="sldNum" sz="quarter" idx="10"/>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895799" y="2523796"/>
            <a:ext cx="5905595"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ruta 4">
            <a:extLst>
              <a:ext uri="{FF2B5EF4-FFF2-40B4-BE49-F238E27FC236}">
                <a16:creationId xmlns:a16="http://schemas.microsoft.com/office/drawing/2014/main" id="{E321CA30-00B9-E5D3-0D2B-A095164FAA6D}"/>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grpSp>
        <p:nvGrpSpPr>
          <p:cNvPr id="7" name="Grupp 6">
            <a:extLst>
              <a:ext uri="{FF2B5EF4-FFF2-40B4-BE49-F238E27FC236}">
                <a16:creationId xmlns:a16="http://schemas.microsoft.com/office/drawing/2014/main" id="{FCBCB417-86DB-0E21-18FC-ABF4D2BA0E9A}"/>
              </a:ext>
            </a:extLst>
          </p:cNvPr>
          <p:cNvGrpSpPr/>
          <p:nvPr userDrawn="1"/>
        </p:nvGrpSpPr>
        <p:grpSpPr>
          <a:xfrm>
            <a:off x="7844921" y="0"/>
            <a:ext cx="4344788" cy="6012312"/>
            <a:chOff x="7844921" y="0"/>
            <a:chExt cx="4344788" cy="6012312"/>
          </a:xfrm>
          <a:solidFill>
            <a:schemeClr val="accent5"/>
          </a:solidFill>
        </p:grpSpPr>
        <p:sp>
          <p:nvSpPr>
            <p:cNvPr id="8" name="Frihandsfigur: Form 7">
              <a:extLst>
                <a:ext uri="{FF2B5EF4-FFF2-40B4-BE49-F238E27FC236}">
                  <a16:creationId xmlns:a16="http://schemas.microsoft.com/office/drawing/2014/main" id="{31906B02-0E94-C82F-C8B5-25470500A392}"/>
                </a:ext>
              </a:extLst>
            </p:cNvPr>
            <p:cNvSpPr/>
            <p:nvPr/>
          </p:nvSpPr>
          <p:spPr>
            <a:xfrm>
              <a:off x="7859157" y="2780222"/>
              <a:ext cx="1475718" cy="1475718"/>
            </a:xfrm>
            <a:custGeom>
              <a:avLst/>
              <a:gdLst>
                <a:gd name="connsiteX0" fmla="*/ 1475718 w 1475718"/>
                <a:gd name="connsiteY0" fmla="*/ 737859 h 1475718"/>
                <a:gd name="connsiteX1" fmla="*/ 737859 w 1475718"/>
                <a:gd name="connsiteY1" fmla="*/ 1475718 h 1475718"/>
                <a:gd name="connsiteX2" fmla="*/ 0 w 1475718"/>
                <a:gd name="connsiteY2" fmla="*/ 737859 h 1475718"/>
                <a:gd name="connsiteX3" fmla="*/ 737859 w 1475718"/>
                <a:gd name="connsiteY3" fmla="*/ 0 h 1475718"/>
                <a:gd name="connsiteX4" fmla="*/ 1475718 w 1475718"/>
                <a:gd name="connsiteY4" fmla="*/ 737859 h 1475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718" h="1475718">
                  <a:moveTo>
                    <a:pt x="1475718" y="737859"/>
                  </a:moveTo>
                  <a:cubicBezTo>
                    <a:pt x="1475718" y="1145367"/>
                    <a:pt x="1145368" y="1475718"/>
                    <a:pt x="737859" y="1475718"/>
                  </a:cubicBezTo>
                  <a:cubicBezTo>
                    <a:pt x="330351" y="1475718"/>
                    <a:pt x="0" y="1145367"/>
                    <a:pt x="0" y="737859"/>
                  </a:cubicBezTo>
                  <a:cubicBezTo>
                    <a:pt x="0" y="330351"/>
                    <a:pt x="330351" y="0"/>
                    <a:pt x="737859" y="0"/>
                  </a:cubicBezTo>
                  <a:cubicBezTo>
                    <a:pt x="1145368" y="0"/>
                    <a:pt x="1475718" y="330351"/>
                    <a:pt x="1475718" y="737859"/>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CDF05006-982B-9F4C-3CDA-4FF3006C4182}"/>
                </a:ext>
              </a:extLst>
            </p:cNvPr>
            <p:cNvSpPr/>
            <p:nvPr/>
          </p:nvSpPr>
          <p:spPr>
            <a:xfrm>
              <a:off x="9599250" y="1027791"/>
              <a:ext cx="1475726" cy="4984521"/>
            </a:xfrm>
            <a:custGeom>
              <a:avLst/>
              <a:gdLst>
                <a:gd name="connsiteX0" fmla="*/ 9 w 1475726"/>
                <a:gd name="connsiteY0" fmla="*/ 4250158 h 4984521"/>
                <a:gd name="connsiteX1" fmla="*/ 350571 w 1475726"/>
                <a:gd name="connsiteY1" fmla="*/ 3618434 h 4984521"/>
                <a:gd name="connsiteX2" fmla="*/ 491215 w 1475726"/>
                <a:gd name="connsiteY2" fmla="*/ 3369684 h 4984521"/>
                <a:gd name="connsiteX3" fmla="*/ 491215 w 1475726"/>
                <a:gd name="connsiteY3" fmla="*/ 3369049 h 4984521"/>
                <a:gd name="connsiteX4" fmla="*/ 352414 w 1475726"/>
                <a:gd name="connsiteY4" fmla="*/ 3121443 h 4984521"/>
                <a:gd name="connsiteX5" fmla="*/ 9 w 1475726"/>
                <a:gd name="connsiteY5" fmla="*/ 2492197 h 4984521"/>
                <a:gd name="connsiteX6" fmla="*/ 352414 w 1475726"/>
                <a:gd name="connsiteY6" fmla="*/ 1862952 h 4984521"/>
                <a:gd name="connsiteX7" fmla="*/ 491215 w 1475726"/>
                <a:gd name="connsiteY7" fmla="*/ 1615346 h 4984521"/>
                <a:gd name="connsiteX8" fmla="*/ 491215 w 1475726"/>
                <a:gd name="connsiteY8" fmla="*/ 1614711 h 4984521"/>
                <a:gd name="connsiteX9" fmla="*/ 350571 w 1475726"/>
                <a:gd name="connsiteY9" fmla="*/ 1365961 h 4984521"/>
                <a:gd name="connsiteX10" fmla="*/ 9 w 1475726"/>
                <a:gd name="connsiteY10" fmla="*/ 734237 h 4984521"/>
                <a:gd name="connsiteX11" fmla="*/ 737868 w 1475726"/>
                <a:gd name="connsiteY11" fmla="*/ 0 h 4984521"/>
                <a:gd name="connsiteX12" fmla="*/ 1475727 w 1475726"/>
                <a:gd name="connsiteY12" fmla="*/ 737859 h 4984521"/>
                <a:gd name="connsiteX13" fmla="*/ 1123321 w 1475726"/>
                <a:gd name="connsiteY13" fmla="*/ 1367105 h 4984521"/>
                <a:gd name="connsiteX14" fmla="*/ 984520 w 1475726"/>
                <a:gd name="connsiteY14" fmla="*/ 1614711 h 4984521"/>
                <a:gd name="connsiteX15" fmla="*/ 984520 w 1475726"/>
                <a:gd name="connsiteY15" fmla="*/ 1615410 h 4984521"/>
                <a:gd name="connsiteX16" fmla="*/ 1123321 w 1475726"/>
                <a:gd name="connsiteY16" fmla="*/ 1863015 h 4984521"/>
                <a:gd name="connsiteX17" fmla="*/ 1475727 w 1475726"/>
                <a:gd name="connsiteY17" fmla="*/ 2492261 h 4984521"/>
                <a:gd name="connsiteX18" fmla="*/ 1123321 w 1475726"/>
                <a:gd name="connsiteY18" fmla="*/ 3121507 h 4984521"/>
                <a:gd name="connsiteX19" fmla="*/ 984520 w 1475726"/>
                <a:gd name="connsiteY19" fmla="*/ 3369112 h 4984521"/>
                <a:gd name="connsiteX20" fmla="*/ 984520 w 1475726"/>
                <a:gd name="connsiteY20" fmla="*/ 3369811 h 4984521"/>
                <a:gd name="connsiteX21" fmla="*/ 1123321 w 1475726"/>
                <a:gd name="connsiteY21" fmla="*/ 3617417 h 4984521"/>
                <a:gd name="connsiteX22" fmla="*/ 1475727 w 1475726"/>
                <a:gd name="connsiteY22" fmla="*/ 4246663 h 4984521"/>
                <a:gd name="connsiteX23" fmla="*/ 737868 w 1475726"/>
                <a:gd name="connsiteY23" fmla="*/ 4984522 h 4984521"/>
                <a:gd name="connsiteX24" fmla="*/ 9 w 1475726"/>
                <a:gd name="connsiteY24" fmla="*/ 4250285 h 498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75726" h="4984521">
                  <a:moveTo>
                    <a:pt x="9" y="4250158"/>
                  </a:moveTo>
                  <a:cubicBezTo>
                    <a:pt x="-1263" y="3983232"/>
                    <a:pt x="139255" y="3749037"/>
                    <a:pt x="350571" y="3618434"/>
                  </a:cubicBezTo>
                  <a:cubicBezTo>
                    <a:pt x="437195" y="3564922"/>
                    <a:pt x="491215" y="3471497"/>
                    <a:pt x="491215" y="3369684"/>
                  </a:cubicBezTo>
                  <a:lnTo>
                    <a:pt x="491215" y="3369049"/>
                  </a:lnTo>
                  <a:cubicBezTo>
                    <a:pt x="491215" y="3267998"/>
                    <a:pt x="438593" y="3174320"/>
                    <a:pt x="352414" y="3121443"/>
                  </a:cubicBezTo>
                  <a:cubicBezTo>
                    <a:pt x="141034" y="2991666"/>
                    <a:pt x="9" y="2758424"/>
                    <a:pt x="9" y="2492197"/>
                  </a:cubicBezTo>
                  <a:cubicBezTo>
                    <a:pt x="9" y="2225971"/>
                    <a:pt x="141034" y="1992728"/>
                    <a:pt x="352414" y="1862952"/>
                  </a:cubicBezTo>
                  <a:cubicBezTo>
                    <a:pt x="438529" y="1810075"/>
                    <a:pt x="491215" y="1716460"/>
                    <a:pt x="491215" y="1615346"/>
                  </a:cubicBezTo>
                  <a:lnTo>
                    <a:pt x="491215" y="1614711"/>
                  </a:lnTo>
                  <a:cubicBezTo>
                    <a:pt x="491215" y="1512897"/>
                    <a:pt x="437258" y="1419473"/>
                    <a:pt x="350571" y="1365961"/>
                  </a:cubicBezTo>
                  <a:cubicBezTo>
                    <a:pt x="139255" y="1235422"/>
                    <a:pt x="-1263" y="1001226"/>
                    <a:pt x="9" y="734237"/>
                  </a:cubicBezTo>
                  <a:cubicBezTo>
                    <a:pt x="1979" y="327620"/>
                    <a:pt x="331251" y="0"/>
                    <a:pt x="737868" y="0"/>
                  </a:cubicBezTo>
                  <a:cubicBezTo>
                    <a:pt x="1145374" y="0"/>
                    <a:pt x="1475727" y="330352"/>
                    <a:pt x="1475727" y="737859"/>
                  </a:cubicBezTo>
                  <a:cubicBezTo>
                    <a:pt x="1475727" y="1004086"/>
                    <a:pt x="1334701" y="1237328"/>
                    <a:pt x="1123321" y="1367105"/>
                  </a:cubicBezTo>
                  <a:cubicBezTo>
                    <a:pt x="1037206" y="1419982"/>
                    <a:pt x="984520" y="1513597"/>
                    <a:pt x="984520" y="1614711"/>
                  </a:cubicBezTo>
                  <a:lnTo>
                    <a:pt x="984520" y="1615410"/>
                  </a:lnTo>
                  <a:cubicBezTo>
                    <a:pt x="984520" y="1716460"/>
                    <a:pt x="1037142" y="1810138"/>
                    <a:pt x="1123321" y="1863015"/>
                  </a:cubicBezTo>
                  <a:cubicBezTo>
                    <a:pt x="1334701" y="1992792"/>
                    <a:pt x="1475727" y="2226034"/>
                    <a:pt x="1475727" y="2492261"/>
                  </a:cubicBezTo>
                  <a:cubicBezTo>
                    <a:pt x="1475727" y="2758488"/>
                    <a:pt x="1334701" y="2991730"/>
                    <a:pt x="1123321" y="3121507"/>
                  </a:cubicBezTo>
                  <a:cubicBezTo>
                    <a:pt x="1037206" y="3174384"/>
                    <a:pt x="984520" y="3267998"/>
                    <a:pt x="984520" y="3369112"/>
                  </a:cubicBezTo>
                  <a:lnTo>
                    <a:pt x="984520" y="3369811"/>
                  </a:lnTo>
                  <a:cubicBezTo>
                    <a:pt x="984520" y="3470862"/>
                    <a:pt x="1037142" y="3564540"/>
                    <a:pt x="1123321" y="3617417"/>
                  </a:cubicBezTo>
                  <a:cubicBezTo>
                    <a:pt x="1334701" y="3747194"/>
                    <a:pt x="1475727" y="3980436"/>
                    <a:pt x="1475727" y="4246663"/>
                  </a:cubicBezTo>
                  <a:cubicBezTo>
                    <a:pt x="1475727" y="4654169"/>
                    <a:pt x="1145374" y="4984522"/>
                    <a:pt x="737868" y="4984522"/>
                  </a:cubicBezTo>
                  <a:cubicBezTo>
                    <a:pt x="331251" y="4984522"/>
                    <a:pt x="1979" y="4656902"/>
                    <a:pt x="9" y="4250285"/>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D3C6D4C0-102B-7183-6060-52DE4C9237C9}"/>
                </a:ext>
              </a:extLst>
            </p:cNvPr>
            <p:cNvSpPr/>
            <p:nvPr/>
          </p:nvSpPr>
          <p:spPr>
            <a:xfrm>
              <a:off x="7844921" y="0"/>
              <a:ext cx="1475718" cy="751205"/>
            </a:xfrm>
            <a:custGeom>
              <a:avLst/>
              <a:gdLst>
                <a:gd name="connsiteX0" fmla="*/ 191 w 1475718"/>
                <a:gd name="connsiteY0" fmla="*/ 0 h 751205"/>
                <a:gd name="connsiteX1" fmla="*/ 0 w 1475718"/>
                <a:gd name="connsiteY1" fmla="*/ 13346 h 751205"/>
                <a:gd name="connsiteX2" fmla="*/ 737859 w 1475718"/>
                <a:gd name="connsiteY2" fmla="*/ 751205 h 751205"/>
                <a:gd name="connsiteX3" fmla="*/ 1475718 w 1475718"/>
                <a:gd name="connsiteY3" fmla="*/ 13346 h 751205"/>
                <a:gd name="connsiteX4" fmla="*/ 1475528 w 1475718"/>
                <a:gd name="connsiteY4" fmla="*/ 0 h 751205"/>
                <a:gd name="connsiteX5" fmla="*/ 191 w 1475718"/>
                <a:gd name="connsiteY5" fmla="*/ 0 h 7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5718" h="751205">
                  <a:moveTo>
                    <a:pt x="191" y="0"/>
                  </a:moveTo>
                  <a:cubicBezTo>
                    <a:pt x="127" y="4449"/>
                    <a:pt x="0" y="8898"/>
                    <a:pt x="0" y="13346"/>
                  </a:cubicBezTo>
                  <a:cubicBezTo>
                    <a:pt x="0" y="420853"/>
                    <a:pt x="330352" y="751205"/>
                    <a:pt x="737859" y="751205"/>
                  </a:cubicBezTo>
                  <a:cubicBezTo>
                    <a:pt x="1145366" y="751205"/>
                    <a:pt x="1475718" y="420853"/>
                    <a:pt x="1475718" y="13346"/>
                  </a:cubicBezTo>
                  <a:cubicBezTo>
                    <a:pt x="1475718" y="8898"/>
                    <a:pt x="1475655" y="4449"/>
                    <a:pt x="1475528" y="0"/>
                  </a:cubicBezTo>
                  <a:lnTo>
                    <a:pt x="191" y="0"/>
                  </a:ln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F6830D54-37A2-18D1-794D-F71772E7C2A4}"/>
                </a:ext>
              </a:extLst>
            </p:cNvPr>
            <p:cNvSpPr/>
            <p:nvPr/>
          </p:nvSpPr>
          <p:spPr>
            <a:xfrm>
              <a:off x="9599258" y="0"/>
              <a:ext cx="2590451" cy="751205"/>
            </a:xfrm>
            <a:custGeom>
              <a:avLst/>
              <a:gdLst>
                <a:gd name="connsiteX0" fmla="*/ 2590451 w 2590451"/>
                <a:gd name="connsiteY0" fmla="*/ 0 h 751205"/>
                <a:gd name="connsiteX1" fmla="*/ 191 w 2590451"/>
                <a:gd name="connsiteY1" fmla="*/ 0 h 751205"/>
                <a:gd name="connsiteX2" fmla="*/ 0 w 2590451"/>
                <a:gd name="connsiteY2" fmla="*/ 13346 h 751205"/>
                <a:gd name="connsiteX3" fmla="*/ 737859 w 2590451"/>
                <a:gd name="connsiteY3" fmla="*/ 751205 h 751205"/>
                <a:gd name="connsiteX4" fmla="*/ 1370346 w 2590451"/>
                <a:gd name="connsiteY4" fmla="*/ 393461 h 751205"/>
                <a:gd name="connsiteX5" fmla="*/ 1608418 w 2590451"/>
                <a:gd name="connsiteY5" fmla="*/ 260062 h 751205"/>
                <a:gd name="connsiteX6" fmla="*/ 1621638 w 2590451"/>
                <a:gd name="connsiteY6" fmla="*/ 260062 h 751205"/>
                <a:gd name="connsiteX7" fmla="*/ 1859710 w 2590451"/>
                <a:gd name="connsiteY7" fmla="*/ 393461 h 751205"/>
                <a:gd name="connsiteX8" fmla="*/ 2492197 w 2590451"/>
                <a:gd name="connsiteY8" fmla="*/ 751205 h 751205"/>
                <a:gd name="connsiteX9" fmla="*/ 2590451 w 2590451"/>
                <a:gd name="connsiteY9" fmla="*/ 744659 h 751205"/>
                <a:gd name="connsiteX10" fmla="*/ 2590451 w 2590451"/>
                <a:gd name="connsiteY10" fmla="*/ 0 h 7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90451" h="751205">
                  <a:moveTo>
                    <a:pt x="2590451" y="0"/>
                  </a:moveTo>
                  <a:lnTo>
                    <a:pt x="191" y="0"/>
                  </a:lnTo>
                  <a:cubicBezTo>
                    <a:pt x="127" y="4449"/>
                    <a:pt x="0" y="8898"/>
                    <a:pt x="0" y="13346"/>
                  </a:cubicBezTo>
                  <a:cubicBezTo>
                    <a:pt x="0" y="420853"/>
                    <a:pt x="330352" y="751205"/>
                    <a:pt x="737859" y="751205"/>
                  </a:cubicBezTo>
                  <a:cubicBezTo>
                    <a:pt x="1006310" y="751205"/>
                    <a:pt x="1241268" y="607828"/>
                    <a:pt x="1370346" y="393461"/>
                  </a:cubicBezTo>
                  <a:cubicBezTo>
                    <a:pt x="1420490" y="310206"/>
                    <a:pt x="1511245" y="260062"/>
                    <a:pt x="1608418" y="260062"/>
                  </a:cubicBezTo>
                  <a:lnTo>
                    <a:pt x="1621638" y="260062"/>
                  </a:lnTo>
                  <a:cubicBezTo>
                    <a:pt x="1718811" y="260062"/>
                    <a:pt x="1809566" y="310269"/>
                    <a:pt x="1859710" y="393461"/>
                  </a:cubicBezTo>
                  <a:cubicBezTo>
                    <a:pt x="1988788" y="607828"/>
                    <a:pt x="2223746" y="751205"/>
                    <a:pt x="2492197" y="751205"/>
                  </a:cubicBezTo>
                  <a:cubicBezTo>
                    <a:pt x="2525499" y="751205"/>
                    <a:pt x="2558293" y="748981"/>
                    <a:pt x="2590451" y="744659"/>
                  </a:cubicBezTo>
                  <a:lnTo>
                    <a:pt x="2590451" y="0"/>
                  </a:ln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0B9653C8-685A-A7A1-E532-998C162FD156}"/>
                </a:ext>
              </a:extLst>
            </p:cNvPr>
            <p:cNvSpPr/>
            <p:nvPr/>
          </p:nvSpPr>
          <p:spPr>
            <a:xfrm>
              <a:off x="11367769" y="1027854"/>
              <a:ext cx="821940" cy="1475718"/>
            </a:xfrm>
            <a:custGeom>
              <a:avLst/>
              <a:gdLst>
                <a:gd name="connsiteX0" fmla="*/ 821941 w 821940"/>
                <a:gd name="connsiteY0" fmla="*/ 4767 h 1475718"/>
                <a:gd name="connsiteX1" fmla="*/ 737859 w 821940"/>
                <a:gd name="connsiteY1" fmla="*/ 0 h 1475718"/>
                <a:gd name="connsiteX2" fmla="*/ 0 w 821940"/>
                <a:gd name="connsiteY2" fmla="*/ 737859 h 1475718"/>
                <a:gd name="connsiteX3" fmla="*/ 737859 w 821940"/>
                <a:gd name="connsiteY3" fmla="*/ 1475718 h 1475718"/>
                <a:gd name="connsiteX4" fmla="*/ 821941 w 821940"/>
                <a:gd name="connsiteY4" fmla="*/ 1470952 h 1475718"/>
                <a:gd name="connsiteX5" fmla="*/ 821941 w 821940"/>
                <a:gd name="connsiteY5" fmla="*/ 4830 h 147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1940" h="1475718">
                  <a:moveTo>
                    <a:pt x="821941" y="4767"/>
                  </a:moveTo>
                  <a:cubicBezTo>
                    <a:pt x="794358" y="1652"/>
                    <a:pt x="766331" y="0"/>
                    <a:pt x="737859" y="0"/>
                  </a:cubicBezTo>
                  <a:cubicBezTo>
                    <a:pt x="330352" y="0"/>
                    <a:pt x="0" y="330353"/>
                    <a:pt x="0" y="737859"/>
                  </a:cubicBezTo>
                  <a:cubicBezTo>
                    <a:pt x="0" y="1145366"/>
                    <a:pt x="330352" y="1475718"/>
                    <a:pt x="737859" y="1475718"/>
                  </a:cubicBezTo>
                  <a:cubicBezTo>
                    <a:pt x="766268" y="1475718"/>
                    <a:pt x="794295" y="1474066"/>
                    <a:pt x="821941" y="1470952"/>
                  </a:cubicBezTo>
                  <a:lnTo>
                    <a:pt x="821941" y="4830"/>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3073835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bildnummer 2">
            <a:extLst>
              <a:ext uri="{FF2B5EF4-FFF2-40B4-BE49-F238E27FC236}">
                <a16:creationId xmlns:a16="http://schemas.microsoft.com/office/drawing/2014/main" id="{474F5195-589E-4BA5-AA31-A11EABAE756F}"/>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41148642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3_Mönster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5992547" y="1119824"/>
            <a:ext cx="5259396" cy="1232398"/>
          </a:xfrm>
        </p:spPr>
        <p:txBody>
          <a:bodyPr>
            <a:normAutofit/>
          </a:bodyPr>
          <a:lstStyle>
            <a:lvl1pPr>
              <a:defRPr sz="4000">
                <a:solidFill>
                  <a:schemeClr val="bg1"/>
                </a:solidFill>
              </a:defRPr>
            </a:lvl1pPr>
          </a:lstStyle>
          <a:p>
            <a:r>
              <a:rPr lang="sv-SE"/>
              <a:t>Rubrik</a:t>
            </a:r>
          </a:p>
        </p:txBody>
      </p:sp>
      <p:sp>
        <p:nvSpPr>
          <p:cNvPr id="4" name="Platshållare för bildnummer 3">
            <a:extLst>
              <a:ext uri="{FF2B5EF4-FFF2-40B4-BE49-F238E27FC236}">
                <a16:creationId xmlns:a16="http://schemas.microsoft.com/office/drawing/2014/main" id="{F1F5A5EA-BC04-1E7C-5686-018804102841}"/>
              </a:ext>
            </a:extLst>
          </p:cNvPr>
          <p:cNvSpPr>
            <a:spLocks noGrp="1"/>
          </p:cNvSpPr>
          <p:nvPr>
            <p:ph type="sldNum" sz="quarter" idx="10"/>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5992547" y="2612572"/>
            <a:ext cx="5259396"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grpSp>
        <p:nvGrpSpPr>
          <p:cNvPr id="7" name="Grupp 6">
            <a:extLst>
              <a:ext uri="{FF2B5EF4-FFF2-40B4-BE49-F238E27FC236}">
                <a16:creationId xmlns:a16="http://schemas.microsoft.com/office/drawing/2014/main" id="{BC8F6AF9-CFC3-C782-A696-E5E1D104EF01}"/>
              </a:ext>
            </a:extLst>
          </p:cNvPr>
          <p:cNvGrpSpPr/>
          <p:nvPr userDrawn="1"/>
        </p:nvGrpSpPr>
        <p:grpSpPr>
          <a:xfrm>
            <a:off x="0" y="0"/>
            <a:ext cx="5097843" cy="6857428"/>
            <a:chOff x="0" y="0"/>
            <a:chExt cx="5097843" cy="6857428"/>
          </a:xfrm>
          <a:solidFill>
            <a:schemeClr val="bg2"/>
          </a:solidFill>
        </p:grpSpPr>
        <p:sp>
          <p:nvSpPr>
            <p:cNvPr id="8" name="Frihandsfigur: Form 7">
              <a:extLst>
                <a:ext uri="{FF2B5EF4-FFF2-40B4-BE49-F238E27FC236}">
                  <a16:creationId xmlns:a16="http://schemas.microsoft.com/office/drawing/2014/main" id="{E0AA9A1D-D3BA-2D8C-68F1-AE6157320D05}"/>
                </a:ext>
              </a:extLst>
            </p:cNvPr>
            <p:cNvSpPr/>
            <p:nvPr/>
          </p:nvSpPr>
          <p:spPr>
            <a:xfrm>
              <a:off x="675766" y="1805432"/>
              <a:ext cx="997267" cy="997203"/>
            </a:xfrm>
            <a:custGeom>
              <a:avLst/>
              <a:gdLst>
                <a:gd name="connsiteX0" fmla="*/ 498666 w 997267"/>
                <a:gd name="connsiteY0" fmla="*/ 997204 h 997203"/>
                <a:gd name="connsiteX1" fmla="*/ 0 w 997267"/>
                <a:gd name="connsiteY1" fmla="*/ 498602 h 997203"/>
                <a:gd name="connsiteX2" fmla="*/ 498666 w 997267"/>
                <a:gd name="connsiteY2" fmla="*/ 0 h 997203"/>
                <a:gd name="connsiteX3" fmla="*/ 997268 w 997267"/>
                <a:gd name="connsiteY3" fmla="*/ 498602 h 997203"/>
                <a:gd name="connsiteX4" fmla="*/ 498666 w 997267"/>
                <a:gd name="connsiteY4" fmla="*/ 997204 h 997203"/>
                <a:gd name="connsiteX5" fmla="*/ 498666 w 997267"/>
                <a:gd name="connsiteY5" fmla="*/ 36957 h 997203"/>
                <a:gd name="connsiteX6" fmla="*/ 37084 w 997267"/>
                <a:gd name="connsiteY6" fmla="*/ 498538 h 997203"/>
                <a:gd name="connsiteX7" fmla="*/ 498666 w 997267"/>
                <a:gd name="connsiteY7" fmla="*/ 960120 h 997203"/>
                <a:gd name="connsiteX8" fmla="*/ 960247 w 997267"/>
                <a:gd name="connsiteY8" fmla="*/ 498538 h 997203"/>
                <a:gd name="connsiteX9" fmla="*/ 498666 w 997267"/>
                <a:gd name="connsiteY9" fmla="*/ 36957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67" h="997203">
                  <a:moveTo>
                    <a:pt x="498666" y="997204"/>
                  </a:moveTo>
                  <a:cubicBezTo>
                    <a:pt x="223710" y="997204"/>
                    <a:pt x="0" y="773494"/>
                    <a:pt x="0" y="498602"/>
                  </a:cubicBezTo>
                  <a:cubicBezTo>
                    <a:pt x="0" y="223710"/>
                    <a:pt x="223710" y="0"/>
                    <a:pt x="498666" y="0"/>
                  </a:cubicBezTo>
                  <a:cubicBezTo>
                    <a:pt x="773621" y="0"/>
                    <a:pt x="997268" y="223710"/>
                    <a:pt x="997268" y="498602"/>
                  </a:cubicBezTo>
                  <a:cubicBezTo>
                    <a:pt x="997268" y="773494"/>
                    <a:pt x="773557" y="997204"/>
                    <a:pt x="498666" y="997204"/>
                  </a:cubicBezTo>
                  <a:close/>
                  <a:moveTo>
                    <a:pt x="498666" y="36957"/>
                  </a:moveTo>
                  <a:cubicBezTo>
                    <a:pt x="244157" y="36957"/>
                    <a:pt x="37084" y="244030"/>
                    <a:pt x="37084" y="498538"/>
                  </a:cubicBezTo>
                  <a:cubicBezTo>
                    <a:pt x="37084" y="753047"/>
                    <a:pt x="244157" y="960120"/>
                    <a:pt x="498666" y="960120"/>
                  </a:cubicBezTo>
                  <a:cubicBezTo>
                    <a:pt x="753174" y="960120"/>
                    <a:pt x="960247" y="753047"/>
                    <a:pt x="960247" y="498538"/>
                  </a:cubicBezTo>
                  <a:cubicBezTo>
                    <a:pt x="960247" y="244030"/>
                    <a:pt x="753174" y="36957"/>
                    <a:pt x="498666" y="36957"/>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B1491D19-542B-DBDB-F5D9-94307D65CEA4}"/>
                </a:ext>
              </a:extLst>
            </p:cNvPr>
            <p:cNvSpPr/>
            <p:nvPr/>
          </p:nvSpPr>
          <p:spPr>
            <a:xfrm>
              <a:off x="2977388" y="682371"/>
              <a:ext cx="960247" cy="960247"/>
            </a:xfrm>
            <a:custGeom>
              <a:avLst/>
              <a:gdLst>
                <a:gd name="connsiteX0" fmla="*/ 960247 w 960247"/>
                <a:gd name="connsiteY0" fmla="*/ 480124 h 960247"/>
                <a:gd name="connsiteX1" fmla="*/ 480123 w 960247"/>
                <a:gd name="connsiteY1" fmla="*/ 960247 h 960247"/>
                <a:gd name="connsiteX2" fmla="*/ 0 w 960247"/>
                <a:gd name="connsiteY2" fmla="*/ 480123 h 960247"/>
                <a:gd name="connsiteX3" fmla="*/ 480123 w 960247"/>
                <a:gd name="connsiteY3" fmla="*/ 0 h 960247"/>
                <a:gd name="connsiteX4" fmla="*/ 960247 w 960247"/>
                <a:gd name="connsiteY4" fmla="*/ 480124 h 96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247" h="960247">
                  <a:moveTo>
                    <a:pt x="960247" y="480124"/>
                  </a:moveTo>
                  <a:cubicBezTo>
                    <a:pt x="960247" y="745288"/>
                    <a:pt x="745288" y="960247"/>
                    <a:pt x="480123" y="960247"/>
                  </a:cubicBezTo>
                  <a:cubicBezTo>
                    <a:pt x="214959" y="960247"/>
                    <a:pt x="0" y="745288"/>
                    <a:pt x="0" y="480123"/>
                  </a:cubicBezTo>
                  <a:cubicBezTo>
                    <a:pt x="0" y="214959"/>
                    <a:pt x="214959" y="0"/>
                    <a:pt x="480123" y="0"/>
                  </a:cubicBezTo>
                  <a:cubicBezTo>
                    <a:pt x="745288" y="0"/>
                    <a:pt x="960247" y="214959"/>
                    <a:pt x="960247" y="480124"/>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BEB6893C-4F9F-D261-3EE5-EFEA8425F9DC}"/>
                </a:ext>
              </a:extLst>
            </p:cNvPr>
            <p:cNvSpPr/>
            <p:nvPr/>
          </p:nvSpPr>
          <p:spPr>
            <a:xfrm>
              <a:off x="698944" y="2962846"/>
              <a:ext cx="960247" cy="960247"/>
            </a:xfrm>
            <a:custGeom>
              <a:avLst/>
              <a:gdLst>
                <a:gd name="connsiteX0" fmla="*/ 960247 w 960247"/>
                <a:gd name="connsiteY0" fmla="*/ 480124 h 960247"/>
                <a:gd name="connsiteX1" fmla="*/ 480124 w 960247"/>
                <a:gd name="connsiteY1" fmla="*/ 960247 h 960247"/>
                <a:gd name="connsiteX2" fmla="*/ 0 w 960247"/>
                <a:gd name="connsiteY2" fmla="*/ 480124 h 960247"/>
                <a:gd name="connsiteX3" fmla="*/ 480124 w 960247"/>
                <a:gd name="connsiteY3" fmla="*/ 0 h 960247"/>
                <a:gd name="connsiteX4" fmla="*/ 960247 w 960247"/>
                <a:gd name="connsiteY4" fmla="*/ 480124 h 96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247" h="960247">
                  <a:moveTo>
                    <a:pt x="960247" y="480124"/>
                  </a:moveTo>
                  <a:cubicBezTo>
                    <a:pt x="960247" y="745288"/>
                    <a:pt x="745289" y="960247"/>
                    <a:pt x="480124" y="960247"/>
                  </a:cubicBezTo>
                  <a:cubicBezTo>
                    <a:pt x="214959" y="960247"/>
                    <a:pt x="0" y="745288"/>
                    <a:pt x="0" y="480124"/>
                  </a:cubicBezTo>
                  <a:cubicBezTo>
                    <a:pt x="0" y="214959"/>
                    <a:pt x="214959" y="0"/>
                    <a:pt x="480124" y="0"/>
                  </a:cubicBezTo>
                  <a:cubicBezTo>
                    <a:pt x="745289" y="0"/>
                    <a:pt x="960247" y="214959"/>
                    <a:pt x="960247" y="480124"/>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7AA3DCDA-3ACC-D4B2-72B9-17BC2B8268B8}"/>
                </a:ext>
              </a:extLst>
            </p:cNvPr>
            <p:cNvSpPr/>
            <p:nvPr/>
          </p:nvSpPr>
          <p:spPr>
            <a:xfrm>
              <a:off x="1822005" y="2944431"/>
              <a:ext cx="997267" cy="997203"/>
            </a:xfrm>
            <a:custGeom>
              <a:avLst/>
              <a:gdLst>
                <a:gd name="connsiteX0" fmla="*/ 498602 w 997267"/>
                <a:gd name="connsiteY0" fmla="*/ 997204 h 997203"/>
                <a:gd name="connsiteX1" fmla="*/ 0 w 997267"/>
                <a:gd name="connsiteY1" fmla="*/ 498602 h 997203"/>
                <a:gd name="connsiteX2" fmla="*/ 498602 w 997267"/>
                <a:gd name="connsiteY2" fmla="*/ 0 h 997203"/>
                <a:gd name="connsiteX3" fmla="*/ 997268 w 997267"/>
                <a:gd name="connsiteY3" fmla="*/ 498602 h 997203"/>
                <a:gd name="connsiteX4" fmla="*/ 498602 w 997267"/>
                <a:gd name="connsiteY4" fmla="*/ 997204 h 997203"/>
                <a:gd name="connsiteX5" fmla="*/ 498602 w 997267"/>
                <a:gd name="connsiteY5" fmla="*/ 36957 h 997203"/>
                <a:gd name="connsiteX6" fmla="*/ 37021 w 997267"/>
                <a:gd name="connsiteY6" fmla="*/ 498539 h 997203"/>
                <a:gd name="connsiteX7" fmla="*/ 498602 w 997267"/>
                <a:gd name="connsiteY7" fmla="*/ 960120 h 997203"/>
                <a:gd name="connsiteX8" fmla="*/ 960184 w 997267"/>
                <a:gd name="connsiteY8" fmla="*/ 498539 h 997203"/>
                <a:gd name="connsiteX9" fmla="*/ 498602 w 997267"/>
                <a:gd name="connsiteY9" fmla="*/ 36957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67" h="997203">
                  <a:moveTo>
                    <a:pt x="498602" y="997204"/>
                  </a:moveTo>
                  <a:cubicBezTo>
                    <a:pt x="223647" y="997204"/>
                    <a:pt x="0" y="773494"/>
                    <a:pt x="0" y="498602"/>
                  </a:cubicBezTo>
                  <a:cubicBezTo>
                    <a:pt x="0" y="223711"/>
                    <a:pt x="223711" y="0"/>
                    <a:pt x="498602" y="0"/>
                  </a:cubicBezTo>
                  <a:cubicBezTo>
                    <a:pt x="773494" y="0"/>
                    <a:pt x="997268" y="223711"/>
                    <a:pt x="997268" y="498602"/>
                  </a:cubicBezTo>
                  <a:cubicBezTo>
                    <a:pt x="997268" y="773494"/>
                    <a:pt x="773557" y="997204"/>
                    <a:pt x="498602" y="997204"/>
                  </a:cubicBezTo>
                  <a:close/>
                  <a:moveTo>
                    <a:pt x="498602" y="36957"/>
                  </a:moveTo>
                  <a:cubicBezTo>
                    <a:pt x="244094" y="36957"/>
                    <a:pt x="37021" y="244030"/>
                    <a:pt x="37021" y="498539"/>
                  </a:cubicBezTo>
                  <a:cubicBezTo>
                    <a:pt x="37021" y="753047"/>
                    <a:pt x="244094" y="960120"/>
                    <a:pt x="498602" y="960120"/>
                  </a:cubicBezTo>
                  <a:cubicBezTo>
                    <a:pt x="753110" y="960120"/>
                    <a:pt x="960184" y="753047"/>
                    <a:pt x="960184" y="498539"/>
                  </a:cubicBezTo>
                  <a:cubicBezTo>
                    <a:pt x="960184" y="244030"/>
                    <a:pt x="753110" y="36957"/>
                    <a:pt x="498602" y="36957"/>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F6ABFAA1-5A7C-985F-95B4-E0BBFCD5BAE2}"/>
                </a:ext>
              </a:extLst>
            </p:cNvPr>
            <p:cNvSpPr/>
            <p:nvPr/>
          </p:nvSpPr>
          <p:spPr>
            <a:xfrm>
              <a:off x="2981960" y="2962846"/>
              <a:ext cx="960247" cy="960247"/>
            </a:xfrm>
            <a:custGeom>
              <a:avLst/>
              <a:gdLst>
                <a:gd name="connsiteX0" fmla="*/ 960247 w 960247"/>
                <a:gd name="connsiteY0" fmla="*/ 480124 h 960247"/>
                <a:gd name="connsiteX1" fmla="*/ 480124 w 960247"/>
                <a:gd name="connsiteY1" fmla="*/ 960247 h 960247"/>
                <a:gd name="connsiteX2" fmla="*/ 0 w 960247"/>
                <a:gd name="connsiteY2" fmla="*/ 480124 h 960247"/>
                <a:gd name="connsiteX3" fmla="*/ 480124 w 960247"/>
                <a:gd name="connsiteY3" fmla="*/ 0 h 960247"/>
                <a:gd name="connsiteX4" fmla="*/ 960247 w 960247"/>
                <a:gd name="connsiteY4" fmla="*/ 480124 h 96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247" h="960247">
                  <a:moveTo>
                    <a:pt x="960247" y="480124"/>
                  </a:moveTo>
                  <a:cubicBezTo>
                    <a:pt x="960247" y="745288"/>
                    <a:pt x="745288" y="960247"/>
                    <a:pt x="480124" y="960247"/>
                  </a:cubicBezTo>
                  <a:cubicBezTo>
                    <a:pt x="214959" y="960247"/>
                    <a:pt x="0" y="745288"/>
                    <a:pt x="0" y="480124"/>
                  </a:cubicBezTo>
                  <a:cubicBezTo>
                    <a:pt x="0" y="214959"/>
                    <a:pt x="214959" y="0"/>
                    <a:pt x="480124" y="0"/>
                  </a:cubicBezTo>
                  <a:cubicBezTo>
                    <a:pt x="745288" y="0"/>
                    <a:pt x="960247" y="214959"/>
                    <a:pt x="960247" y="480124"/>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14CA3B22-75C7-7537-F9FC-9E0E6717D75D}"/>
                </a:ext>
              </a:extLst>
            </p:cNvPr>
            <p:cNvSpPr/>
            <p:nvPr/>
          </p:nvSpPr>
          <p:spPr>
            <a:xfrm>
              <a:off x="2963481" y="4084637"/>
              <a:ext cx="997267" cy="997203"/>
            </a:xfrm>
            <a:custGeom>
              <a:avLst/>
              <a:gdLst>
                <a:gd name="connsiteX0" fmla="*/ 498665 w 997267"/>
                <a:gd name="connsiteY0" fmla="*/ 997204 h 997203"/>
                <a:gd name="connsiteX1" fmla="*/ 0 w 997267"/>
                <a:gd name="connsiteY1" fmla="*/ 498602 h 997203"/>
                <a:gd name="connsiteX2" fmla="*/ 498665 w 997267"/>
                <a:gd name="connsiteY2" fmla="*/ 0 h 997203"/>
                <a:gd name="connsiteX3" fmla="*/ 997267 w 997267"/>
                <a:gd name="connsiteY3" fmla="*/ 498602 h 997203"/>
                <a:gd name="connsiteX4" fmla="*/ 498665 w 997267"/>
                <a:gd name="connsiteY4" fmla="*/ 997204 h 997203"/>
                <a:gd name="connsiteX5" fmla="*/ 498665 w 997267"/>
                <a:gd name="connsiteY5" fmla="*/ 37021 h 997203"/>
                <a:gd name="connsiteX6" fmla="*/ 37084 w 997267"/>
                <a:gd name="connsiteY6" fmla="*/ 498602 h 997203"/>
                <a:gd name="connsiteX7" fmla="*/ 498665 w 997267"/>
                <a:gd name="connsiteY7" fmla="*/ 960184 h 997203"/>
                <a:gd name="connsiteX8" fmla="*/ 960247 w 997267"/>
                <a:gd name="connsiteY8" fmla="*/ 498602 h 997203"/>
                <a:gd name="connsiteX9" fmla="*/ 498665 w 997267"/>
                <a:gd name="connsiteY9" fmla="*/ 37021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67" h="997203">
                  <a:moveTo>
                    <a:pt x="498665" y="997204"/>
                  </a:moveTo>
                  <a:cubicBezTo>
                    <a:pt x="223711" y="997204"/>
                    <a:pt x="0" y="773494"/>
                    <a:pt x="0" y="498602"/>
                  </a:cubicBezTo>
                  <a:cubicBezTo>
                    <a:pt x="0" y="223710"/>
                    <a:pt x="223711" y="0"/>
                    <a:pt x="498665" y="0"/>
                  </a:cubicBezTo>
                  <a:cubicBezTo>
                    <a:pt x="773621" y="0"/>
                    <a:pt x="997267" y="223710"/>
                    <a:pt x="997267" y="498602"/>
                  </a:cubicBezTo>
                  <a:cubicBezTo>
                    <a:pt x="997267" y="773494"/>
                    <a:pt x="773557" y="997204"/>
                    <a:pt x="498665" y="997204"/>
                  </a:cubicBezTo>
                  <a:close/>
                  <a:moveTo>
                    <a:pt x="498665" y="37021"/>
                  </a:moveTo>
                  <a:cubicBezTo>
                    <a:pt x="244158" y="37021"/>
                    <a:pt x="37084" y="244094"/>
                    <a:pt x="37084" y="498602"/>
                  </a:cubicBezTo>
                  <a:cubicBezTo>
                    <a:pt x="37084" y="753110"/>
                    <a:pt x="244158" y="960184"/>
                    <a:pt x="498665" y="960184"/>
                  </a:cubicBezTo>
                  <a:cubicBezTo>
                    <a:pt x="753173" y="960184"/>
                    <a:pt x="960247" y="753110"/>
                    <a:pt x="960247" y="498602"/>
                  </a:cubicBezTo>
                  <a:cubicBezTo>
                    <a:pt x="960247" y="244094"/>
                    <a:pt x="753173" y="37021"/>
                    <a:pt x="498665" y="37021"/>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F7E56D97-8B81-5F74-205E-3F2D76305954}"/>
                </a:ext>
              </a:extLst>
            </p:cNvPr>
            <p:cNvSpPr/>
            <p:nvPr/>
          </p:nvSpPr>
          <p:spPr>
            <a:xfrm>
              <a:off x="671194" y="5224907"/>
              <a:ext cx="997203" cy="997203"/>
            </a:xfrm>
            <a:custGeom>
              <a:avLst/>
              <a:gdLst>
                <a:gd name="connsiteX0" fmla="*/ 498602 w 997203"/>
                <a:gd name="connsiteY0" fmla="*/ 997204 h 997203"/>
                <a:gd name="connsiteX1" fmla="*/ 0 w 997203"/>
                <a:gd name="connsiteY1" fmla="*/ 498602 h 997203"/>
                <a:gd name="connsiteX2" fmla="*/ 498602 w 997203"/>
                <a:gd name="connsiteY2" fmla="*/ 0 h 997203"/>
                <a:gd name="connsiteX3" fmla="*/ 997204 w 997203"/>
                <a:gd name="connsiteY3" fmla="*/ 498602 h 997203"/>
                <a:gd name="connsiteX4" fmla="*/ 498602 w 997203"/>
                <a:gd name="connsiteY4" fmla="*/ 997204 h 997203"/>
                <a:gd name="connsiteX5" fmla="*/ 498602 w 997203"/>
                <a:gd name="connsiteY5" fmla="*/ 36957 h 997203"/>
                <a:gd name="connsiteX6" fmla="*/ 37021 w 997203"/>
                <a:gd name="connsiteY6" fmla="*/ 498539 h 997203"/>
                <a:gd name="connsiteX7" fmla="*/ 498602 w 997203"/>
                <a:gd name="connsiteY7" fmla="*/ 960120 h 997203"/>
                <a:gd name="connsiteX8" fmla="*/ 960184 w 997203"/>
                <a:gd name="connsiteY8" fmla="*/ 498539 h 997203"/>
                <a:gd name="connsiteX9" fmla="*/ 498602 w 997203"/>
                <a:gd name="connsiteY9" fmla="*/ 36957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03" h="997203">
                  <a:moveTo>
                    <a:pt x="498602" y="997204"/>
                  </a:moveTo>
                  <a:cubicBezTo>
                    <a:pt x="223647" y="997204"/>
                    <a:pt x="0" y="773494"/>
                    <a:pt x="0" y="498602"/>
                  </a:cubicBezTo>
                  <a:cubicBezTo>
                    <a:pt x="0" y="223710"/>
                    <a:pt x="223710" y="0"/>
                    <a:pt x="498602" y="0"/>
                  </a:cubicBezTo>
                  <a:cubicBezTo>
                    <a:pt x="773494" y="0"/>
                    <a:pt x="997204" y="223710"/>
                    <a:pt x="997204" y="498602"/>
                  </a:cubicBezTo>
                  <a:cubicBezTo>
                    <a:pt x="997204" y="773494"/>
                    <a:pt x="773494" y="997204"/>
                    <a:pt x="498602" y="997204"/>
                  </a:cubicBezTo>
                  <a:close/>
                  <a:moveTo>
                    <a:pt x="498602" y="36957"/>
                  </a:moveTo>
                  <a:cubicBezTo>
                    <a:pt x="244094" y="36957"/>
                    <a:pt x="37021" y="244030"/>
                    <a:pt x="37021" y="498539"/>
                  </a:cubicBezTo>
                  <a:cubicBezTo>
                    <a:pt x="37021" y="753046"/>
                    <a:pt x="244094" y="960120"/>
                    <a:pt x="498602" y="960120"/>
                  </a:cubicBezTo>
                  <a:cubicBezTo>
                    <a:pt x="753110" y="960120"/>
                    <a:pt x="960184" y="753046"/>
                    <a:pt x="960184" y="498539"/>
                  </a:cubicBezTo>
                  <a:cubicBezTo>
                    <a:pt x="960184" y="244030"/>
                    <a:pt x="753110" y="36957"/>
                    <a:pt x="498602" y="36957"/>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CEBBB9EB-7E4C-DD8B-BE70-00F38DA5C6A7}"/>
                </a:ext>
              </a:extLst>
            </p:cNvPr>
            <p:cNvSpPr/>
            <p:nvPr/>
          </p:nvSpPr>
          <p:spPr>
            <a:xfrm>
              <a:off x="2954273" y="5224907"/>
              <a:ext cx="997267" cy="997203"/>
            </a:xfrm>
            <a:custGeom>
              <a:avLst/>
              <a:gdLst>
                <a:gd name="connsiteX0" fmla="*/ 498602 w 997267"/>
                <a:gd name="connsiteY0" fmla="*/ 997204 h 997203"/>
                <a:gd name="connsiteX1" fmla="*/ 0 w 997267"/>
                <a:gd name="connsiteY1" fmla="*/ 498602 h 997203"/>
                <a:gd name="connsiteX2" fmla="*/ 498602 w 997267"/>
                <a:gd name="connsiteY2" fmla="*/ 0 h 997203"/>
                <a:gd name="connsiteX3" fmla="*/ 997267 w 997267"/>
                <a:gd name="connsiteY3" fmla="*/ 498602 h 997203"/>
                <a:gd name="connsiteX4" fmla="*/ 498602 w 997267"/>
                <a:gd name="connsiteY4" fmla="*/ 997204 h 997203"/>
                <a:gd name="connsiteX5" fmla="*/ 498602 w 997267"/>
                <a:gd name="connsiteY5" fmla="*/ 36957 h 997203"/>
                <a:gd name="connsiteX6" fmla="*/ 37021 w 997267"/>
                <a:gd name="connsiteY6" fmla="*/ 498539 h 997203"/>
                <a:gd name="connsiteX7" fmla="*/ 498602 w 997267"/>
                <a:gd name="connsiteY7" fmla="*/ 960120 h 997203"/>
                <a:gd name="connsiteX8" fmla="*/ 960184 w 997267"/>
                <a:gd name="connsiteY8" fmla="*/ 498539 h 997203"/>
                <a:gd name="connsiteX9" fmla="*/ 498602 w 997267"/>
                <a:gd name="connsiteY9" fmla="*/ 36957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67" h="997203">
                  <a:moveTo>
                    <a:pt x="498602" y="997204"/>
                  </a:moveTo>
                  <a:cubicBezTo>
                    <a:pt x="223647" y="997204"/>
                    <a:pt x="0" y="773494"/>
                    <a:pt x="0" y="498602"/>
                  </a:cubicBezTo>
                  <a:cubicBezTo>
                    <a:pt x="0" y="223710"/>
                    <a:pt x="223711" y="0"/>
                    <a:pt x="498602" y="0"/>
                  </a:cubicBezTo>
                  <a:cubicBezTo>
                    <a:pt x="773494" y="0"/>
                    <a:pt x="997267" y="223710"/>
                    <a:pt x="997267" y="498602"/>
                  </a:cubicBezTo>
                  <a:cubicBezTo>
                    <a:pt x="997267" y="773494"/>
                    <a:pt x="773557" y="997204"/>
                    <a:pt x="498602" y="997204"/>
                  </a:cubicBezTo>
                  <a:close/>
                  <a:moveTo>
                    <a:pt x="498602" y="36957"/>
                  </a:moveTo>
                  <a:cubicBezTo>
                    <a:pt x="244094" y="36957"/>
                    <a:pt x="37021" y="244030"/>
                    <a:pt x="37021" y="498539"/>
                  </a:cubicBezTo>
                  <a:cubicBezTo>
                    <a:pt x="37021" y="753046"/>
                    <a:pt x="244094" y="960120"/>
                    <a:pt x="498602" y="960120"/>
                  </a:cubicBezTo>
                  <a:cubicBezTo>
                    <a:pt x="753110" y="960120"/>
                    <a:pt x="960184" y="753046"/>
                    <a:pt x="960184" y="498539"/>
                  </a:cubicBezTo>
                  <a:cubicBezTo>
                    <a:pt x="960184" y="244030"/>
                    <a:pt x="753110" y="36957"/>
                    <a:pt x="498602" y="36957"/>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8AE78BB7-C364-4E86-23A8-04D5B1E865B9}"/>
                </a:ext>
              </a:extLst>
            </p:cNvPr>
            <p:cNvSpPr/>
            <p:nvPr/>
          </p:nvSpPr>
          <p:spPr>
            <a:xfrm>
              <a:off x="698880" y="4103109"/>
              <a:ext cx="2101786" cy="960253"/>
            </a:xfrm>
            <a:custGeom>
              <a:avLst/>
              <a:gdLst>
                <a:gd name="connsiteX0" fmla="*/ 1624076 w 2101786"/>
                <a:gd name="connsiteY0" fmla="*/ 6 h 960253"/>
                <a:gd name="connsiteX1" fmla="*/ 1210882 w 2101786"/>
                <a:gd name="connsiteY1" fmla="*/ 231591 h 960253"/>
                <a:gd name="connsiteX2" fmla="*/ 1055243 w 2101786"/>
                <a:gd name="connsiteY2" fmla="*/ 319602 h 960253"/>
                <a:gd name="connsiteX3" fmla="*/ 1046607 w 2101786"/>
                <a:gd name="connsiteY3" fmla="*/ 319602 h 960253"/>
                <a:gd name="connsiteX4" fmla="*/ 890969 w 2101786"/>
                <a:gd name="connsiteY4" fmla="*/ 231591 h 960253"/>
                <a:gd name="connsiteX5" fmla="*/ 477774 w 2101786"/>
                <a:gd name="connsiteY5" fmla="*/ 6 h 960253"/>
                <a:gd name="connsiteX6" fmla="*/ 0 w 2101786"/>
                <a:gd name="connsiteY6" fmla="*/ 480130 h 960253"/>
                <a:gd name="connsiteX7" fmla="*/ 480124 w 2101786"/>
                <a:gd name="connsiteY7" fmla="*/ 960254 h 960253"/>
                <a:gd name="connsiteX8" fmla="*/ 891667 w 2101786"/>
                <a:gd name="connsiteY8" fmla="*/ 727462 h 960253"/>
                <a:gd name="connsiteX9" fmla="*/ 1046607 w 2101786"/>
                <a:gd name="connsiteY9" fmla="*/ 640658 h 960253"/>
                <a:gd name="connsiteX10" fmla="*/ 1055180 w 2101786"/>
                <a:gd name="connsiteY10" fmla="*/ 640658 h 960253"/>
                <a:gd name="connsiteX11" fmla="*/ 1210120 w 2101786"/>
                <a:gd name="connsiteY11" fmla="*/ 727462 h 960253"/>
                <a:gd name="connsiteX12" fmla="*/ 1621663 w 2101786"/>
                <a:gd name="connsiteY12" fmla="*/ 960254 h 960253"/>
                <a:gd name="connsiteX13" fmla="*/ 2101787 w 2101786"/>
                <a:gd name="connsiteY13" fmla="*/ 480130 h 960253"/>
                <a:gd name="connsiteX14" fmla="*/ 1624013 w 2101786"/>
                <a:gd name="connsiteY14" fmla="*/ 6 h 96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01786" h="960253">
                  <a:moveTo>
                    <a:pt x="1624076" y="6"/>
                  </a:moveTo>
                  <a:cubicBezTo>
                    <a:pt x="1448880" y="-819"/>
                    <a:pt x="1295400" y="92145"/>
                    <a:pt x="1210882" y="231591"/>
                  </a:cubicBezTo>
                  <a:cubicBezTo>
                    <a:pt x="1177862" y="286074"/>
                    <a:pt x="1118997" y="319602"/>
                    <a:pt x="1055243" y="319602"/>
                  </a:cubicBezTo>
                  <a:lnTo>
                    <a:pt x="1046607" y="319602"/>
                  </a:lnTo>
                  <a:cubicBezTo>
                    <a:pt x="982917" y="319602"/>
                    <a:pt x="924052" y="286074"/>
                    <a:pt x="890969" y="231591"/>
                  </a:cubicBezTo>
                  <a:cubicBezTo>
                    <a:pt x="806450" y="92145"/>
                    <a:pt x="652971" y="-882"/>
                    <a:pt x="477774" y="6"/>
                  </a:cubicBezTo>
                  <a:cubicBezTo>
                    <a:pt x="213170" y="1276"/>
                    <a:pt x="0" y="215525"/>
                    <a:pt x="0" y="480130"/>
                  </a:cubicBezTo>
                  <a:cubicBezTo>
                    <a:pt x="0" y="745306"/>
                    <a:pt x="214948" y="960254"/>
                    <a:pt x="480124" y="960254"/>
                  </a:cubicBezTo>
                  <a:cubicBezTo>
                    <a:pt x="654812" y="960254"/>
                    <a:pt x="807720" y="866972"/>
                    <a:pt x="891667" y="727462"/>
                  </a:cubicBezTo>
                  <a:cubicBezTo>
                    <a:pt x="924306" y="673297"/>
                    <a:pt x="983361" y="640658"/>
                    <a:pt x="1046607" y="640658"/>
                  </a:cubicBezTo>
                  <a:lnTo>
                    <a:pt x="1055180" y="640658"/>
                  </a:lnTo>
                  <a:cubicBezTo>
                    <a:pt x="1118426" y="640658"/>
                    <a:pt x="1177481" y="673297"/>
                    <a:pt x="1210120" y="727462"/>
                  </a:cubicBezTo>
                  <a:cubicBezTo>
                    <a:pt x="1294130" y="866972"/>
                    <a:pt x="1446975" y="960254"/>
                    <a:pt x="1621663" y="960254"/>
                  </a:cubicBezTo>
                  <a:cubicBezTo>
                    <a:pt x="1886839" y="960254"/>
                    <a:pt x="2101787" y="745306"/>
                    <a:pt x="2101787" y="480130"/>
                  </a:cubicBezTo>
                  <a:cubicBezTo>
                    <a:pt x="2101787" y="215525"/>
                    <a:pt x="1888617" y="1276"/>
                    <a:pt x="1624013" y="6"/>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4BB053A1-FF5B-C1F1-037E-F995873CEA8B}"/>
                </a:ext>
              </a:extLst>
            </p:cNvPr>
            <p:cNvSpPr/>
            <p:nvPr/>
          </p:nvSpPr>
          <p:spPr>
            <a:xfrm>
              <a:off x="1817433" y="1804155"/>
              <a:ext cx="3280410" cy="997210"/>
            </a:xfrm>
            <a:custGeom>
              <a:avLst/>
              <a:gdLst>
                <a:gd name="connsiteX0" fmla="*/ 2781554 w 3280410"/>
                <a:gd name="connsiteY0" fmla="*/ 997211 h 997210"/>
                <a:gd name="connsiteX1" fmla="*/ 2356358 w 3280410"/>
                <a:gd name="connsiteY1" fmla="*/ 759086 h 997210"/>
                <a:gd name="connsiteX2" fmla="*/ 2211070 w 3280410"/>
                <a:gd name="connsiteY2" fmla="*/ 677615 h 997210"/>
                <a:gd name="connsiteX3" fmla="*/ 2065338 w 3280410"/>
                <a:gd name="connsiteY3" fmla="*/ 759086 h 997210"/>
                <a:gd name="connsiteX4" fmla="*/ 1640078 w 3280410"/>
                <a:gd name="connsiteY4" fmla="*/ 997211 h 997210"/>
                <a:gd name="connsiteX5" fmla="*/ 1214819 w 3280410"/>
                <a:gd name="connsiteY5" fmla="*/ 759086 h 997210"/>
                <a:gd name="connsiteX6" fmla="*/ 1069531 w 3280410"/>
                <a:gd name="connsiteY6" fmla="*/ 677615 h 997210"/>
                <a:gd name="connsiteX7" fmla="*/ 923798 w 3280410"/>
                <a:gd name="connsiteY7" fmla="*/ 759086 h 997210"/>
                <a:gd name="connsiteX8" fmla="*/ 498602 w 3280410"/>
                <a:gd name="connsiteY8" fmla="*/ 997211 h 997210"/>
                <a:gd name="connsiteX9" fmla="*/ 0 w 3280410"/>
                <a:gd name="connsiteY9" fmla="*/ 498609 h 997210"/>
                <a:gd name="connsiteX10" fmla="*/ 496189 w 3280410"/>
                <a:gd name="connsiteY10" fmla="*/ 7 h 997210"/>
                <a:gd name="connsiteX11" fmla="*/ 498666 w 3280410"/>
                <a:gd name="connsiteY11" fmla="*/ 7 h 997210"/>
                <a:gd name="connsiteX12" fmla="*/ 923100 w 3280410"/>
                <a:gd name="connsiteY12" fmla="*/ 236925 h 997210"/>
                <a:gd name="connsiteX13" fmla="*/ 1069213 w 3280410"/>
                <a:gd name="connsiteY13" fmla="*/ 319666 h 997210"/>
                <a:gd name="connsiteX14" fmla="*/ 1214946 w 3280410"/>
                <a:gd name="connsiteY14" fmla="*/ 238195 h 997210"/>
                <a:gd name="connsiteX15" fmla="*/ 1640205 w 3280410"/>
                <a:gd name="connsiteY15" fmla="*/ 70 h 997210"/>
                <a:gd name="connsiteX16" fmla="*/ 2065464 w 3280410"/>
                <a:gd name="connsiteY16" fmla="*/ 238195 h 997210"/>
                <a:gd name="connsiteX17" fmla="*/ 2210753 w 3280410"/>
                <a:gd name="connsiteY17" fmla="*/ 319666 h 997210"/>
                <a:gd name="connsiteX18" fmla="*/ 2357311 w 3280410"/>
                <a:gd name="connsiteY18" fmla="*/ 236925 h 997210"/>
                <a:gd name="connsiteX19" fmla="*/ 2784221 w 3280410"/>
                <a:gd name="connsiteY19" fmla="*/ 7 h 997210"/>
                <a:gd name="connsiteX20" fmla="*/ 3280410 w 3280410"/>
                <a:gd name="connsiteY20" fmla="*/ 498609 h 997210"/>
                <a:gd name="connsiteX21" fmla="*/ 2781808 w 3280410"/>
                <a:gd name="connsiteY21" fmla="*/ 997211 h 997210"/>
                <a:gd name="connsiteX22" fmla="*/ 2210626 w 3280410"/>
                <a:gd name="connsiteY22" fmla="*/ 640531 h 997210"/>
                <a:gd name="connsiteX23" fmla="*/ 2387981 w 3280410"/>
                <a:gd name="connsiteY23" fmla="*/ 739655 h 997210"/>
                <a:gd name="connsiteX24" fmla="*/ 2781618 w 3280410"/>
                <a:gd name="connsiteY24" fmla="*/ 960127 h 997210"/>
                <a:gd name="connsiteX25" fmla="*/ 3243199 w 3280410"/>
                <a:gd name="connsiteY25" fmla="*/ 498545 h 997210"/>
                <a:gd name="connsiteX26" fmla="*/ 2783840 w 3280410"/>
                <a:gd name="connsiteY26" fmla="*/ 36964 h 997210"/>
                <a:gd name="connsiteX27" fmla="*/ 2781554 w 3280410"/>
                <a:gd name="connsiteY27" fmla="*/ 36964 h 997210"/>
                <a:gd name="connsiteX28" fmla="*/ 2388616 w 3280410"/>
                <a:gd name="connsiteY28" fmla="*/ 256293 h 997210"/>
                <a:gd name="connsiteX29" fmla="*/ 2211007 w 3280410"/>
                <a:gd name="connsiteY29" fmla="*/ 356559 h 997210"/>
                <a:gd name="connsiteX30" fmla="*/ 2033714 w 3280410"/>
                <a:gd name="connsiteY30" fmla="*/ 257436 h 997210"/>
                <a:gd name="connsiteX31" fmla="*/ 1640078 w 3280410"/>
                <a:gd name="connsiteY31" fmla="*/ 36964 h 997210"/>
                <a:gd name="connsiteX32" fmla="*/ 1246442 w 3280410"/>
                <a:gd name="connsiteY32" fmla="*/ 257436 h 997210"/>
                <a:gd name="connsiteX33" fmla="*/ 1069594 w 3280410"/>
                <a:gd name="connsiteY33" fmla="*/ 356559 h 997210"/>
                <a:gd name="connsiteX34" fmla="*/ 891540 w 3280410"/>
                <a:gd name="connsiteY34" fmla="*/ 256293 h 997210"/>
                <a:gd name="connsiteX35" fmla="*/ 498602 w 3280410"/>
                <a:gd name="connsiteY35" fmla="*/ 36964 h 997210"/>
                <a:gd name="connsiteX36" fmla="*/ 496316 w 3280410"/>
                <a:gd name="connsiteY36" fmla="*/ 36964 h 997210"/>
                <a:gd name="connsiteX37" fmla="*/ 36957 w 3280410"/>
                <a:gd name="connsiteY37" fmla="*/ 498545 h 997210"/>
                <a:gd name="connsiteX38" fmla="*/ 498539 w 3280410"/>
                <a:gd name="connsiteY38" fmla="*/ 960127 h 997210"/>
                <a:gd name="connsiteX39" fmla="*/ 892175 w 3280410"/>
                <a:gd name="connsiteY39" fmla="*/ 739655 h 997210"/>
                <a:gd name="connsiteX40" fmla="*/ 1069086 w 3280410"/>
                <a:gd name="connsiteY40" fmla="*/ 640531 h 997210"/>
                <a:gd name="connsiteX41" fmla="*/ 1246378 w 3280410"/>
                <a:gd name="connsiteY41" fmla="*/ 739655 h 997210"/>
                <a:gd name="connsiteX42" fmla="*/ 1640014 w 3280410"/>
                <a:gd name="connsiteY42" fmla="*/ 960127 h 997210"/>
                <a:gd name="connsiteX43" fmla="*/ 2033651 w 3280410"/>
                <a:gd name="connsiteY43" fmla="*/ 739655 h 997210"/>
                <a:gd name="connsiteX44" fmla="*/ 2210499 w 3280410"/>
                <a:gd name="connsiteY44" fmla="*/ 640531 h 99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80410" h="997210">
                  <a:moveTo>
                    <a:pt x="2781554" y="997211"/>
                  </a:moveTo>
                  <a:cubicBezTo>
                    <a:pt x="2606802" y="997211"/>
                    <a:pt x="2447862" y="908184"/>
                    <a:pt x="2356358" y="759086"/>
                  </a:cubicBezTo>
                  <a:cubicBezTo>
                    <a:pt x="2325497" y="708857"/>
                    <a:pt x="2269808" y="677615"/>
                    <a:pt x="2211070" y="677615"/>
                  </a:cubicBezTo>
                  <a:cubicBezTo>
                    <a:pt x="2152333" y="677615"/>
                    <a:pt x="2096135" y="708857"/>
                    <a:pt x="2065338" y="759086"/>
                  </a:cubicBezTo>
                  <a:cubicBezTo>
                    <a:pt x="1973834" y="908184"/>
                    <a:pt x="1814830" y="997211"/>
                    <a:pt x="1640078" y="997211"/>
                  </a:cubicBezTo>
                  <a:cubicBezTo>
                    <a:pt x="1465326" y="997211"/>
                    <a:pt x="1306386" y="908184"/>
                    <a:pt x="1214819" y="759086"/>
                  </a:cubicBezTo>
                  <a:cubicBezTo>
                    <a:pt x="1183958" y="708857"/>
                    <a:pt x="1128332" y="677615"/>
                    <a:pt x="1069531" y="677615"/>
                  </a:cubicBezTo>
                  <a:cubicBezTo>
                    <a:pt x="1010730" y="677615"/>
                    <a:pt x="954596" y="708857"/>
                    <a:pt x="923798" y="759086"/>
                  </a:cubicBezTo>
                  <a:cubicBezTo>
                    <a:pt x="832295" y="908184"/>
                    <a:pt x="673291" y="997211"/>
                    <a:pt x="498602" y="997211"/>
                  </a:cubicBezTo>
                  <a:cubicBezTo>
                    <a:pt x="223647" y="997211"/>
                    <a:pt x="0" y="773500"/>
                    <a:pt x="0" y="498609"/>
                  </a:cubicBezTo>
                  <a:cubicBezTo>
                    <a:pt x="0" y="224987"/>
                    <a:pt x="222568" y="1277"/>
                    <a:pt x="496189" y="7"/>
                  </a:cubicBezTo>
                  <a:cubicBezTo>
                    <a:pt x="497015" y="7"/>
                    <a:pt x="497840" y="7"/>
                    <a:pt x="498666" y="7"/>
                  </a:cubicBezTo>
                  <a:cubicBezTo>
                    <a:pt x="672846" y="7"/>
                    <a:pt x="831342" y="88399"/>
                    <a:pt x="923100" y="236925"/>
                  </a:cubicBezTo>
                  <a:cubicBezTo>
                    <a:pt x="955104" y="288741"/>
                    <a:pt x="1009714" y="319666"/>
                    <a:pt x="1069213" y="319666"/>
                  </a:cubicBezTo>
                  <a:cubicBezTo>
                    <a:pt x="1128713" y="319666"/>
                    <a:pt x="1184085" y="288424"/>
                    <a:pt x="1214946" y="238195"/>
                  </a:cubicBezTo>
                  <a:cubicBezTo>
                    <a:pt x="1306449" y="89097"/>
                    <a:pt x="1465453" y="70"/>
                    <a:pt x="1640205" y="70"/>
                  </a:cubicBezTo>
                  <a:cubicBezTo>
                    <a:pt x="1814957" y="70"/>
                    <a:pt x="1973898" y="89097"/>
                    <a:pt x="2065464" y="238195"/>
                  </a:cubicBezTo>
                  <a:cubicBezTo>
                    <a:pt x="2096326" y="288424"/>
                    <a:pt x="2151952" y="319666"/>
                    <a:pt x="2210753" y="319666"/>
                  </a:cubicBezTo>
                  <a:cubicBezTo>
                    <a:pt x="2269554" y="319666"/>
                    <a:pt x="2325307" y="288741"/>
                    <a:pt x="2357311" y="236925"/>
                  </a:cubicBezTo>
                  <a:cubicBezTo>
                    <a:pt x="2449449" y="87764"/>
                    <a:pt x="2608771" y="-882"/>
                    <a:pt x="2784221" y="7"/>
                  </a:cubicBezTo>
                  <a:cubicBezTo>
                    <a:pt x="3057843" y="1340"/>
                    <a:pt x="3280410" y="224987"/>
                    <a:pt x="3280410" y="498609"/>
                  </a:cubicBezTo>
                  <a:cubicBezTo>
                    <a:pt x="3280410" y="773564"/>
                    <a:pt x="3056700" y="997211"/>
                    <a:pt x="2781808" y="997211"/>
                  </a:cubicBezTo>
                  <a:close/>
                  <a:moveTo>
                    <a:pt x="2210626" y="640531"/>
                  </a:moveTo>
                  <a:cubicBezTo>
                    <a:pt x="2282635" y="640531"/>
                    <a:pt x="2350453" y="678504"/>
                    <a:pt x="2387981" y="739655"/>
                  </a:cubicBezTo>
                  <a:cubicBezTo>
                    <a:pt x="2472690" y="877704"/>
                    <a:pt x="2619883" y="960127"/>
                    <a:pt x="2781618" y="960127"/>
                  </a:cubicBezTo>
                  <a:cubicBezTo>
                    <a:pt x="3036126" y="960127"/>
                    <a:pt x="3243199" y="753053"/>
                    <a:pt x="3243199" y="498545"/>
                  </a:cubicBezTo>
                  <a:cubicBezTo>
                    <a:pt x="3243199" y="245244"/>
                    <a:pt x="3037142" y="38170"/>
                    <a:pt x="2783840" y="36964"/>
                  </a:cubicBezTo>
                  <a:cubicBezTo>
                    <a:pt x="2783078" y="36964"/>
                    <a:pt x="2782316" y="36964"/>
                    <a:pt x="2781554" y="36964"/>
                  </a:cubicBezTo>
                  <a:cubicBezTo>
                    <a:pt x="2620328" y="36964"/>
                    <a:pt x="2473579" y="118815"/>
                    <a:pt x="2388616" y="256293"/>
                  </a:cubicBezTo>
                  <a:cubicBezTo>
                    <a:pt x="2349818" y="319094"/>
                    <a:pt x="2283397" y="356559"/>
                    <a:pt x="2211007" y="356559"/>
                  </a:cubicBezTo>
                  <a:cubicBezTo>
                    <a:pt x="2138617" y="356559"/>
                    <a:pt x="2071243" y="318586"/>
                    <a:pt x="2033714" y="257436"/>
                  </a:cubicBezTo>
                  <a:cubicBezTo>
                    <a:pt x="1949006" y="119387"/>
                    <a:pt x="1801813" y="36964"/>
                    <a:pt x="1640078" y="36964"/>
                  </a:cubicBezTo>
                  <a:cubicBezTo>
                    <a:pt x="1478344" y="36964"/>
                    <a:pt x="1331151" y="119387"/>
                    <a:pt x="1246442" y="257436"/>
                  </a:cubicBezTo>
                  <a:cubicBezTo>
                    <a:pt x="1208913" y="318586"/>
                    <a:pt x="1141159" y="356559"/>
                    <a:pt x="1069594" y="356559"/>
                  </a:cubicBezTo>
                  <a:cubicBezTo>
                    <a:pt x="998030" y="356559"/>
                    <a:pt x="930339" y="319094"/>
                    <a:pt x="891540" y="256293"/>
                  </a:cubicBezTo>
                  <a:cubicBezTo>
                    <a:pt x="806641" y="118815"/>
                    <a:pt x="659829" y="36964"/>
                    <a:pt x="498602" y="36964"/>
                  </a:cubicBezTo>
                  <a:cubicBezTo>
                    <a:pt x="497840" y="36964"/>
                    <a:pt x="497078" y="36964"/>
                    <a:pt x="496316" y="36964"/>
                  </a:cubicBezTo>
                  <a:cubicBezTo>
                    <a:pt x="243015" y="38170"/>
                    <a:pt x="36957" y="245244"/>
                    <a:pt x="36957" y="498545"/>
                  </a:cubicBezTo>
                  <a:cubicBezTo>
                    <a:pt x="36957" y="753053"/>
                    <a:pt x="244031" y="960127"/>
                    <a:pt x="498539" y="960127"/>
                  </a:cubicBezTo>
                  <a:cubicBezTo>
                    <a:pt x="660273" y="960127"/>
                    <a:pt x="807466" y="877704"/>
                    <a:pt x="892175" y="739655"/>
                  </a:cubicBezTo>
                  <a:cubicBezTo>
                    <a:pt x="929704" y="678504"/>
                    <a:pt x="997458" y="640531"/>
                    <a:pt x="1069086" y="640531"/>
                  </a:cubicBezTo>
                  <a:cubicBezTo>
                    <a:pt x="1140714" y="640531"/>
                    <a:pt x="1208913" y="678504"/>
                    <a:pt x="1246378" y="739655"/>
                  </a:cubicBezTo>
                  <a:cubicBezTo>
                    <a:pt x="1331087" y="877704"/>
                    <a:pt x="1478280" y="960127"/>
                    <a:pt x="1640014" y="960127"/>
                  </a:cubicBezTo>
                  <a:cubicBezTo>
                    <a:pt x="1801749" y="960127"/>
                    <a:pt x="1948942" y="877704"/>
                    <a:pt x="2033651" y="739655"/>
                  </a:cubicBezTo>
                  <a:cubicBezTo>
                    <a:pt x="2071180" y="678504"/>
                    <a:pt x="2138934" y="640531"/>
                    <a:pt x="2210499" y="640531"/>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38B56E87-8206-517E-4F44-6448013949F4}"/>
                </a:ext>
              </a:extLst>
            </p:cNvPr>
            <p:cNvSpPr/>
            <p:nvPr/>
          </p:nvSpPr>
          <p:spPr>
            <a:xfrm>
              <a:off x="1873440" y="5253735"/>
              <a:ext cx="601979" cy="294830"/>
            </a:xfrm>
            <a:custGeom>
              <a:avLst/>
              <a:gdLst>
                <a:gd name="connsiteX0" fmla="*/ 546862 w 601979"/>
                <a:gd name="connsiteY0" fmla="*/ 0 h 294830"/>
                <a:gd name="connsiteX1" fmla="*/ 23939 w 601979"/>
                <a:gd name="connsiteY1" fmla="*/ 242888 h 294830"/>
                <a:gd name="connsiteX2" fmla="*/ 0 w 601979"/>
                <a:gd name="connsiteY2" fmla="*/ 294830 h 294830"/>
                <a:gd name="connsiteX3" fmla="*/ 601980 w 601979"/>
                <a:gd name="connsiteY3" fmla="*/ 15177 h 294830"/>
                <a:gd name="connsiteX4" fmla="*/ 546799 w 601979"/>
                <a:gd name="connsiteY4" fmla="*/ 0 h 294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979" h="294830">
                  <a:moveTo>
                    <a:pt x="546862" y="0"/>
                  </a:moveTo>
                  <a:lnTo>
                    <a:pt x="23939" y="242888"/>
                  </a:lnTo>
                  <a:cubicBezTo>
                    <a:pt x="14923" y="259652"/>
                    <a:pt x="6985" y="276987"/>
                    <a:pt x="0" y="294830"/>
                  </a:cubicBezTo>
                  <a:lnTo>
                    <a:pt x="601980" y="15177"/>
                  </a:lnTo>
                  <a:cubicBezTo>
                    <a:pt x="584010" y="9080"/>
                    <a:pt x="565658" y="3937"/>
                    <a:pt x="546799" y="0"/>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722F50FB-E335-BCCF-DD3D-950F6991319B}"/>
                </a:ext>
              </a:extLst>
            </p:cNvPr>
            <p:cNvSpPr/>
            <p:nvPr/>
          </p:nvSpPr>
          <p:spPr>
            <a:xfrm>
              <a:off x="1840483" y="5335079"/>
              <a:ext cx="794892" cy="395033"/>
            </a:xfrm>
            <a:custGeom>
              <a:avLst/>
              <a:gdLst>
                <a:gd name="connsiteX0" fmla="*/ 762508 w 794892"/>
                <a:gd name="connsiteY0" fmla="*/ 0 h 395033"/>
                <a:gd name="connsiteX1" fmla="*/ 1397 w 794892"/>
                <a:gd name="connsiteY1" fmla="*/ 353568 h 395033"/>
                <a:gd name="connsiteX2" fmla="*/ 0 w 794892"/>
                <a:gd name="connsiteY2" fmla="*/ 388430 h 395033"/>
                <a:gd name="connsiteX3" fmla="*/ 127 w 794892"/>
                <a:gd name="connsiteY3" fmla="*/ 395034 h 395033"/>
                <a:gd name="connsiteX4" fmla="*/ 794893 w 794892"/>
                <a:gd name="connsiteY4" fmla="*/ 25845 h 395033"/>
                <a:gd name="connsiteX5" fmla="*/ 762508 w 794892"/>
                <a:gd name="connsiteY5" fmla="*/ 64 h 395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892" h="395033">
                  <a:moveTo>
                    <a:pt x="762508" y="0"/>
                  </a:moveTo>
                  <a:lnTo>
                    <a:pt x="1397" y="353568"/>
                  </a:lnTo>
                  <a:cubicBezTo>
                    <a:pt x="571" y="365061"/>
                    <a:pt x="0" y="376682"/>
                    <a:pt x="0" y="388430"/>
                  </a:cubicBezTo>
                  <a:cubicBezTo>
                    <a:pt x="0" y="390652"/>
                    <a:pt x="64" y="392811"/>
                    <a:pt x="127" y="395034"/>
                  </a:cubicBezTo>
                  <a:lnTo>
                    <a:pt x="794893" y="25845"/>
                  </a:lnTo>
                  <a:cubicBezTo>
                    <a:pt x="784479" y="16828"/>
                    <a:pt x="773684" y="8192"/>
                    <a:pt x="762508" y="64"/>
                  </a:cubicBez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0864CF5A-6E7C-A21E-6CC0-7B619969BE42}"/>
                </a:ext>
              </a:extLst>
            </p:cNvPr>
            <p:cNvSpPr/>
            <p:nvPr/>
          </p:nvSpPr>
          <p:spPr>
            <a:xfrm>
              <a:off x="1856803" y="5449315"/>
              <a:ext cx="878204" cy="434276"/>
            </a:xfrm>
            <a:custGeom>
              <a:avLst/>
              <a:gdLst>
                <a:gd name="connsiteX0" fmla="*/ 858076 w 878204"/>
                <a:gd name="connsiteY0" fmla="*/ 0 h 434276"/>
                <a:gd name="connsiteX1" fmla="*/ 0 w 878204"/>
                <a:gd name="connsiteY1" fmla="*/ 398590 h 434276"/>
                <a:gd name="connsiteX2" fmla="*/ 11113 w 878204"/>
                <a:gd name="connsiteY2" fmla="*/ 434277 h 434276"/>
                <a:gd name="connsiteX3" fmla="*/ 878205 w 878204"/>
                <a:gd name="connsiteY3" fmla="*/ 31496 h 434276"/>
                <a:gd name="connsiteX4" fmla="*/ 858076 w 878204"/>
                <a:gd name="connsiteY4" fmla="*/ 0 h 4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204" h="434276">
                  <a:moveTo>
                    <a:pt x="858076" y="0"/>
                  </a:moveTo>
                  <a:lnTo>
                    <a:pt x="0" y="398590"/>
                  </a:lnTo>
                  <a:cubicBezTo>
                    <a:pt x="3239" y="410655"/>
                    <a:pt x="6985" y="422593"/>
                    <a:pt x="11113" y="434277"/>
                  </a:cubicBezTo>
                  <a:lnTo>
                    <a:pt x="878205" y="31496"/>
                  </a:lnTo>
                  <a:cubicBezTo>
                    <a:pt x="871919" y="20701"/>
                    <a:pt x="865188" y="10224"/>
                    <a:pt x="858076" y="0"/>
                  </a:cubicBez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37EB3414-42B7-963C-95EC-7A37342C590E}"/>
                </a:ext>
              </a:extLst>
            </p:cNvPr>
            <p:cNvSpPr/>
            <p:nvPr/>
          </p:nvSpPr>
          <p:spPr>
            <a:xfrm>
              <a:off x="2025332" y="5742051"/>
              <a:ext cx="774953" cy="384683"/>
            </a:xfrm>
            <a:custGeom>
              <a:avLst/>
              <a:gdLst>
                <a:gd name="connsiteX0" fmla="*/ 774954 w 774953"/>
                <a:gd name="connsiteY0" fmla="*/ 0 h 384683"/>
                <a:gd name="connsiteX1" fmla="*/ 0 w 774953"/>
                <a:gd name="connsiteY1" fmla="*/ 359982 h 384683"/>
                <a:gd name="connsiteX2" fmla="*/ 34671 w 774953"/>
                <a:gd name="connsiteY2" fmla="*/ 384683 h 384683"/>
                <a:gd name="connsiteX3" fmla="*/ 771461 w 774953"/>
                <a:gd name="connsiteY3" fmla="*/ 42418 h 384683"/>
                <a:gd name="connsiteX4" fmla="*/ 774891 w 774953"/>
                <a:gd name="connsiteY4" fmla="*/ 0 h 384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953" h="384683">
                  <a:moveTo>
                    <a:pt x="774954" y="0"/>
                  </a:moveTo>
                  <a:lnTo>
                    <a:pt x="0" y="359982"/>
                  </a:lnTo>
                  <a:cubicBezTo>
                    <a:pt x="11176" y="368745"/>
                    <a:pt x="22733" y="376999"/>
                    <a:pt x="34671" y="384683"/>
                  </a:cubicBezTo>
                  <a:lnTo>
                    <a:pt x="771461" y="42418"/>
                  </a:lnTo>
                  <a:cubicBezTo>
                    <a:pt x="773239" y="28448"/>
                    <a:pt x="774382" y="14288"/>
                    <a:pt x="774891" y="0"/>
                  </a:cubicBez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C9F9EB46-EB31-F67F-20D4-19E336883A79}"/>
                </a:ext>
              </a:extLst>
            </p:cNvPr>
            <p:cNvSpPr/>
            <p:nvPr/>
          </p:nvSpPr>
          <p:spPr>
            <a:xfrm>
              <a:off x="2142172" y="5929629"/>
              <a:ext cx="612076" cy="319404"/>
            </a:xfrm>
            <a:custGeom>
              <a:avLst/>
              <a:gdLst>
                <a:gd name="connsiteX0" fmla="*/ 612076 w 612076"/>
                <a:gd name="connsiteY0" fmla="*/ 0 h 319404"/>
                <a:gd name="connsiteX1" fmla="*/ 0 w 612076"/>
                <a:gd name="connsiteY1" fmla="*/ 284290 h 319404"/>
                <a:gd name="connsiteX2" fmla="*/ 12382 w 612076"/>
                <a:gd name="connsiteY2" fmla="*/ 319405 h 319404"/>
                <a:gd name="connsiteX3" fmla="*/ 581216 w 612076"/>
                <a:gd name="connsiteY3" fmla="*/ 55182 h 319404"/>
                <a:gd name="connsiteX4" fmla="*/ 612076 w 612076"/>
                <a:gd name="connsiteY4" fmla="*/ 0 h 319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76" h="319404">
                  <a:moveTo>
                    <a:pt x="612076" y="0"/>
                  </a:moveTo>
                  <a:lnTo>
                    <a:pt x="0" y="284290"/>
                  </a:lnTo>
                  <a:cubicBezTo>
                    <a:pt x="5270" y="295529"/>
                    <a:pt x="9398" y="307277"/>
                    <a:pt x="12382" y="319405"/>
                  </a:cubicBezTo>
                  <a:lnTo>
                    <a:pt x="581216" y="55182"/>
                  </a:lnTo>
                  <a:cubicBezTo>
                    <a:pt x="592645" y="37529"/>
                    <a:pt x="602996" y="19114"/>
                    <a:pt x="612076" y="0"/>
                  </a:cubicBez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202370E2-1CBE-E4CC-FB0C-56D5109756FD}"/>
                </a:ext>
              </a:extLst>
            </p:cNvPr>
            <p:cNvSpPr/>
            <p:nvPr/>
          </p:nvSpPr>
          <p:spPr>
            <a:xfrm>
              <a:off x="1918271" y="5585015"/>
              <a:ext cx="871537" cy="431164"/>
            </a:xfrm>
            <a:custGeom>
              <a:avLst/>
              <a:gdLst>
                <a:gd name="connsiteX0" fmla="*/ 862139 w 871537"/>
                <a:gd name="connsiteY0" fmla="*/ 63 h 431164"/>
                <a:gd name="connsiteX1" fmla="*/ 0 w 871537"/>
                <a:gd name="connsiteY1" fmla="*/ 400494 h 431164"/>
                <a:gd name="connsiteX2" fmla="*/ 21844 w 871537"/>
                <a:gd name="connsiteY2" fmla="*/ 431165 h 431164"/>
                <a:gd name="connsiteX3" fmla="*/ 871538 w 871537"/>
                <a:gd name="connsiteY3" fmla="*/ 36449 h 431164"/>
                <a:gd name="connsiteX4" fmla="*/ 862139 w 871537"/>
                <a:gd name="connsiteY4" fmla="*/ 0 h 431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37" h="431164">
                  <a:moveTo>
                    <a:pt x="862139" y="63"/>
                  </a:moveTo>
                  <a:lnTo>
                    <a:pt x="0" y="400494"/>
                  </a:lnTo>
                  <a:cubicBezTo>
                    <a:pt x="6858" y="411035"/>
                    <a:pt x="14161" y="421259"/>
                    <a:pt x="21844" y="431165"/>
                  </a:cubicBezTo>
                  <a:lnTo>
                    <a:pt x="871538" y="36449"/>
                  </a:lnTo>
                  <a:cubicBezTo>
                    <a:pt x="868871" y="24130"/>
                    <a:pt x="865696" y="11938"/>
                    <a:pt x="862139" y="0"/>
                  </a:cubicBez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6261C516-9C39-C860-CD07-FC7BDD822A82}"/>
                </a:ext>
              </a:extLst>
            </p:cNvPr>
            <p:cNvSpPr/>
            <p:nvPr/>
          </p:nvSpPr>
          <p:spPr>
            <a:xfrm>
              <a:off x="2074862" y="6214364"/>
              <a:ext cx="424179" cy="237870"/>
            </a:xfrm>
            <a:custGeom>
              <a:avLst/>
              <a:gdLst>
                <a:gd name="connsiteX0" fmla="*/ 424117 w 424179"/>
                <a:gd name="connsiteY0" fmla="*/ 0 h 237870"/>
                <a:gd name="connsiteX1" fmla="*/ 63690 w 424179"/>
                <a:gd name="connsiteY1" fmla="*/ 167449 h 237870"/>
                <a:gd name="connsiteX2" fmla="*/ 0 w 424179"/>
                <a:gd name="connsiteY2" fmla="*/ 237871 h 237870"/>
                <a:gd name="connsiteX3" fmla="*/ 409067 w 424179"/>
                <a:gd name="connsiteY3" fmla="*/ 47879 h 237870"/>
                <a:gd name="connsiteX4" fmla="*/ 424180 w 424179"/>
                <a:gd name="connsiteY4" fmla="*/ 64 h 237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179" h="237870">
                  <a:moveTo>
                    <a:pt x="424117" y="0"/>
                  </a:moveTo>
                  <a:lnTo>
                    <a:pt x="63690" y="167449"/>
                  </a:lnTo>
                  <a:cubicBezTo>
                    <a:pt x="49022" y="195580"/>
                    <a:pt x="27242" y="219901"/>
                    <a:pt x="0" y="237871"/>
                  </a:cubicBezTo>
                  <a:lnTo>
                    <a:pt x="409067" y="47879"/>
                  </a:lnTo>
                  <a:cubicBezTo>
                    <a:pt x="411924" y="31242"/>
                    <a:pt x="417068" y="15113"/>
                    <a:pt x="424180" y="64"/>
                  </a:cubicBez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36D86AEB-CF63-FAE8-01AE-301C50E1FA61}"/>
                </a:ext>
              </a:extLst>
            </p:cNvPr>
            <p:cNvSpPr/>
            <p:nvPr/>
          </p:nvSpPr>
          <p:spPr>
            <a:xfrm>
              <a:off x="1863979" y="6379464"/>
              <a:ext cx="657478" cy="336867"/>
            </a:xfrm>
            <a:custGeom>
              <a:avLst/>
              <a:gdLst>
                <a:gd name="connsiteX0" fmla="*/ 637413 w 657478"/>
                <a:gd name="connsiteY0" fmla="*/ 0 h 336867"/>
                <a:gd name="connsiteX1" fmla="*/ 19304 w 657478"/>
                <a:gd name="connsiteY1" fmla="*/ 287083 h 336867"/>
                <a:gd name="connsiteX2" fmla="*/ 0 w 657478"/>
                <a:gd name="connsiteY2" fmla="*/ 336867 h 336867"/>
                <a:gd name="connsiteX3" fmla="*/ 657479 w 657478"/>
                <a:gd name="connsiteY3" fmla="*/ 31496 h 336867"/>
                <a:gd name="connsiteX4" fmla="*/ 637413 w 657478"/>
                <a:gd name="connsiteY4" fmla="*/ 0 h 336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478" h="336867">
                  <a:moveTo>
                    <a:pt x="637413" y="0"/>
                  </a:moveTo>
                  <a:lnTo>
                    <a:pt x="19304" y="287083"/>
                  </a:lnTo>
                  <a:cubicBezTo>
                    <a:pt x="11938" y="303213"/>
                    <a:pt x="5524" y="319849"/>
                    <a:pt x="0" y="336867"/>
                  </a:cubicBezTo>
                  <a:lnTo>
                    <a:pt x="657479" y="31496"/>
                  </a:lnTo>
                  <a:cubicBezTo>
                    <a:pt x="649732" y="21653"/>
                    <a:pt x="643064" y="11113"/>
                    <a:pt x="637413" y="0"/>
                  </a:cubicBez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519133FB-0920-029E-C252-B63F8FD2F426}"/>
                </a:ext>
              </a:extLst>
            </p:cNvPr>
            <p:cNvSpPr/>
            <p:nvPr/>
          </p:nvSpPr>
          <p:spPr>
            <a:xfrm>
              <a:off x="1889442" y="684212"/>
              <a:ext cx="533336" cy="257936"/>
            </a:xfrm>
            <a:custGeom>
              <a:avLst/>
              <a:gdLst>
                <a:gd name="connsiteX0" fmla="*/ 467424 w 533336"/>
                <a:gd name="connsiteY0" fmla="*/ 0 h 257936"/>
                <a:gd name="connsiteX1" fmla="*/ 34671 w 533336"/>
                <a:gd name="connsiteY1" fmla="*/ 200977 h 257936"/>
                <a:gd name="connsiteX2" fmla="*/ 0 w 533336"/>
                <a:gd name="connsiteY2" fmla="*/ 257937 h 257936"/>
                <a:gd name="connsiteX3" fmla="*/ 533337 w 533336"/>
                <a:gd name="connsiteY3" fmla="*/ 10224 h 257936"/>
                <a:gd name="connsiteX4" fmla="*/ 467424 w 533336"/>
                <a:gd name="connsiteY4" fmla="*/ 0 h 257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336" h="257936">
                  <a:moveTo>
                    <a:pt x="467424" y="0"/>
                  </a:moveTo>
                  <a:lnTo>
                    <a:pt x="34671" y="200977"/>
                  </a:lnTo>
                  <a:cubicBezTo>
                    <a:pt x="21844" y="219075"/>
                    <a:pt x="10224" y="238125"/>
                    <a:pt x="0" y="257937"/>
                  </a:cubicBezTo>
                  <a:lnTo>
                    <a:pt x="533337" y="10224"/>
                  </a:lnTo>
                  <a:cubicBezTo>
                    <a:pt x="511874" y="5334"/>
                    <a:pt x="489903" y="1905"/>
                    <a:pt x="467424" y="0"/>
                  </a:cubicBez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5CCD30E0-E107-C799-71B3-4FE76ACBEA42}"/>
                </a:ext>
              </a:extLst>
            </p:cNvPr>
            <p:cNvSpPr/>
            <p:nvPr/>
          </p:nvSpPr>
          <p:spPr>
            <a:xfrm>
              <a:off x="1836864" y="752983"/>
              <a:ext cx="765555" cy="379856"/>
            </a:xfrm>
            <a:custGeom>
              <a:avLst/>
              <a:gdLst>
                <a:gd name="connsiteX0" fmla="*/ 729742 w 765555"/>
                <a:gd name="connsiteY0" fmla="*/ 0 h 379856"/>
                <a:gd name="connsiteX1" fmla="*/ 4445 w 765555"/>
                <a:gd name="connsiteY1" fmla="*/ 336931 h 379856"/>
                <a:gd name="connsiteX2" fmla="*/ 0 w 765555"/>
                <a:gd name="connsiteY2" fmla="*/ 379857 h 379856"/>
                <a:gd name="connsiteX3" fmla="*/ 765556 w 765555"/>
                <a:gd name="connsiteY3" fmla="*/ 24257 h 379856"/>
                <a:gd name="connsiteX4" fmla="*/ 729742 w 765555"/>
                <a:gd name="connsiteY4" fmla="*/ 63 h 379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555" h="379856">
                  <a:moveTo>
                    <a:pt x="729742" y="0"/>
                  </a:moveTo>
                  <a:lnTo>
                    <a:pt x="4445" y="336931"/>
                  </a:lnTo>
                  <a:cubicBezTo>
                    <a:pt x="2286" y="351028"/>
                    <a:pt x="889" y="365379"/>
                    <a:pt x="0" y="379857"/>
                  </a:cubicBezTo>
                  <a:lnTo>
                    <a:pt x="765556" y="24257"/>
                  </a:lnTo>
                  <a:cubicBezTo>
                    <a:pt x="753999" y="15685"/>
                    <a:pt x="742061" y="7620"/>
                    <a:pt x="729742" y="63"/>
                  </a:cubicBez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A7D696A8-B19E-BB13-8975-A605EDF741FA}"/>
                </a:ext>
              </a:extLst>
            </p:cNvPr>
            <p:cNvSpPr/>
            <p:nvPr/>
          </p:nvSpPr>
          <p:spPr>
            <a:xfrm>
              <a:off x="1844801" y="861822"/>
              <a:ext cx="867981" cy="429450"/>
            </a:xfrm>
            <a:custGeom>
              <a:avLst/>
              <a:gdLst>
                <a:gd name="connsiteX0" fmla="*/ 845376 w 867981"/>
                <a:gd name="connsiteY0" fmla="*/ 0 h 429450"/>
                <a:gd name="connsiteX1" fmla="*/ 0 w 867981"/>
                <a:gd name="connsiteY1" fmla="*/ 392684 h 429450"/>
                <a:gd name="connsiteX2" fmla="*/ 8700 w 867981"/>
                <a:gd name="connsiteY2" fmla="*/ 429451 h 429450"/>
                <a:gd name="connsiteX3" fmla="*/ 867982 w 867981"/>
                <a:gd name="connsiteY3" fmla="*/ 30353 h 429450"/>
                <a:gd name="connsiteX4" fmla="*/ 845376 w 867981"/>
                <a:gd name="connsiteY4" fmla="*/ 0 h 429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981" h="429450">
                  <a:moveTo>
                    <a:pt x="845376" y="0"/>
                  </a:moveTo>
                  <a:lnTo>
                    <a:pt x="0" y="392684"/>
                  </a:lnTo>
                  <a:cubicBezTo>
                    <a:pt x="2413" y="405130"/>
                    <a:pt x="5334" y="417385"/>
                    <a:pt x="8700" y="429451"/>
                  </a:cubicBezTo>
                  <a:lnTo>
                    <a:pt x="867982" y="30353"/>
                  </a:lnTo>
                  <a:cubicBezTo>
                    <a:pt x="860870" y="19939"/>
                    <a:pt x="853313" y="9843"/>
                    <a:pt x="845376" y="0"/>
                  </a:cubicBez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3D6C6A15-6EB5-3C6E-2B96-87C21D0FEC01}"/>
                </a:ext>
              </a:extLst>
            </p:cNvPr>
            <p:cNvSpPr/>
            <p:nvPr/>
          </p:nvSpPr>
          <p:spPr>
            <a:xfrm>
              <a:off x="1896745" y="993139"/>
              <a:ext cx="880236" cy="435229"/>
            </a:xfrm>
            <a:custGeom>
              <a:avLst/>
              <a:gdLst>
                <a:gd name="connsiteX0" fmla="*/ 868489 w 880236"/>
                <a:gd name="connsiteY0" fmla="*/ 0 h 435229"/>
                <a:gd name="connsiteX1" fmla="*/ 0 w 880236"/>
                <a:gd name="connsiteY1" fmla="*/ 403416 h 435229"/>
                <a:gd name="connsiteX2" fmla="*/ 19431 w 880236"/>
                <a:gd name="connsiteY2" fmla="*/ 435229 h 435229"/>
                <a:gd name="connsiteX3" fmla="*/ 880237 w 880236"/>
                <a:gd name="connsiteY3" fmla="*/ 35370 h 435229"/>
                <a:gd name="connsiteX4" fmla="*/ 868489 w 880236"/>
                <a:gd name="connsiteY4" fmla="*/ 0 h 435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36" h="435229">
                  <a:moveTo>
                    <a:pt x="868489" y="0"/>
                  </a:moveTo>
                  <a:lnTo>
                    <a:pt x="0" y="403416"/>
                  </a:lnTo>
                  <a:cubicBezTo>
                    <a:pt x="6096" y="414274"/>
                    <a:pt x="12510" y="424942"/>
                    <a:pt x="19431" y="435229"/>
                  </a:cubicBezTo>
                  <a:lnTo>
                    <a:pt x="880237" y="35370"/>
                  </a:lnTo>
                  <a:cubicBezTo>
                    <a:pt x="876744" y="23368"/>
                    <a:pt x="872871" y="11557"/>
                    <a:pt x="868489" y="0"/>
                  </a:cubicBez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665ADB24-8149-F8F8-E4DE-F02695CA739A}"/>
                </a:ext>
              </a:extLst>
            </p:cNvPr>
            <p:cNvSpPr/>
            <p:nvPr/>
          </p:nvSpPr>
          <p:spPr>
            <a:xfrm>
              <a:off x="1993201" y="1145222"/>
              <a:ext cx="802893" cy="398906"/>
            </a:xfrm>
            <a:custGeom>
              <a:avLst/>
              <a:gdLst>
                <a:gd name="connsiteX0" fmla="*/ 802894 w 802893"/>
                <a:gd name="connsiteY0" fmla="*/ 17272 h 398906"/>
                <a:gd name="connsiteX1" fmla="*/ 802450 w 802893"/>
                <a:gd name="connsiteY1" fmla="*/ 0 h 398906"/>
                <a:gd name="connsiteX2" fmla="*/ 0 w 802893"/>
                <a:gd name="connsiteY2" fmla="*/ 372745 h 398906"/>
                <a:gd name="connsiteX3" fmla="*/ 31559 w 802893"/>
                <a:gd name="connsiteY3" fmla="*/ 398907 h 398906"/>
                <a:gd name="connsiteX4" fmla="*/ 802322 w 802893"/>
                <a:gd name="connsiteY4" fmla="*/ 40894 h 398906"/>
                <a:gd name="connsiteX5" fmla="*/ 802894 w 802893"/>
                <a:gd name="connsiteY5" fmla="*/ 17272 h 39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93" h="398906">
                  <a:moveTo>
                    <a:pt x="802894" y="17272"/>
                  </a:moveTo>
                  <a:cubicBezTo>
                    <a:pt x="802894" y="11493"/>
                    <a:pt x="802640" y="5715"/>
                    <a:pt x="802450" y="0"/>
                  </a:cubicBezTo>
                  <a:lnTo>
                    <a:pt x="0" y="372745"/>
                  </a:lnTo>
                  <a:cubicBezTo>
                    <a:pt x="10096" y="381952"/>
                    <a:pt x="20701" y="390652"/>
                    <a:pt x="31559" y="398907"/>
                  </a:cubicBezTo>
                  <a:lnTo>
                    <a:pt x="802322" y="40894"/>
                  </a:lnTo>
                  <a:cubicBezTo>
                    <a:pt x="802703" y="33083"/>
                    <a:pt x="802894" y="25210"/>
                    <a:pt x="802894" y="17272"/>
                  </a:cubicBez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5AEE8C9A-AD37-6629-23E0-32BDCA37E4C0}"/>
                </a:ext>
              </a:extLst>
            </p:cNvPr>
            <p:cNvSpPr/>
            <p:nvPr/>
          </p:nvSpPr>
          <p:spPr>
            <a:xfrm>
              <a:off x="2147887" y="1324228"/>
              <a:ext cx="620204" cy="304419"/>
            </a:xfrm>
            <a:custGeom>
              <a:avLst/>
              <a:gdLst>
                <a:gd name="connsiteX0" fmla="*/ 598551 w 620204"/>
                <a:gd name="connsiteY0" fmla="*/ 50864 h 304419"/>
                <a:gd name="connsiteX1" fmla="*/ 620205 w 620204"/>
                <a:gd name="connsiteY1" fmla="*/ 0 h 304419"/>
                <a:gd name="connsiteX2" fmla="*/ 0 w 620204"/>
                <a:gd name="connsiteY2" fmla="*/ 288100 h 304419"/>
                <a:gd name="connsiteX3" fmla="*/ 52832 w 620204"/>
                <a:gd name="connsiteY3" fmla="*/ 304419 h 304419"/>
                <a:gd name="connsiteX4" fmla="*/ 598614 w 620204"/>
                <a:gd name="connsiteY4" fmla="*/ 50927 h 30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204" h="304419">
                  <a:moveTo>
                    <a:pt x="598551" y="50864"/>
                  </a:moveTo>
                  <a:cubicBezTo>
                    <a:pt x="606679" y="34417"/>
                    <a:pt x="613918" y="17463"/>
                    <a:pt x="620205" y="0"/>
                  </a:cubicBezTo>
                  <a:lnTo>
                    <a:pt x="0" y="288100"/>
                  </a:lnTo>
                  <a:cubicBezTo>
                    <a:pt x="17145" y="294513"/>
                    <a:pt x="34798" y="299974"/>
                    <a:pt x="52832" y="304419"/>
                  </a:cubicBezTo>
                  <a:lnTo>
                    <a:pt x="598614" y="50927"/>
                  </a:ln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7FE4B0D1-8EE6-10BC-64E9-5CAF936E2962}"/>
                </a:ext>
              </a:extLst>
            </p:cNvPr>
            <p:cNvSpPr/>
            <p:nvPr/>
          </p:nvSpPr>
          <p:spPr>
            <a:xfrm>
              <a:off x="729361" y="684212"/>
              <a:ext cx="533336" cy="257936"/>
            </a:xfrm>
            <a:custGeom>
              <a:avLst/>
              <a:gdLst>
                <a:gd name="connsiteX0" fmla="*/ 467424 w 533336"/>
                <a:gd name="connsiteY0" fmla="*/ 0 h 257936"/>
                <a:gd name="connsiteX1" fmla="*/ 34671 w 533336"/>
                <a:gd name="connsiteY1" fmla="*/ 200977 h 257936"/>
                <a:gd name="connsiteX2" fmla="*/ 0 w 533336"/>
                <a:gd name="connsiteY2" fmla="*/ 257937 h 257936"/>
                <a:gd name="connsiteX3" fmla="*/ 533337 w 533336"/>
                <a:gd name="connsiteY3" fmla="*/ 10224 h 257936"/>
                <a:gd name="connsiteX4" fmla="*/ 467424 w 533336"/>
                <a:gd name="connsiteY4" fmla="*/ 0 h 257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336" h="257936">
                  <a:moveTo>
                    <a:pt x="467424" y="0"/>
                  </a:moveTo>
                  <a:lnTo>
                    <a:pt x="34671" y="200977"/>
                  </a:lnTo>
                  <a:cubicBezTo>
                    <a:pt x="21844" y="219075"/>
                    <a:pt x="10224" y="238125"/>
                    <a:pt x="0" y="257937"/>
                  </a:cubicBezTo>
                  <a:lnTo>
                    <a:pt x="533337" y="10224"/>
                  </a:lnTo>
                  <a:cubicBezTo>
                    <a:pt x="511874" y="5334"/>
                    <a:pt x="489902" y="1905"/>
                    <a:pt x="467424" y="0"/>
                  </a:cubicBez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26EFFA0A-ACC0-7E8D-A355-E626947E87C6}"/>
                </a:ext>
              </a:extLst>
            </p:cNvPr>
            <p:cNvSpPr/>
            <p:nvPr/>
          </p:nvSpPr>
          <p:spPr>
            <a:xfrm>
              <a:off x="676846" y="752983"/>
              <a:ext cx="765555" cy="379856"/>
            </a:xfrm>
            <a:custGeom>
              <a:avLst/>
              <a:gdLst>
                <a:gd name="connsiteX0" fmla="*/ 729742 w 765555"/>
                <a:gd name="connsiteY0" fmla="*/ 0 h 379856"/>
                <a:gd name="connsiteX1" fmla="*/ 4445 w 765555"/>
                <a:gd name="connsiteY1" fmla="*/ 336931 h 379856"/>
                <a:gd name="connsiteX2" fmla="*/ 0 w 765555"/>
                <a:gd name="connsiteY2" fmla="*/ 379857 h 379856"/>
                <a:gd name="connsiteX3" fmla="*/ 765556 w 765555"/>
                <a:gd name="connsiteY3" fmla="*/ 24257 h 379856"/>
                <a:gd name="connsiteX4" fmla="*/ 729742 w 765555"/>
                <a:gd name="connsiteY4" fmla="*/ 63 h 379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555" h="379856">
                  <a:moveTo>
                    <a:pt x="729742" y="0"/>
                  </a:moveTo>
                  <a:lnTo>
                    <a:pt x="4445" y="336931"/>
                  </a:lnTo>
                  <a:cubicBezTo>
                    <a:pt x="2286" y="351028"/>
                    <a:pt x="889" y="365379"/>
                    <a:pt x="0" y="379857"/>
                  </a:cubicBezTo>
                  <a:lnTo>
                    <a:pt x="765556" y="24257"/>
                  </a:lnTo>
                  <a:cubicBezTo>
                    <a:pt x="753999" y="15685"/>
                    <a:pt x="742061" y="7620"/>
                    <a:pt x="729742" y="63"/>
                  </a:cubicBez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01D883BD-9AC6-056C-AB2F-A4E87853F8AB}"/>
                </a:ext>
              </a:extLst>
            </p:cNvPr>
            <p:cNvSpPr/>
            <p:nvPr/>
          </p:nvSpPr>
          <p:spPr>
            <a:xfrm>
              <a:off x="684720" y="861822"/>
              <a:ext cx="867981" cy="429450"/>
            </a:xfrm>
            <a:custGeom>
              <a:avLst/>
              <a:gdLst>
                <a:gd name="connsiteX0" fmla="*/ 845376 w 867981"/>
                <a:gd name="connsiteY0" fmla="*/ 0 h 429450"/>
                <a:gd name="connsiteX1" fmla="*/ 0 w 867981"/>
                <a:gd name="connsiteY1" fmla="*/ 392684 h 429450"/>
                <a:gd name="connsiteX2" fmla="*/ 8699 w 867981"/>
                <a:gd name="connsiteY2" fmla="*/ 429451 h 429450"/>
                <a:gd name="connsiteX3" fmla="*/ 867982 w 867981"/>
                <a:gd name="connsiteY3" fmla="*/ 30353 h 429450"/>
                <a:gd name="connsiteX4" fmla="*/ 845376 w 867981"/>
                <a:gd name="connsiteY4" fmla="*/ 0 h 429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981" h="429450">
                  <a:moveTo>
                    <a:pt x="845376" y="0"/>
                  </a:moveTo>
                  <a:lnTo>
                    <a:pt x="0" y="392684"/>
                  </a:lnTo>
                  <a:cubicBezTo>
                    <a:pt x="2413" y="405130"/>
                    <a:pt x="5334" y="417385"/>
                    <a:pt x="8699" y="429451"/>
                  </a:cubicBezTo>
                  <a:lnTo>
                    <a:pt x="867982" y="30353"/>
                  </a:lnTo>
                  <a:cubicBezTo>
                    <a:pt x="860869" y="19939"/>
                    <a:pt x="853313" y="9843"/>
                    <a:pt x="845376" y="0"/>
                  </a:cubicBez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E735E201-49D7-B422-D6CF-C27879127F67}"/>
                </a:ext>
              </a:extLst>
            </p:cNvPr>
            <p:cNvSpPr/>
            <p:nvPr/>
          </p:nvSpPr>
          <p:spPr>
            <a:xfrm>
              <a:off x="736726" y="993139"/>
              <a:ext cx="880237" cy="435229"/>
            </a:xfrm>
            <a:custGeom>
              <a:avLst/>
              <a:gdLst>
                <a:gd name="connsiteX0" fmla="*/ 868490 w 880237"/>
                <a:gd name="connsiteY0" fmla="*/ 0 h 435229"/>
                <a:gd name="connsiteX1" fmla="*/ 0 w 880237"/>
                <a:gd name="connsiteY1" fmla="*/ 403416 h 435229"/>
                <a:gd name="connsiteX2" fmla="*/ 19431 w 880237"/>
                <a:gd name="connsiteY2" fmla="*/ 435229 h 435229"/>
                <a:gd name="connsiteX3" fmla="*/ 880237 w 880237"/>
                <a:gd name="connsiteY3" fmla="*/ 35370 h 435229"/>
                <a:gd name="connsiteX4" fmla="*/ 868490 w 880237"/>
                <a:gd name="connsiteY4" fmla="*/ 0 h 435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37" h="435229">
                  <a:moveTo>
                    <a:pt x="868490" y="0"/>
                  </a:moveTo>
                  <a:lnTo>
                    <a:pt x="0" y="403416"/>
                  </a:lnTo>
                  <a:cubicBezTo>
                    <a:pt x="6096" y="414274"/>
                    <a:pt x="12510" y="424942"/>
                    <a:pt x="19431" y="435229"/>
                  </a:cubicBezTo>
                  <a:lnTo>
                    <a:pt x="880237" y="35370"/>
                  </a:lnTo>
                  <a:cubicBezTo>
                    <a:pt x="876745" y="23368"/>
                    <a:pt x="872871" y="11557"/>
                    <a:pt x="868490" y="0"/>
                  </a:cubicBez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4B959759-C8B2-B7A3-692E-D3D0A0FCBCA8}"/>
                </a:ext>
              </a:extLst>
            </p:cNvPr>
            <p:cNvSpPr/>
            <p:nvPr/>
          </p:nvSpPr>
          <p:spPr>
            <a:xfrm>
              <a:off x="833119" y="1145222"/>
              <a:ext cx="802894" cy="398906"/>
            </a:xfrm>
            <a:custGeom>
              <a:avLst/>
              <a:gdLst>
                <a:gd name="connsiteX0" fmla="*/ 802894 w 802894"/>
                <a:gd name="connsiteY0" fmla="*/ 17272 h 398906"/>
                <a:gd name="connsiteX1" fmla="*/ 802450 w 802894"/>
                <a:gd name="connsiteY1" fmla="*/ 0 h 398906"/>
                <a:gd name="connsiteX2" fmla="*/ 0 w 802894"/>
                <a:gd name="connsiteY2" fmla="*/ 372745 h 398906"/>
                <a:gd name="connsiteX3" fmla="*/ 31560 w 802894"/>
                <a:gd name="connsiteY3" fmla="*/ 398907 h 398906"/>
                <a:gd name="connsiteX4" fmla="*/ 802322 w 802894"/>
                <a:gd name="connsiteY4" fmla="*/ 40894 h 398906"/>
                <a:gd name="connsiteX5" fmla="*/ 802894 w 802894"/>
                <a:gd name="connsiteY5" fmla="*/ 17272 h 39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94" h="398906">
                  <a:moveTo>
                    <a:pt x="802894" y="17272"/>
                  </a:moveTo>
                  <a:cubicBezTo>
                    <a:pt x="802894" y="11493"/>
                    <a:pt x="802640" y="5715"/>
                    <a:pt x="802450" y="0"/>
                  </a:cubicBezTo>
                  <a:lnTo>
                    <a:pt x="0" y="372745"/>
                  </a:lnTo>
                  <a:cubicBezTo>
                    <a:pt x="10096" y="381952"/>
                    <a:pt x="20701" y="390652"/>
                    <a:pt x="31560" y="398907"/>
                  </a:cubicBezTo>
                  <a:lnTo>
                    <a:pt x="802322" y="40894"/>
                  </a:lnTo>
                  <a:cubicBezTo>
                    <a:pt x="802703" y="33083"/>
                    <a:pt x="802894" y="25210"/>
                    <a:pt x="802894" y="17272"/>
                  </a:cubicBez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F319F6BF-B044-F710-81BD-9176FEC7A514}"/>
                </a:ext>
              </a:extLst>
            </p:cNvPr>
            <p:cNvSpPr/>
            <p:nvPr/>
          </p:nvSpPr>
          <p:spPr>
            <a:xfrm>
              <a:off x="987869" y="1324228"/>
              <a:ext cx="620204" cy="304419"/>
            </a:xfrm>
            <a:custGeom>
              <a:avLst/>
              <a:gdLst>
                <a:gd name="connsiteX0" fmla="*/ 598551 w 620204"/>
                <a:gd name="connsiteY0" fmla="*/ 50864 h 304419"/>
                <a:gd name="connsiteX1" fmla="*/ 620205 w 620204"/>
                <a:gd name="connsiteY1" fmla="*/ 0 h 304419"/>
                <a:gd name="connsiteX2" fmla="*/ 0 w 620204"/>
                <a:gd name="connsiteY2" fmla="*/ 288100 h 304419"/>
                <a:gd name="connsiteX3" fmla="*/ 52832 w 620204"/>
                <a:gd name="connsiteY3" fmla="*/ 304419 h 304419"/>
                <a:gd name="connsiteX4" fmla="*/ 598614 w 620204"/>
                <a:gd name="connsiteY4" fmla="*/ 50927 h 30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204" h="304419">
                  <a:moveTo>
                    <a:pt x="598551" y="50864"/>
                  </a:moveTo>
                  <a:cubicBezTo>
                    <a:pt x="606679" y="34417"/>
                    <a:pt x="613918" y="17463"/>
                    <a:pt x="620205" y="0"/>
                  </a:cubicBezTo>
                  <a:lnTo>
                    <a:pt x="0" y="288100"/>
                  </a:lnTo>
                  <a:cubicBezTo>
                    <a:pt x="17145" y="294513"/>
                    <a:pt x="34798" y="299974"/>
                    <a:pt x="52832" y="304419"/>
                  </a:cubicBezTo>
                  <a:lnTo>
                    <a:pt x="598614" y="50927"/>
                  </a:ln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720D1B9A-9A9B-C144-CE0F-1F167FA8A315}"/>
                </a:ext>
              </a:extLst>
            </p:cNvPr>
            <p:cNvSpPr/>
            <p:nvPr/>
          </p:nvSpPr>
          <p:spPr>
            <a:xfrm>
              <a:off x="0" y="682370"/>
              <a:ext cx="513016" cy="960246"/>
            </a:xfrm>
            <a:custGeom>
              <a:avLst/>
              <a:gdLst>
                <a:gd name="connsiteX0" fmla="*/ 32893 w 513016"/>
                <a:gd name="connsiteY0" fmla="*/ 0 h 960246"/>
                <a:gd name="connsiteX1" fmla="*/ 0 w 513016"/>
                <a:gd name="connsiteY1" fmla="*/ 1270 h 960246"/>
                <a:gd name="connsiteX2" fmla="*/ 0 w 513016"/>
                <a:gd name="connsiteY2" fmla="*/ 958977 h 960246"/>
                <a:gd name="connsiteX3" fmla="*/ 32893 w 513016"/>
                <a:gd name="connsiteY3" fmla="*/ 960247 h 960246"/>
                <a:gd name="connsiteX4" fmla="*/ 513017 w 513016"/>
                <a:gd name="connsiteY4" fmla="*/ 480124 h 960246"/>
                <a:gd name="connsiteX5" fmla="*/ 32893 w 513016"/>
                <a:gd name="connsiteY5" fmla="*/ 0 h 96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016" h="960246">
                  <a:moveTo>
                    <a:pt x="32893" y="0"/>
                  </a:moveTo>
                  <a:cubicBezTo>
                    <a:pt x="21844" y="0"/>
                    <a:pt x="10859" y="508"/>
                    <a:pt x="0" y="1270"/>
                  </a:cubicBezTo>
                  <a:lnTo>
                    <a:pt x="0" y="958977"/>
                  </a:lnTo>
                  <a:cubicBezTo>
                    <a:pt x="10859" y="959739"/>
                    <a:pt x="21844" y="960247"/>
                    <a:pt x="32893" y="960247"/>
                  </a:cubicBezTo>
                  <a:cubicBezTo>
                    <a:pt x="298069" y="960247"/>
                    <a:pt x="513017" y="745300"/>
                    <a:pt x="513017" y="480124"/>
                  </a:cubicBezTo>
                  <a:cubicBezTo>
                    <a:pt x="513017" y="214947"/>
                    <a:pt x="298069" y="0"/>
                    <a:pt x="32893" y="0"/>
                  </a:cubicBezTo>
                  <a:close/>
                </a:path>
              </a:pathLst>
            </a:custGeom>
            <a:grpFill/>
            <a:ln w="0" cap="flat">
              <a:noFill/>
              <a:prstDash val="solid"/>
              <a:miter/>
            </a:ln>
          </p:spPr>
          <p:txBody>
            <a:bodyPr rtlCol="0" anchor="ctr"/>
            <a:lstStyle/>
            <a:p>
              <a:endParaRPr lang="sv-SE"/>
            </a:p>
          </p:txBody>
        </p:sp>
        <p:sp>
          <p:nvSpPr>
            <p:cNvPr id="39" name="Frihandsfigur: Form 38">
              <a:extLst>
                <a:ext uri="{FF2B5EF4-FFF2-40B4-BE49-F238E27FC236}">
                  <a16:creationId xmlns:a16="http://schemas.microsoft.com/office/drawing/2014/main" id="{704061EF-41CC-8AB4-442E-2552A41A5508}"/>
                </a:ext>
              </a:extLst>
            </p:cNvPr>
            <p:cNvSpPr/>
            <p:nvPr/>
          </p:nvSpPr>
          <p:spPr>
            <a:xfrm>
              <a:off x="0" y="1822640"/>
              <a:ext cx="513016" cy="960247"/>
            </a:xfrm>
            <a:custGeom>
              <a:avLst/>
              <a:gdLst>
                <a:gd name="connsiteX0" fmla="*/ 32893 w 513016"/>
                <a:gd name="connsiteY0" fmla="*/ 0 h 960247"/>
                <a:gd name="connsiteX1" fmla="*/ 0 w 513016"/>
                <a:gd name="connsiteY1" fmla="*/ 1270 h 960247"/>
                <a:gd name="connsiteX2" fmla="*/ 0 w 513016"/>
                <a:gd name="connsiteY2" fmla="*/ 958977 h 960247"/>
                <a:gd name="connsiteX3" fmla="*/ 32893 w 513016"/>
                <a:gd name="connsiteY3" fmla="*/ 960247 h 960247"/>
                <a:gd name="connsiteX4" fmla="*/ 513017 w 513016"/>
                <a:gd name="connsiteY4" fmla="*/ 480124 h 960247"/>
                <a:gd name="connsiteX5" fmla="*/ 32893 w 513016"/>
                <a:gd name="connsiteY5" fmla="*/ 0 h 96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016" h="960247">
                  <a:moveTo>
                    <a:pt x="32893" y="0"/>
                  </a:moveTo>
                  <a:cubicBezTo>
                    <a:pt x="21844" y="0"/>
                    <a:pt x="10859" y="508"/>
                    <a:pt x="0" y="1270"/>
                  </a:cubicBezTo>
                  <a:lnTo>
                    <a:pt x="0" y="958977"/>
                  </a:lnTo>
                  <a:cubicBezTo>
                    <a:pt x="10859" y="959739"/>
                    <a:pt x="21844" y="960247"/>
                    <a:pt x="32893" y="960247"/>
                  </a:cubicBezTo>
                  <a:cubicBezTo>
                    <a:pt x="298069" y="960247"/>
                    <a:pt x="513017" y="745300"/>
                    <a:pt x="513017" y="480124"/>
                  </a:cubicBezTo>
                  <a:cubicBezTo>
                    <a:pt x="513017" y="214948"/>
                    <a:pt x="298069" y="0"/>
                    <a:pt x="32893" y="0"/>
                  </a:cubicBezTo>
                  <a:close/>
                </a:path>
              </a:pathLst>
            </a:custGeom>
            <a:grpFill/>
            <a:ln w="0" cap="flat">
              <a:noFill/>
              <a:prstDash val="solid"/>
              <a:miter/>
            </a:ln>
          </p:spPr>
          <p:txBody>
            <a:bodyPr rtlCol="0" anchor="ctr"/>
            <a:lstStyle/>
            <a:p>
              <a:endParaRPr lang="sv-SE"/>
            </a:p>
          </p:txBody>
        </p:sp>
        <p:sp>
          <p:nvSpPr>
            <p:cNvPr id="40" name="Frihandsfigur: Form 39">
              <a:extLst>
                <a:ext uri="{FF2B5EF4-FFF2-40B4-BE49-F238E27FC236}">
                  <a16:creationId xmlns:a16="http://schemas.microsoft.com/office/drawing/2014/main" id="{FEDA6783-B661-0A65-5615-5AED94BB7106}"/>
                </a:ext>
              </a:extLst>
            </p:cNvPr>
            <p:cNvSpPr/>
            <p:nvPr/>
          </p:nvSpPr>
          <p:spPr>
            <a:xfrm>
              <a:off x="0" y="2962782"/>
              <a:ext cx="517651" cy="960247"/>
            </a:xfrm>
            <a:custGeom>
              <a:avLst/>
              <a:gdLst>
                <a:gd name="connsiteX0" fmla="*/ 37529 w 517651"/>
                <a:gd name="connsiteY0" fmla="*/ 64 h 960247"/>
                <a:gd name="connsiteX1" fmla="*/ 0 w 517651"/>
                <a:gd name="connsiteY1" fmla="*/ 1651 h 960247"/>
                <a:gd name="connsiteX2" fmla="*/ 0 w 517651"/>
                <a:gd name="connsiteY2" fmla="*/ 958660 h 960247"/>
                <a:gd name="connsiteX3" fmla="*/ 37529 w 517651"/>
                <a:gd name="connsiteY3" fmla="*/ 960247 h 960247"/>
                <a:gd name="connsiteX4" fmla="*/ 517652 w 517651"/>
                <a:gd name="connsiteY4" fmla="*/ 480124 h 960247"/>
                <a:gd name="connsiteX5" fmla="*/ 37529 w 517651"/>
                <a:gd name="connsiteY5" fmla="*/ 0 h 96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651" h="960247">
                  <a:moveTo>
                    <a:pt x="37529" y="64"/>
                  </a:moveTo>
                  <a:cubicBezTo>
                    <a:pt x="24892" y="64"/>
                    <a:pt x="12383" y="699"/>
                    <a:pt x="0" y="1651"/>
                  </a:cubicBezTo>
                  <a:lnTo>
                    <a:pt x="0" y="958660"/>
                  </a:lnTo>
                  <a:cubicBezTo>
                    <a:pt x="12383" y="959612"/>
                    <a:pt x="24892" y="960247"/>
                    <a:pt x="37529" y="960247"/>
                  </a:cubicBezTo>
                  <a:cubicBezTo>
                    <a:pt x="302705" y="960247"/>
                    <a:pt x="517652" y="745300"/>
                    <a:pt x="517652" y="480124"/>
                  </a:cubicBezTo>
                  <a:cubicBezTo>
                    <a:pt x="517652" y="214948"/>
                    <a:pt x="302705" y="0"/>
                    <a:pt x="37529" y="0"/>
                  </a:cubicBezTo>
                  <a:close/>
                </a:path>
              </a:pathLst>
            </a:custGeom>
            <a:grpFill/>
            <a:ln w="0" cap="flat">
              <a:noFill/>
              <a:prstDash val="solid"/>
              <a:miter/>
            </a:ln>
          </p:spPr>
          <p:txBody>
            <a:bodyPr rtlCol="0" anchor="ctr"/>
            <a:lstStyle/>
            <a:p>
              <a:endParaRPr lang="sv-SE"/>
            </a:p>
          </p:txBody>
        </p:sp>
        <p:sp>
          <p:nvSpPr>
            <p:cNvPr id="41" name="Frihandsfigur: Form 40">
              <a:extLst>
                <a:ext uri="{FF2B5EF4-FFF2-40B4-BE49-F238E27FC236}">
                  <a16:creationId xmlns:a16="http://schemas.microsoft.com/office/drawing/2014/main" id="{1AC3CD3A-C107-BBA0-B1CA-DB3A21DFE6DC}"/>
                </a:ext>
              </a:extLst>
            </p:cNvPr>
            <p:cNvSpPr/>
            <p:nvPr/>
          </p:nvSpPr>
          <p:spPr>
            <a:xfrm>
              <a:off x="0" y="4084573"/>
              <a:ext cx="536130" cy="997330"/>
            </a:xfrm>
            <a:custGeom>
              <a:avLst/>
              <a:gdLst>
                <a:gd name="connsiteX0" fmla="*/ 37529 w 536130"/>
                <a:gd name="connsiteY0" fmla="*/ 0 h 997330"/>
                <a:gd name="connsiteX1" fmla="*/ 0 w 536130"/>
                <a:gd name="connsiteY1" fmla="*/ 1588 h 997330"/>
                <a:gd name="connsiteX2" fmla="*/ 0 w 536130"/>
                <a:gd name="connsiteY2" fmla="*/ 38735 h 997330"/>
                <a:gd name="connsiteX3" fmla="*/ 37529 w 536130"/>
                <a:gd name="connsiteY3" fmla="*/ 37084 h 997330"/>
                <a:gd name="connsiteX4" fmla="*/ 499110 w 536130"/>
                <a:gd name="connsiteY4" fmla="*/ 498666 h 997330"/>
                <a:gd name="connsiteX5" fmla="*/ 37529 w 536130"/>
                <a:gd name="connsiteY5" fmla="*/ 960247 h 997330"/>
                <a:gd name="connsiteX6" fmla="*/ 0 w 536130"/>
                <a:gd name="connsiteY6" fmla="*/ 958596 h 997330"/>
                <a:gd name="connsiteX7" fmla="*/ 0 w 536130"/>
                <a:gd name="connsiteY7" fmla="*/ 995744 h 997330"/>
                <a:gd name="connsiteX8" fmla="*/ 37529 w 536130"/>
                <a:gd name="connsiteY8" fmla="*/ 997331 h 997330"/>
                <a:gd name="connsiteX9" fmla="*/ 536131 w 536130"/>
                <a:gd name="connsiteY9" fmla="*/ 498729 h 997330"/>
                <a:gd name="connsiteX10" fmla="*/ 37529 w 536130"/>
                <a:gd name="connsiteY10" fmla="*/ 127 h 99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6130" h="997330">
                  <a:moveTo>
                    <a:pt x="37529" y="0"/>
                  </a:moveTo>
                  <a:cubicBezTo>
                    <a:pt x="24892" y="0"/>
                    <a:pt x="12383" y="635"/>
                    <a:pt x="0" y="1588"/>
                  </a:cubicBezTo>
                  <a:lnTo>
                    <a:pt x="0" y="38735"/>
                  </a:lnTo>
                  <a:cubicBezTo>
                    <a:pt x="12383" y="37719"/>
                    <a:pt x="24892" y="37084"/>
                    <a:pt x="37529" y="37084"/>
                  </a:cubicBezTo>
                  <a:cubicBezTo>
                    <a:pt x="292037" y="37084"/>
                    <a:pt x="499110" y="244158"/>
                    <a:pt x="499110" y="498666"/>
                  </a:cubicBezTo>
                  <a:cubicBezTo>
                    <a:pt x="499110" y="753173"/>
                    <a:pt x="292037" y="960247"/>
                    <a:pt x="37529" y="960247"/>
                  </a:cubicBezTo>
                  <a:cubicBezTo>
                    <a:pt x="24892" y="960247"/>
                    <a:pt x="12383" y="959612"/>
                    <a:pt x="0" y="958596"/>
                  </a:cubicBezTo>
                  <a:lnTo>
                    <a:pt x="0" y="995744"/>
                  </a:lnTo>
                  <a:cubicBezTo>
                    <a:pt x="12383" y="996696"/>
                    <a:pt x="24892" y="997331"/>
                    <a:pt x="37529" y="997331"/>
                  </a:cubicBezTo>
                  <a:cubicBezTo>
                    <a:pt x="312484" y="997331"/>
                    <a:pt x="536131" y="773621"/>
                    <a:pt x="536131" y="498729"/>
                  </a:cubicBezTo>
                  <a:cubicBezTo>
                    <a:pt x="536131" y="223838"/>
                    <a:pt x="312420" y="127"/>
                    <a:pt x="37529" y="127"/>
                  </a:cubicBezTo>
                  <a:close/>
                </a:path>
              </a:pathLst>
            </a:custGeom>
            <a:grpFill/>
            <a:ln w="0" cap="flat">
              <a:noFill/>
              <a:prstDash val="solid"/>
              <a:miter/>
            </a:ln>
          </p:spPr>
          <p:txBody>
            <a:bodyPr rtlCol="0" anchor="ctr"/>
            <a:lstStyle/>
            <a:p>
              <a:endParaRPr lang="sv-SE"/>
            </a:p>
          </p:txBody>
        </p:sp>
        <p:sp>
          <p:nvSpPr>
            <p:cNvPr id="42" name="Frihandsfigur: Form 41">
              <a:extLst>
                <a:ext uri="{FF2B5EF4-FFF2-40B4-BE49-F238E27FC236}">
                  <a16:creationId xmlns:a16="http://schemas.microsoft.com/office/drawing/2014/main" id="{81B87831-9BEA-18B4-FAC9-1C4806771198}"/>
                </a:ext>
              </a:extLst>
            </p:cNvPr>
            <p:cNvSpPr/>
            <p:nvPr/>
          </p:nvSpPr>
          <p:spPr>
            <a:xfrm>
              <a:off x="0" y="5243380"/>
              <a:ext cx="517651" cy="960251"/>
            </a:xfrm>
            <a:custGeom>
              <a:avLst/>
              <a:gdLst>
                <a:gd name="connsiteX0" fmla="*/ 39878 w 517651"/>
                <a:gd name="connsiteY0" fmla="*/ 5 h 960251"/>
                <a:gd name="connsiteX1" fmla="*/ 0 w 517651"/>
                <a:gd name="connsiteY1" fmla="*/ 1529 h 960251"/>
                <a:gd name="connsiteX2" fmla="*/ 0 w 517651"/>
                <a:gd name="connsiteY2" fmla="*/ 958728 h 960251"/>
                <a:gd name="connsiteX3" fmla="*/ 37529 w 517651"/>
                <a:gd name="connsiteY3" fmla="*/ 960252 h 960251"/>
                <a:gd name="connsiteX4" fmla="*/ 517652 w 517651"/>
                <a:gd name="connsiteY4" fmla="*/ 480129 h 960251"/>
                <a:gd name="connsiteX5" fmla="*/ 39878 w 517651"/>
                <a:gd name="connsiteY5" fmla="*/ 5 h 96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651" h="960251">
                  <a:moveTo>
                    <a:pt x="39878" y="5"/>
                  </a:moveTo>
                  <a:cubicBezTo>
                    <a:pt x="26416" y="-59"/>
                    <a:pt x="13145" y="513"/>
                    <a:pt x="0" y="1529"/>
                  </a:cubicBezTo>
                  <a:lnTo>
                    <a:pt x="0" y="958728"/>
                  </a:lnTo>
                  <a:cubicBezTo>
                    <a:pt x="12383" y="959680"/>
                    <a:pt x="24892" y="960252"/>
                    <a:pt x="37529" y="960252"/>
                  </a:cubicBezTo>
                  <a:cubicBezTo>
                    <a:pt x="302705" y="960252"/>
                    <a:pt x="517652" y="745304"/>
                    <a:pt x="517652" y="480129"/>
                  </a:cubicBezTo>
                  <a:cubicBezTo>
                    <a:pt x="517652" y="215524"/>
                    <a:pt x="304483" y="1275"/>
                    <a:pt x="39878" y="5"/>
                  </a:cubicBezTo>
                  <a:close/>
                </a:path>
              </a:pathLst>
            </a:custGeom>
            <a:grpFill/>
            <a:ln w="0" cap="flat">
              <a:noFill/>
              <a:prstDash val="solid"/>
              <a:miter/>
            </a:ln>
          </p:spPr>
          <p:txBody>
            <a:bodyPr rtlCol="0" anchor="ctr"/>
            <a:lstStyle/>
            <a:p>
              <a:endParaRPr lang="sv-SE"/>
            </a:p>
          </p:txBody>
        </p:sp>
        <p:sp>
          <p:nvSpPr>
            <p:cNvPr id="43" name="Frihandsfigur: Form 42">
              <a:extLst>
                <a:ext uri="{FF2B5EF4-FFF2-40B4-BE49-F238E27FC236}">
                  <a16:creationId xmlns:a16="http://schemas.microsoft.com/office/drawing/2014/main" id="{D3BE36EF-2AB4-C8A9-071F-4850C7A8A063}"/>
                </a:ext>
              </a:extLst>
            </p:cNvPr>
            <p:cNvSpPr/>
            <p:nvPr/>
          </p:nvSpPr>
          <p:spPr>
            <a:xfrm>
              <a:off x="2986595" y="0"/>
              <a:ext cx="960247" cy="502348"/>
            </a:xfrm>
            <a:custGeom>
              <a:avLst/>
              <a:gdLst>
                <a:gd name="connsiteX0" fmla="*/ 572 w 960247"/>
                <a:gd name="connsiteY0" fmla="*/ 0 h 502348"/>
                <a:gd name="connsiteX1" fmla="*/ 0 w 960247"/>
                <a:gd name="connsiteY1" fmla="*/ 22225 h 502348"/>
                <a:gd name="connsiteX2" fmla="*/ 480124 w 960247"/>
                <a:gd name="connsiteY2" fmla="*/ 502349 h 502348"/>
                <a:gd name="connsiteX3" fmla="*/ 960247 w 960247"/>
                <a:gd name="connsiteY3" fmla="*/ 22225 h 502348"/>
                <a:gd name="connsiteX4" fmla="*/ 959676 w 960247"/>
                <a:gd name="connsiteY4" fmla="*/ 0 h 502348"/>
                <a:gd name="connsiteX5" fmla="*/ 572 w 960247"/>
                <a:gd name="connsiteY5" fmla="*/ 0 h 5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247" h="502348">
                  <a:moveTo>
                    <a:pt x="572" y="0"/>
                  </a:moveTo>
                  <a:cubicBezTo>
                    <a:pt x="254" y="7366"/>
                    <a:pt x="0" y="14796"/>
                    <a:pt x="0" y="22225"/>
                  </a:cubicBezTo>
                  <a:cubicBezTo>
                    <a:pt x="0" y="287401"/>
                    <a:pt x="214948" y="502349"/>
                    <a:pt x="480124" y="502349"/>
                  </a:cubicBezTo>
                  <a:cubicBezTo>
                    <a:pt x="745300" y="502349"/>
                    <a:pt x="960247" y="287401"/>
                    <a:pt x="960247" y="22225"/>
                  </a:cubicBezTo>
                  <a:cubicBezTo>
                    <a:pt x="960247" y="14796"/>
                    <a:pt x="959993" y="7366"/>
                    <a:pt x="959676" y="0"/>
                  </a:cubicBezTo>
                  <a:lnTo>
                    <a:pt x="572" y="0"/>
                  </a:lnTo>
                  <a:close/>
                </a:path>
              </a:pathLst>
            </a:custGeom>
            <a:grpFill/>
            <a:ln w="0" cap="flat">
              <a:noFill/>
              <a:prstDash val="solid"/>
              <a:miter/>
            </a:ln>
          </p:spPr>
          <p:txBody>
            <a:bodyPr rtlCol="0" anchor="ctr"/>
            <a:lstStyle/>
            <a:p>
              <a:endParaRPr lang="sv-SE"/>
            </a:p>
          </p:txBody>
        </p:sp>
        <p:sp>
          <p:nvSpPr>
            <p:cNvPr id="44" name="Frihandsfigur: Form 43">
              <a:extLst>
                <a:ext uri="{FF2B5EF4-FFF2-40B4-BE49-F238E27FC236}">
                  <a16:creationId xmlns:a16="http://schemas.microsoft.com/office/drawing/2014/main" id="{F22D72FA-2264-D321-B159-2D440B3DA334}"/>
                </a:ext>
              </a:extLst>
            </p:cNvPr>
            <p:cNvSpPr/>
            <p:nvPr/>
          </p:nvSpPr>
          <p:spPr>
            <a:xfrm>
              <a:off x="0" y="0"/>
              <a:ext cx="2805366" cy="502348"/>
            </a:xfrm>
            <a:custGeom>
              <a:avLst/>
              <a:gdLst>
                <a:gd name="connsiteX0" fmla="*/ 0 w 2805366"/>
                <a:gd name="connsiteY0" fmla="*/ 0 h 502348"/>
                <a:gd name="connsiteX1" fmla="*/ 0 w 2805366"/>
                <a:gd name="connsiteY1" fmla="*/ 500380 h 502348"/>
                <a:gd name="connsiteX2" fmla="*/ 42164 w 2805366"/>
                <a:gd name="connsiteY2" fmla="*/ 502349 h 502348"/>
                <a:gd name="connsiteX3" fmla="*/ 451612 w 2805366"/>
                <a:gd name="connsiteY3" fmla="*/ 273050 h 502348"/>
                <a:gd name="connsiteX4" fmla="*/ 612712 w 2805366"/>
                <a:gd name="connsiteY4" fmla="*/ 182753 h 502348"/>
                <a:gd name="connsiteX5" fmla="*/ 613156 w 2805366"/>
                <a:gd name="connsiteY5" fmla="*/ 182753 h 502348"/>
                <a:gd name="connsiteX6" fmla="*/ 774256 w 2805366"/>
                <a:gd name="connsiteY6" fmla="*/ 273050 h 502348"/>
                <a:gd name="connsiteX7" fmla="*/ 1183704 w 2805366"/>
                <a:gd name="connsiteY7" fmla="*/ 502349 h 502348"/>
                <a:gd name="connsiteX8" fmla="*/ 1593152 w 2805366"/>
                <a:gd name="connsiteY8" fmla="*/ 273050 h 502348"/>
                <a:gd name="connsiteX9" fmla="*/ 1754251 w 2805366"/>
                <a:gd name="connsiteY9" fmla="*/ 182753 h 502348"/>
                <a:gd name="connsiteX10" fmla="*/ 1754695 w 2805366"/>
                <a:gd name="connsiteY10" fmla="*/ 182753 h 502348"/>
                <a:gd name="connsiteX11" fmla="*/ 1908112 w 2805366"/>
                <a:gd name="connsiteY11" fmla="*/ 261556 h 502348"/>
                <a:gd name="connsiteX12" fmla="*/ 2308924 w 2805366"/>
                <a:gd name="connsiteY12" fmla="*/ 502095 h 502348"/>
                <a:gd name="connsiteX13" fmla="*/ 2309178 w 2805366"/>
                <a:gd name="connsiteY13" fmla="*/ 502095 h 502348"/>
                <a:gd name="connsiteX14" fmla="*/ 2324418 w 2805366"/>
                <a:gd name="connsiteY14" fmla="*/ 502349 h 502348"/>
                <a:gd name="connsiteX15" fmla="*/ 2324862 w 2805366"/>
                <a:gd name="connsiteY15" fmla="*/ 502349 h 502348"/>
                <a:gd name="connsiteX16" fmla="*/ 2325243 w 2805366"/>
                <a:gd name="connsiteY16" fmla="*/ 502349 h 502348"/>
                <a:gd name="connsiteX17" fmla="*/ 2805367 w 2805366"/>
                <a:gd name="connsiteY17" fmla="*/ 22225 h 502348"/>
                <a:gd name="connsiteX18" fmla="*/ 2804795 w 2805366"/>
                <a:gd name="connsiteY18" fmla="*/ 0 h 502348"/>
                <a:gd name="connsiteX19" fmla="*/ 0 w 2805366"/>
                <a:gd name="connsiteY19" fmla="*/ 0 h 5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05366" h="502348">
                  <a:moveTo>
                    <a:pt x="0" y="0"/>
                  </a:moveTo>
                  <a:lnTo>
                    <a:pt x="0" y="500380"/>
                  </a:lnTo>
                  <a:cubicBezTo>
                    <a:pt x="13907" y="501587"/>
                    <a:pt x="27940" y="502349"/>
                    <a:pt x="42164" y="502349"/>
                  </a:cubicBezTo>
                  <a:cubicBezTo>
                    <a:pt x="215392" y="502349"/>
                    <a:pt x="367157" y="410591"/>
                    <a:pt x="451612" y="273050"/>
                  </a:cubicBezTo>
                  <a:cubicBezTo>
                    <a:pt x="486029" y="216979"/>
                    <a:pt x="546926" y="182753"/>
                    <a:pt x="612712" y="182753"/>
                  </a:cubicBezTo>
                  <a:lnTo>
                    <a:pt x="613156" y="182753"/>
                  </a:lnTo>
                  <a:cubicBezTo>
                    <a:pt x="678942" y="182753"/>
                    <a:pt x="739839" y="216979"/>
                    <a:pt x="774256" y="273050"/>
                  </a:cubicBezTo>
                  <a:cubicBezTo>
                    <a:pt x="858711" y="410591"/>
                    <a:pt x="1010476" y="502349"/>
                    <a:pt x="1183704" y="502349"/>
                  </a:cubicBezTo>
                  <a:cubicBezTo>
                    <a:pt x="1356932" y="502349"/>
                    <a:pt x="1508697" y="410591"/>
                    <a:pt x="1593152" y="273050"/>
                  </a:cubicBezTo>
                  <a:cubicBezTo>
                    <a:pt x="1627569" y="216979"/>
                    <a:pt x="1688465" y="182753"/>
                    <a:pt x="1754251" y="182753"/>
                  </a:cubicBezTo>
                  <a:lnTo>
                    <a:pt x="1754695" y="182753"/>
                  </a:lnTo>
                  <a:cubicBezTo>
                    <a:pt x="1815846" y="182753"/>
                    <a:pt x="1872742" y="212408"/>
                    <a:pt x="1908112" y="261556"/>
                  </a:cubicBezTo>
                  <a:cubicBezTo>
                    <a:pt x="1988630" y="401257"/>
                    <a:pt x="2137410" y="496634"/>
                    <a:pt x="2308924" y="502095"/>
                  </a:cubicBezTo>
                  <a:cubicBezTo>
                    <a:pt x="2308987" y="502095"/>
                    <a:pt x="2309051" y="502095"/>
                    <a:pt x="2309178" y="502095"/>
                  </a:cubicBezTo>
                  <a:cubicBezTo>
                    <a:pt x="2314258" y="502221"/>
                    <a:pt x="2319338" y="502349"/>
                    <a:pt x="2324418" y="502349"/>
                  </a:cubicBezTo>
                  <a:cubicBezTo>
                    <a:pt x="2324545" y="502349"/>
                    <a:pt x="2324735" y="502349"/>
                    <a:pt x="2324862" y="502349"/>
                  </a:cubicBezTo>
                  <a:cubicBezTo>
                    <a:pt x="2324989" y="502349"/>
                    <a:pt x="2325116" y="502349"/>
                    <a:pt x="2325243" y="502349"/>
                  </a:cubicBezTo>
                  <a:cubicBezTo>
                    <a:pt x="2590419" y="502349"/>
                    <a:pt x="2805367" y="287401"/>
                    <a:pt x="2805367" y="22225"/>
                  </a:cubicBezTo>
                  <a:cubicBezTo>
                    <a:pt x="2805367" y="14796"/>
                    <a:pt x="2805113" y="7366"/>
                    <a:pt x="2804795" y="0"/>
                  </a:cubicBezTo>
                  <a:lnTo>
                    <a:pt x="0" y="0"/>
                  </a:lnTo>
                  <a:close/>
                </a:path>
              </a:pathLst>
            </a:custGeom>
            <a:grpFill/>
            <a:ln w="0" cap="flat">
              <a:noFill/>
              <a:prstDash val="solid"/>
              <a:miter/>
            </a:ln>
          </p:spPr>
          <p:txBody>
            <a:bodyPr rtlCol="0" anchor="ctr"/>
            <a:lstStyle/>
            <a:p>
              <a:endParaRPr lang="sv-SE"/>
            </a:p>
          </p:txBody>
        </p:sp>
        <p:sp>
          <p:nvSpPr>
            <p:cNvPr id="45" name="Frihandsfigur: Form 44">
              <a:extLst>
                <a:ext uri="{FF2B5EF4-FFF2-40B4-BE49-F238E27FC236}">
                  <a16:creationId xmlns:a16="http://schemas.microsoft.com/office/drawing/2014/main" id="{F3C25F88-DCF7-8811-FE0A-497391586DDF}"/>
                </a:ext>
              </a:extLst>
            </p:cNvPr>
            <p:cNvSpPr/>
            <p:nvPr/>
          </p:nvSpPr>
          <p:spPr>
            <a:xfrm>
              <a:off x="1840610" y="6490271"/>
              <a:ext cx="810514" cy="367157"/>
            </a:xfrm>
            <a:custGeom>
              <a:avLst/>
              <a:gdLst>
                <a:gd name="connsiteX0" fmla="*/ 77597 w 810514"/>
                <a:gd name="connsiteY0" fmla="*/ 367094 h 367157"/>
                <a:gd name="connsiteX1" fmla="*/ 810514 w 810514"/>
                <a:gd name="connsiteY1" fmla="*/ 26670 h 367157"/>
                <a:gd name="connsiteX2" fmla="*/ 780034 w 810514"/>
                <a:gd name="connsiteY2" fmla="*/ 0 h 367157"/>
                <a:gd name="connsiteX3" fmla="*/ 64 w 810514"/>
                <a:gd name="connsiteY3" fmla="*/ 362331 h 367157"/>
                <a:gd name="connsiteX4" fmla="*/ 0 w 810514"/>
                <a:gd name="connsiteY4" fmla="*/ 367157 h 367157"/>
                <a:gd name="connsiteX5" fmla="*/ 77597 w 810514"/>
                <a:gd name="connsiteY5" fmla="*/ 367157 h 36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514" h="367157">
                  <a:moveTo>
                    <a:pt x="77597" y="367094"/>
                  </a:moveTo>
                  <a:lnTo>
                    <a:pt x="810514" y="26670"/>
                  </a:lnTo>
                  <a:cubicBezTo>
                    <a:pt x="800735" y="17399"/>
                    <a:pt x="790575" y="8445"/>
                    <a:pt x="780034" y="0"/>
                  </a:cubicBezTo>
                  <a:lnTo>
                    <a:pt x="64" y="362331"/>
                  </a:lnTo>
                  <a:cubicBezTo>
                    <a:pt x="64" y="363919"/>
                    <a:pt x="64" y="365570"/>
                    <a:pt x="0" y="367157"/>
                  </a:cubicBezTo>
                  <a:lnTo>
                    <a:pt x="77597" y="367157"/>
                  </a:lnTo>
                  <a:close/>
                </a:path>
              </a:pathLst>
            </a:custGeom>
            <a:grpFill/>
            <a:ln w="0" cap="flat">
              <a:noFill/>
              <a:prstDash val="solid"/>
              <a:miter/>
            </a:ln>
          </p:spPr>
          <p:txBody>
            <a:bodyPr rtlCol="0" anchor="ctr"/>
            <a:lstStyle/>
            <a:p>
              <a:endParaRPr lang="sv-SE"/>
            </a:p>
          </p:txBody>
        </p:sp>
        <p:sp>
          <p:nvSpPr>
            <p:cNvPr id="46" name="Frihandsfigur: Form 45">
              <a:extLst>
                <a:ext uri="{FF2B5EF4-FFF2-40B4-BE49-F238E27FC236}">
                  <a16:creationId xmlns:a16="http://schemas.microsoft.com/office/drawing/2014/main" id="{828D0AED-C840-82A9-984E-64EB674BDB79}"/>
                </a:ext>
              </a:extLst>
            </p:cNvPr>
            <p:cNvSpPr/>
            <p:nvPr/>
          </p:nvSpPr>
          <p:spPr>
            <a:xfrm>
              <a:off x="2188082" y="6607556"/>
              <a:ext cx="556577" cy="249808"/>
            </a:xfrm>
            <a:custGeom>
              <a:avLst/>
              <a:gdLst>
                <a:gd name="connsiteX0" fmla="*/ 87948 w 556577"/>
                <a:gd name="connsiteY0" fmla="*/ 249809 h 249808"/>
                <a:gd name="connsiteX1" fmla="*/ 556578 w 556577"/>
                <a:gd name="connsiteY1" fmla="*/ 32131 h 249808"/>
                <a:gd name="connsiteX2" fmla="*/ 537782 w 556577"/>
                <a:gd name="connsiteY2" fmla="*/ 0 h 249808"/>
                <a:gd name="connsiteX3" fmla="*/ 0 w 556577"/>
                <a:gd name="connsiteY3" fmla="*/ 249809 h 249808"/>
                <a:gd name="connsiteX4" fmla="*/ 87948 w 556577"/>
                <a:gd name="connsiteY4" fmla="*/ 249809 h 249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577" h="249808">
                  <a:moveTo>
                    <a:pt x="87948" y="249809"/>
                  </a:moveTo>
                  <a:lnTo>
                    <a:pt x="556578" y="32131"/>
                  </a:lnTo>
                  <a:cubicBezTo>
                    <a:pt x="550736" y="21145"/>
                    <a:pt x="544449" y="10477"/>
                    <a:pt x="537782" y="0"/>
                  </a:cubicBezTo>
                  <a:lnTo>
                    <a:pt x="0" y="249809"/>
                  </a:lnTo>
                  <a:lnTo>
                    <a:pt x="87948" y="249809"/>
                  </a:lnTo>
                  <a:close/>
                </a:path>
              </a:pathLst>
            </a:custGeom>
            <a:grpFill/>
            <a:ln w="0" cap="flat">
              <a:noFill/>
              <a:prstDash val="solid"/>
              <a:miter/>
            </a:ln>
          </p:spPr>
          <p:txBody>
            <a:bodyPr rtlCol="0" anchor="ctr"/>
            <a:lstStyle/>
            <a:p>
              <a:endParaRPr lang="sv-SE"/>
            </a:p>
          </p:txBody>
        </p:sp>
        <p:sp>
          <p:nvSpPr>
            <p:cNvPr id="47" name="Frihandsfigur: Form 46">
              <a:extLst>
                <a:ext uri="{FF2B5EF4-FFF2-40B4-BE49-F238E27FC236}">
                  <a16:creationId xmlns:a16="http://schemas.microsoft.com/office/drawing/2014/main" id="{752AEEC3-ECE9-8E8A-A4E8-600394FB2790}"/>
                </a:ext>
              </a:extLst>
            </p:cNvPr>
            <p:cNvSpPr/>
            <p:nvPr/>
          </p:nvSpPr>
          <p:spPr>
            <a:xfrm>
              <a:off x="2545905" y="6745922"/>
              <a:ext cx="247777" cy="111442"/>
            </a:xfrm>
            <a:custGeom>
              <a:avLst/>
              <a:gdLst>
                <a:gd name="connsiteX0" fmla="*/ 87884 w 247777"/>
                <a:gd name="connsiteY0" fmla="*/ 111443 h 111442"/>
                <a:gd name="connsiteX1" fmla="*/ 247777 w 247777"/>
                <a:gd name="connsiteY1" fmla="*/ 37147 h 111442"/>
                <a:gd name="connsiteX2" fmla="*/ 239840 w 247777"/>
                <a:gd name="connsiteY2" fmla="*/ 0 h 111442"/>
                <a:gd name="connsiteX3" fmla="*/ 0 w 247777"/>
                <a:gd name="connsiteY3" fmla="*/ 111443 h 111442"/>
                <a:gd name="connsiteX4" fmla="*/ 87884 w 247777"/>
                <a:gd name="connsiteY4" fmla="*/ 111443 h 111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777" h="111442">
                  <a:moveTo>
                    <a:pt x="87884" y="111443"/>
                  </a:moveTo>
                  <a:lnTo>
                    <a:pt x="247777" y="37147"/>
                  </a:lnTo>
                  <a:cubicBezTo>
                    <a:pt x="245618" y="24574"/>
                    <a:pt x="242951" y="12192"/>
                    <a:pt x="239840" y="0"/>
                  </a:cubicBezTo>
                  <a:lnTo>
                    <a:pt x="0" y="111443"/>
                  </a:lnTo>
                  <a:lnTo>
                    <a:pt x="87884" y="111443"/>
                  </a:lnTo>
                  <a:close/>
                </a:path>
              </a:pathLst>
            </a:custGeom>
            <a:grpFill/>
            <a:ln w="0" cap="flat">
              <a:noFill/>
              <a:prstDash val="solid"/>
              <a:miter/>
            </a:ln>
          </p:spPr>
          <p:txBody>
            <a:bodyPr rtlCol="0" anchor="ctr"/>
            <a:lstStyle/>
            <a:p>
              <a:endParaRPr lang="sv-SE"/>
            </a:p>
          </p:txBody>
        </p:sp>
        <p:sp>
          <p:nvSpPr>
            <p:cNvPr id="48" name="Frihandsfigur: Form 47">
              <a:extLst>
                <a:ext uri="{FF2B5EF4-FFF2-40B4-BE49-F238E27FC236}">
                  <a16:creationId xmlns:a16="http://schemas.microsoft.com/office/drawing/2014/main" id="{92A8AA50-2238-6360-14E1-8B19D8C82CA7}"/>
                </a:ext>
              </a:extLst>
            </p:cNvPr>
            <p:cNvSpPr/>
            <p:nvPr/>
          </p:nvSpPr>
          <p:spPr>
            <a:xfrm>
              <a:off x="2972942" y="6383591"/>
              <a:ext cx="959929" cy="473773"/>
            </a:xfrm>
            <a:custGeom>
              <a:avLst/>
              <a:gdLst>
                <a:gd name="connsiteX0" fmla="*/ 959866 w 959929"/>
                <a:gd name="connsiteY0" fmla="*/ 473774 h 473773"/>
                <a:gd name="connsiteX1" fmla="*/ 479933 w 959929"/>
                <a:gd name="connsiteY1" fmla="*/ 0 h 473773"/>
                <a:gd name="connsiteX2" fmla="*/ 0 w 959929"/>
                <a:gd name="connsiteY2" fmla="*/ 473774 h 473773"/>
                <a:gd name="connsiteX3" fmla="*/ 959929 w 959929"/>
                <a:gd name="connsiteY3" fmla="*/ 473774 h 473773"/>
              </a:gdLst>
              <a:ahLst/>
              <a:cxnLst>
                <a:cxn ang="0">
                  <a:pos x="connsiteX0" y="connsiteY0"/>
                </a:cxn>
                <a:cxn ang="0">
                  <a:pos x="connsiteX1" y="connsiteY1"/>
                </a:cxn>
                <a:cxn ang="0">
                  <a:pos x="connsiteX2" y="connsiteY2"/>
                </a:cxn>
                <a:cxn ang="0">
                  <a:pos x="connsiteX3" y="connsiteY3"/>
                </a:cxn>
              </a:cxnLst>
              <a:rect l="l" t="t" r="r" b="b"/>
              <a:pathLst>
                <a:path w="959929" h="473773">
                  <a:moveTo>
                    <a:pt x="959866" y="473774"/>
                  </a:moveTo>
                  <a:cubicBezTo>
                    <a:pt x="956437" y="211582"/>
                    <a:pt x="742950" y="0"/>
                    <a:pt x="479933" y="0"/>
                  </a:cubicBezTo>
                  <a:cubicBezTo>
                    <a:pt x="216916" y="0"/>
                    <a:pt x="3365" y="211518"/>
                    <a:pt x="0" y="473774"/>
                  </a:cubicBezTo>
                  <a:lnTo>
                    <a:pt x="959929" y="473774"/>
                  </a:lnTo>
                  <a:close/>
                </a:path>
              </a:pathLst>
            </a:custGeom>
            <a:grpFill/>
            <a:ln w="0" cap="flat">
              <a:noFill/>
              <a:prstDash val="solid"/>
              <a:miter/>
            </a:ln>
          </p:spPr>
          <p:txBody>
            <a:bodyPr rtlCol="0" anchor="ctr"/>
            <a:lstStyle/>
            <a:p>
              <a:endParaRPr lang="sv-SE"/>
            </a:p>
          </p:txBody>
        </p:sp>
        <p:sp>
          <p:nvSpPr>
            <p:cNvPr id="49" name="Frihandsfigur: Form 48">
              <a:extLst>
                <a:ext uri="{FF2B5EF4-FFF2-40B4-BE49-F238E27FC236}">
                  <a16:creationId xmlns:a16="http://schemas.microsoft.com/office/drawing/2014/main" id="{CD20D810-6C7F-23F6-26B0-396C73EAAB14}"/>
                </a:ext>
              </a:extLst>
            </p:cNvPr>
            <p:cNvSpPr/>
            <p:nvPr/>
          </p:nvSpPr>
          <p:spPr>
            <a:xfrm>
              <a:off x="689927" y="6383591"/>
              <a:ext cx="959929" cy="473773"/>
            </a:xfrm>
            <a:custGeom>
              <a:avLst/>
              <a:gdLst>
                <a:gd name="connsiteX0" fmla="*/ 959866 w 959929"/>
                <a:gd name="connsiteY0" fmla="*/ 473774 h 473773"/>
                <a:gd name="connsiteX1" fmla="*/ 479933 w 959929"/>
                <a:gd name="connsiteY1" fmla="*/ 0 h 473773"/>
                <a:gd name="connsiteX2" fmla="*/ 0 w 959929"/>
                <a:gd name="connsiteY2" fmla="*/ 473774 h 473773"/>
                <a:gd name="connsiteX3" fmla="*/ 959930 w 959929"/>
                <a:gd name="connsiteY3" fmla="*/ 473774 h 473773"/>
              </a:gdLst>
              <a:ahLst/>
              <a:cxnLst>
                <a:cxn ang="0">
                  <a:pos x="connsiteX0" y="connsiteY0"/>
                </a:cxn>
                <a:cxn ang="0">
                  <a:pos x="connsiteX1" y="connsiteY1"/>
                </a:cxn>
                <a:cxn ang="0">
                  <a:pos x="connsiteX2" y="connsiteY2"/>
                </a:cxn>
                <a:cxn ang="0">
                  <a:pos x="connsiteX3" y="connsiteY3"/>
                </a:cxn>
              </a:cxnLst>
              <a:rect l="l" t="t" r="r" b="b"/>
              <a:pathLst>
                <a:path w="959929" h="473773">
                  <a:moveTo>
                    <a:pt x="959866" y="473774"/>
                  </a:moveTo>
                  <a:cubicBezTo>
                    <a:pt x="956437" y="211582"/>
                    <a:pt x="742950" y="0"/>
                    <a:pt x="479933" y="0"/>
                  </a:cubicBezTo>
                  <a:cubicBezTo>
                    <a:pt x="216916" y="0"/>
                    <a:pt x="3365" y="211518"/>
                    <a:pt x="0" y="473774"/>
                  </a:cubicBezTo>
                  <a:lnTo>
                    <a:pt x="959930" y="473774"/>
                  </a:lnTo>
                  <a:close/>
                </a:path>
              </a:pathLst>
            </a:custGeom>
            <a:grpFill/>
            <a:ln w="0" cap="flat">
              <a:noFill/>
              <a:prstDash val="solid"/>
              <a:miter/>
            </a:ln>
          </p:spPr>
          <p:txBody>
            <a:bodyPr rtlCol="0" anchor="ctr"/>
            <a:lstStyle/>
            <a:p>
              <a:endParaRPr lang="sv-SE"/>
            </a:p>
          </p:txBody>
        </p:sp>
        <p:sp>
          <p:nvSpPr>
            <p:cNvPr id="50" name="Frihandsfigur: Form 49">
              <a:extLst>
                <a:ext uri="{FF2B5EF4-FFF2-40B4-BE49-F238E27FC236}">
                  <a16:creationId xmlns:a16="http://schemas.microsoft.com/office/drawing/2014/main" id="{D9840366-9EA2-0796-51CC-97A428A03B52}"/>
                </a:ext>
              </a:extLst>
            </p:cNvPr>
            <p:cNvSpPr/>
            <p:nvPr/>
          </p:nvSpPr>
          <p:spPr>
            <a:xfrm>
              <a:off x="63" y="6383591"/>
              <a:ext cx="508254" cy="473773"/>
            </a:xfrm>
            <a:custGeom>
              <a:avLst/>
              <a:gdLst>
                <a:gd name="connsiteX0" fmla="*/ 508191 w 508254"/>
                <a:gd name="connsiteY0" fmla="*/ 473774 h 473773"/>
                <a:gd name="connsiteX1" fmla="*/ 28258 w 508254"/>
                <a:gd name="connsiteY1" fmla="*/ 0 h 473773"/>
                <a:gd name="connsiteX2" fmla="*/ 0 w 508254"/>
                <a:gd name="connsiteY2" fmla="*/ 889 h 473773"/>
                <a:gd name="connsiteX3" fmla="*/ 0 w 508254"/>
                <a:gd name="connsiteY3" fmla="*/ 473774 h 473773"/>
                <a:gd name="connsiteX4" fmla="*/ 508254 w 508254"/>
                <a:gd name="connsiteY4" fmla="*/ 473774 h 473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254" h="473773">
                  <a:moveTo>
                    <a:pt x="508191" y="473774"/>
                  </a:moveTo>
                  <a:cubicBezTo>
                    <a:pt x="504762" y="211582"/>
                    <a:pt x="291275" y="0"/>
                    <a:pt x="28258" y="0"/>
                  </a:cubicBezTo>
                  <a:cubicBezTo>
                    <a:pt x="18733" y="0"/>
                    <a:pt x="9335" y="381"/>
                    <a:pt x="0" y="889"/>
                  </a:cubicBezTo>
                  <a:lnTo>
                    <a:pt x="0" y="473774"/>
                  </a:lnTo>
                  <a:lnTo>
                    <a:pt x="508254" y="473774"/>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22920760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3_Mönster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5992547" y="1119824"/>
            <a:ext cx="5259396" cy="1232398"/>
          </a:xfrm>
        </p:spPr>
        <p:txBody>
          <a:bodyPr>
            <a:normAutofit/>
          </a:bodyPr>
          <a:lstStyle>
            <a:lvl1pPr>
              <a:defRPr sz="4000">
                <a:solidFill>
                  <a:schemeClr val="bg1"/>
                </a:solidFill>
              </a:defRPr>
            </a:lvl1pPr>
          </a:lstStyle>
          <a:p>
            <a:r>
              <a:rPr lang="sv-SE"/>
              <a:t>Rubrik</a:t>
            </a:r>
          </a:p>
        </p:txBody>
      </p:sp>
      <p:sp>
        <p:nvSpPr>
          <p:cNvPr id="4" name="Platshållare för bildnummer 3">
            <a:extLst>
              <a:ext uri="{FF2B5EF4-FFF2-40B4-BE49-F238E27FC236}">
                <a16:creationId xmlns:a16="http://schemas.microsoft.com/office/drawing/2014/main" id="{F1F5A5EA-BC04-1E7C-5686-018804102841}"/>
              </a:ext>
            </a:extLst>
          </p:cNvPr>
          <p:cNvSpPr>
            <a:spLocks noGrp="1"/>
          </p:cNvSpPr>
          <p:nvPr>
            <p:ph type="sldNum" sz="quarter" idx="10"/>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5992547" y="2612572"/>
            <a:ext cx="5259396"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grpSp>
        <p:nvGrpSpPr>
          <p:cNvPr id="7" name="Grupp 6">
            <a:extLst>
              <a:ext uri="{FF2B5EF4-FFF2-40B4-BE49-F238E27FC236}">
                <a16:creationId xmlns:a16="http://schemas.microsoft.com/office/drawing/2014/main" id="{83738066-88AB-21B5-B1B8-6C931199EF43}"/>
              </a:ext>
            </a:extLst>
          </p:cNvPr>
          <p:cNvGrpSpPr/>
          <p:nvPr userDrawn="1"/>
        </p:nvGrpSpPr>
        <p:grpSpPr>
          <a:xfrm>
            <a:off x="0" y="0"/>
            <a:ext cx="5097843" cy="6857428"/>
            <a:chOff x="0" y="0"/>
            <a:chExt cx="5097843" cy="6857428"/>
          </a:xfrm>
          <a:solidFill>
            <a:schemeClr val="accent5"/>
          </a:solidFill>
        </p:grpSpPr>
        <p:sp>
          <p:nvSpPr>
            <p:cNvPr id="8" name="Frihandsfigur: Form 7">
              <a:extLst>
                <a:ext uri="{FF2B5EF4-FFF2-40B4-BE49-F238E27FC236}">
                  <a16:creationId xmlns:a16="http://schemas.microsoft.com/office/drawing/2014/main" id="{52F6BF30-55C6-52CB-7B09-4491083A65E1}"/>
                </a:ext>
              </a:extLst>
            </p:cNvPr>
            <p:cNvSpPr/>
            <p:nvPr/>
          </p:nvSpPr>
          <p:spPr>
            <a:xfrm>
              <a:off x="675766" y="1805432"/>
              <a:ext cx="997267" cy="997203"/>
            </a:xfrm>
            <a:custGeom>
              <a:avLst/>
              <a:gdLst>
                <a:gd name="connsiteX0" fmla="*/ 498666 w 997267"/>
                <a:gd name="connsiteY0" fmla="*/ 997204 h 997203"/>
                <a:gd name="connsiteX1" fmla="*/ 0 w 997267"/>
                <a:gd name="connsiteY1" fmla="*/ 498602 h 997203"/>
                <a:gd name="connsiteX2" fmla="*/ 498666 w 997267"/>
                <a:gd name="connsiteY2" fmla="*/ 0 h 997203"/>
                <a:gd name="connsiteX3" fmla="*/ 997268 w 997267"/>
                <a:gd name="connsiteY3" fmla="*/ 498602 h 997203"/>
                <a:gd name="connsiteX4" fmla="*/ 498666 w 997267"/>
                <a:gd name="connsiteY4" fmla="*/ 997204 h 997203"/>
                <a:gd name="connsiteX5" fmla="*/ 498666 w 997267"/>
                <a:gd name="connsiteY5" fmla="*/ 36957 h 997203"/>
                <a:gd name="connsiteX6" fmla="*/ 37084 w 997267"/>
                <a:gd name="connsiteY6" fmla="*/ 498538 h 997203"/>
                <a:gd name="connsiteX7" fmla="*/ 498666 w 997267"/>
                <a:gd name="connsiteY7" fmla="*/ 960120 h 997203"/>
                <a:gd name="connsiteX8" fmla="*/ 960247 w 997267"/>
                <a:gd name="connsiteY8" fmla="*/ 498538 h 997203"/>
                <a:gd name="connsiteX9" fmla="*/ 498666 w 997267"/>
                <a:gd name="connsiteY9" fmla="*/ 36957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67" h="997203">
                  <a:moveTo>
                    <a:pt x="498666" y="997204"/>
                  </a:moveTo>
                  <a:cubicBezTo>
                    <a:pt x="223710" y="997204"/>
                    <a:pt x="0" y="773494"/>
                    <a:pt x="0" y="498602"/>
                  </a:cubicBezTo>
                  <a:cubicBezTo>
                    <a:pt x="0" y="223710"/>
                    <a:pt x="223710" y="0"/>
                    <a:pt x="498666" y="0"/>
                  </a:cubicBezTo>
                  <a:cubicBezTo>
                    <a:pt x="773621" y="0"/>
                    <a:pt x="997268" y="223710"/>
                    <a:pt x="997268" y="498602"/>
                  </a:cubicBezTo>
                  <a:cubicBezTo>
                    <a:pt x="997268" y="773494"/>
                    <a:pt x="773557" y="997204"/>
                    <a:pt x="498666" y="997204"/>
                  </a:cubicBezTo>
                  <a:close/>
                  <a:moveTo>
                    <a:pt x="498666" y="36957"/>
                  </a:moveTo>
                  <a:cubicBezTo>
                    <a:pt x="244157" y="36957"/>
                    <a:pt x="37084" y="244030"/>
                    <a:pt x="37084" y="498538"/>
                  </a:cubicBezTo>
                  <a:cubicBezTo>
                    <a:pt x="37084" y="753047"/>
                    <a:pt x="244157" y="960120"/>
                    <a:pt x="498666" y="960120"/>
                  </a:cubicBezTo>
                  <a:cubicBezTo>
                    <a:pt x="753174" y="960120"/>
                    <a:pt x="960247" y="753047"/>
                    <a:pt x="960247" y="498538"/>
                  </a:cubicBezTo>
                  <a:cubicBezTo>
                    <a:pt x="960247" y="244030"/>
                    <a:pt x="753174" y="36957"/>
                    <a:pt x="498666" y="36957"/>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EAC56898-2A40-A026-64A6-6EEEFD6E7C7D}"/>
                </a:ext>
              </a:extLst>
            </p:cNvPr>
            <p:cNvSpPr/>
            <p:nvPr/>
          </p:nvSpPr>
          <p:spPr>
            <a:xfrm>
              <a:off x="2977388" y="682371"/>
              <a:ext cx="960247" cy="960247"/>
            </a:xfrm>
            <a:custGeom>
              <a:avLst/>
              <a:gdLst>
                <a:gd name="connsiteX0" fmla="*/ 960247 w 960247"/>
                <a:gd name="connsiteY0" fmla="*/ 480124 h 960247"/>
                <a:gd name="connsiteX1" fmla="*/ 480123 w 960247"/>
                <a:gd name="connsiteY1" fmla="*/ 960247 h 960247"/>
                <a:gd name="connsiteX2" fmla="*/ 0 w 960247"/>
                <a:gd name="connsiteY2" fmla="*/ 480123 h 960247"/>
                <a:gd name="connsiteX3" fmla="*/ 480123 w 960247"/>
                <a:gd name="connsiteY3" fmla="*/ 0 h 960247"/>
                <a:gd name="connsiteX4" fmla="*/ 960247 w 960247"/>
                <a:gd name="connsiteY4" fmla="*/ 480124 h 96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247" h="960247">
                  <a:moveTo>
                    <a:pt x="960247" y="480124"/>
                  </a:moveTo>
                  <a:cubicBezTo>
                    <a:pt x="960247" y="745288"/>
                    <a:pt x="745288" y="960247"/>
                    <a:pt x="480123" y="960247"/>
                  </a:cubicBezTo>
                  <a:cubicBezTo>
                    <a:pt x="214959" y="960247"/>
                    <a:pt x="0" y="745288"/>
                    <a:pt x="0" y="480123"/>
                  </a:cubicBezTo>
                  <a:cubicBezTo>
                    <a:pt x="0" y="214959"/>
                    <a:pt x="214959" y="0"/>
                    <a:pt x="480123" y="0"/>
                  </a:cubicBezTo>
                  <a:cubicBezTo>
                    <a:pt x="745288" y="0"/>
                    <a:pt x="960247" y="214959"/>
                    <a:pt x="960247" y="480124"/>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9521E3E4-46DF-A54C-FA14-A37215FBAD67}"/>
                </a:ext>
              </a:extLst>
            </p:cNvPr>
            <p:cNvSpPr/>
            <p:nvPr/>
          </p:nvSpPr>
          <p:spPr>
            <a:xfrm>
              <a:off x="698944" y="2962846"/>
              <a:ext cx="960247" cy="960247"/>
            </a:xfrm>
            <a:custGeom>
              <a:avLst/>
              <a:gdLst>
                <a:gd name="connsiteX0" fmla="*/ 960247 w 960247"/>
                <a:gd name="connsiteY0" fmla="*/ 480124 h 960247"/>
                <a:gd name="connsiteX1" fmla="*/ 480124 w 960247"/>
                <a:gd name="connsiteY1" fmla="*/ 960247 h 960247"/>
                <a:gd name="connsiteX2" fmla="*/ 0 w 960247"/>
                <a:gd name="connsiteY2" fmla="*/ 480124 h 960247"/>
                <a:gd name="connsiteX3" fmla="*/ 480124 w 960247"/>
                <a:gd name="connsiteY3" fmla="*/ 0 h 960247"/>
                <a:gd name="connsiteX4" fmla="*/ 960247 w 960247"/>
                <a:gd name="connsiteY4" fmla="*/ 480124 h 96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247" h="960247">
                  <a:moveTo>
                    <a:pt x="960247" y="480124"/>
                  </a:moveTo>
                  <a:cubicBezTo>
                    <a:pt x="960247" y="745288"/>
                    <a:pt x="745289" y="960247"/>
                    <a:pt x="480124" y="960247"/>
                  </a:cubicBezTo>
                  <a:cubicBezTo>
                    <a:pt x="214959" y="960247"/>
                    <a:pt x="0" y="745288"/>
                    <a:pt x="0" y="480124"/>
                  </a:cubicBezTo>
                  <a:cubicBezTo>
                    <a:pt x="0" y="214959"/>
                    <a:pt x="214959" y="0"/>
                    <a:pt x="480124" y="0"/>
                  </a:cubicBezTo>
                  <a:cubicBezTo>
                    <a:pt x="745289" y="0"/>
                    <a:pt x="960247" y="214959"/>
                    <a:pt x="960247" y="480124"/>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AC732EC7-9FB5-FFBE-C781-1C8068215BF9}"/>
                </a:ext>
              </a:extLst>
            </p:cNvPr>
            <p:cNvSpPr/>
            <p:nvPr/>
          </p:nvSpPr>
          <p:spPr>
            <a:xfrm>
              <a:off x="1822005" y="2944431"/>
              <a:ext cx="997267" cy="997203"/>
            </a:xfrm>
            <a:custGeom>
              <a:avLst/>
              <a:gdLst>
                <a:gd name="connsiteX0" fmla="*/ 498602 w 997267"/>
                <a:gd name="connsiteY0" fmla="*/ 997204 h 997203"/>
                <a:gd name="connsiteX1" fmla="*/ 0 w 997267"/>
                <a:gd name="connsiteY1" fmla="*/ 498602 h 997203"/>
                <a:gd name="connsiteX2" fmla="*/ 498602 w 997267"/>
                <a:gd name="connsiteY2" fmla="*/ 0 h 997203"/>
                <a:gd name="connsiteX3" fmla="*/ 997268 w 997267"/>
                <a:gd name="connsiteY3" fmla="*/ 498602 h 997203"/>
                <a:gd name="connsiteX4" fmla="*/ 498602 w 997267"/>
                <a:gd name="connsiteY4" fmla="*/ 997204 h 997203"/>
                <a:gd name="connsiteX5" fmla="*/ 498602 w 997267"/>
                <a:gd name="connsiteY5" fmla="*/ 36957 h 997203"/>
                <a:gd name="connsiteX6" fmla="*/ 37021 w 997267"/>
                <a:gd name="connsiteY6" fmla="*/ 498539 h 997203"/>
                <a:gd name="connsiteX7" fmla="*/ 498602 w 997267"/>
                <a:gd name="connsiteY7" fmla="*/ 960120 h 997203"/>
                <a:gd name="connsiteX8" fmla="*/ 960184 w 997267"/>
                <a:gd name="connsiteY8" fmla="*/ 498539 h 997203"/>
                <a:gd name="connsiteX9" fmla="*/ 498602 w 997267"/>
                <a:gd name="connsiteY9" fmla="*/ 36957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67" h="997203">
                  <a:moveTo>
                    <a:pt x="498602" y="997204"/>
                  </a:moveTo>
                  <a:cubicBezTo>
                    <a:pt x="223647" y="997204"/>
                    <a:pt x="0" y="773494"/>
                    <a:pt x="0" y="498602"/>
                  </a:cubicBezTo>
                  <a:cubicBezTo>
                    <a:pt x="0" y="223711"/>
                    <a:pt x="223711" y="0"/>
                    <a:pt x="498602" y="0"/>
                  </a:cubicBezTo>
                  <a:cubicBezTo>
                    <a:pt x="773494" y="0"/>
                    <a:pt x="997268" y="223711"/>
                    <a:pt x="997268" y="498602"/>
                  </a:cubicBezTo>
                  <a:cubicBezTo>
                    <a:pt x="997268" y="773494"/>
                    <a:pt x="773557" y="997204"/>
                    <a:pt x="498602" y="997204"/>
                  </a:cubicBezTo>
                  <a:close/>
                  <a:moveTo>
                    <a:pt x="498602" y="36957"/>
                  </a:moveTo>
                  <a:cubicBezTo>
                    <a:pt x="244094" y="36957"/>
                    <a:pt x="37021" y="244030"/>
                    <a:pt x="37021" y="498539"/>
                  </a:cubicBezTo>
                  <a:cubicBezTo>
                    <a:pt x="37021" y="753047"/>
                    <a:pt x="244094" y="960120"/>
                    <a:pt x="498602" y="960120"/>
                  </a:cubicBezTo>
                  <a:cubicBezTo>
                    <a:pt x="753110" y="960120"/>
                    <a:pt x="960184" y="753047"/>
                    <a:pt x="960184" y="498539"/>
                  </a:cubicBezTo>
                  <a:cubicBezTo>
                    <a:pt x="960184" y="244030"/>
                    <a:pt x="753110" y="36957"/>
                    <a:pt x="498602" y="36957"/>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3A507FA8-60ED-1972-85A0-29A14C617F53}"/>
                </a:ext>
              </a:extLst>
            </p:cNvPr>
            <p:cNvSpPr/>
            <p:nvPr/>
          </p:nvSpPr>
          <p:spPr>
            <a:xfrm>
              <a:off x="2981960" y="2962846"/>
              <a:ext cx="960247" cy="960247"/>
            </a:xfrm>
            <a:custGeom>
              <a:avLst/>
              <a:gdLst>
                <a:gd name="connsiteX0" fmla="*/ 960247 w 960247"/>
                <a:gd name="connsiteY0" fmla="*/ 480124 h 960247"/>
                <a:gd name="connsiteX1" fmla="*/ 480124 w 960247"/>
                <a:gd name="connsiteY1" fmla="*/ 960247 h 960247"/>
                <a:gd name="connsiteX2" fmla="*/ 0 w 960247"/>
                <a:gd name="connsiteY2" fmla="*/ 480124 h 960247"/>
                <a:gd name="connsiteX3" fmla="*/ 480124 w 960247"/>
                <a:gd name="connsiteY3" fmla="*/ 0 h 960247"/>
                <a:gd name="connsiteX4" fmla="*/ 960247 w 960247"/>
                <a:gd name="connsiteY4" fmla="*/ 480124 h 96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247" h="960247">
                  <a:moveTo>
                    <a:pt x="960247" y="480124"/>
                  </a:moveTo>
                  <a:cubicBezTo>
                    <a:pt x="960247" y="745288"/>
                    <a:pt x="745288" y="960247"/>
                    <a:pt x="480124" y="960247"/>
                  </a:cubicBezTo>
                  <a:cubicBezTo>
                    <a:pt x="214959" y="960247"/>
                    <a:pt x="0" y="745288"/>
                    <a:pt x="0" y="480124"/>
                  </a:cubicBezTo>
                  <a:cubicBezTo>
                    <a:pt x="0" y="214959"/>
                    <a:pt x="214959" y="0"/>
                    <a:pt x="480124" y="0"/>
                  </a:cubicBezTo>
                  <a:cubicBezTo>
                    <a:pt x="745288" y="0"/>
                    <a:pt x="960247" y="214959"/>
                    <a:pt x="960247" y="480124"/>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4E0338B3-9A43-3B46-BCD0-47F65D12A37F}"/>
                </a:ext>
              </a:extLst>
            </p:cNvPr>
            <p:cNvSpPr/>
            <p:nvPr/>
          </p:nvSpPr>
          <p:spPr>
            <a:xfrm>
              <a:off x="2963481" y="4084637"/>
              <a:ext cx="997267" cy="997203"/>
            </a:xfrm>
            <a:custGeom>
              <a:avLst/>
              <a:gdLst>
                <a:gd name="connsiteX0" fmla="*/ 498665 w 997267"/>
                <a:gd name="connsiteY0" fmla="*/ 997204 h 997203"/>
                <a:gd name="connsiteX1" fmla="*/ 0 w 997267"/>
                <a:gd name="connsiteY1" fmla="*/ 498602 h 997203"/>
                <a:gd name="connsiteX2" fmla="*/ 498665 w 997267"/>
                <a:gd name="connsiteY2" fmla="*/ 0 h 997203"/>
                <a:gd name="connsiteX3" fmla="*/ 997267 w 997267"/>
                <a:gd name="connsiteY3" fmla="*/ 498602 h 997203"/>
                <a:gd name="connsiteX4" fmla="*/ 498665 w 997267"/>
                <a:gd name="connsiteY4" fmla="*/ 997204 h 997203"/>
                <a:gd name="connsiteX5" fmla="*/ 498665 w 997267"/>
                <a:gd name="connsiteY5" fmla="*/ 37021 h 997203"/>
                <a:gd name="connsiteX6" fmla="*/ 37084 w 997267"/>
                <a:gd name="connsiteY6" fmla="*/ 498602 h 997203"/>
                <a:gd name="connsiteX7" fmla="*/ 498665 w 997267"/>
                <a:gd name="connsiteY7" fmla="*/ 960184 h 997203"/>
                <a:gd name="connsiteX8" fmla="*/ 960247 w 997267"/>
                <a:gd name="connsiteY8" fmla="*/ 498602 h 997203"/>
                <a:gd name="connsiteX9" fmla="*/ 498665 w 997267"/>
                <a:gd name="connsiteY9" fmla="*/ 37021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67" h="997203">
                  <a:moveTo>
                    <a:pt x="498665" y="997204"/>
                  </a:moveTo>
                  <a:cubicBezTo>
                    <a:pt x="223711" y="997204"/>
                    <a:pt x="0" y="773494"/>
                    <a:pt x="0" y="498602"/>
                  </a:cubicBezTo>
                  <a:cubicBezTo>
                    <a:pt x="0" y="223710"/>
                    <a:pt x="223711" y="0"/>
                    <a:pt x="498665" y="0"/>
                  </a:cubicBezTo>
                  <a:cubicBezTo>
                    <a:pt x="773621" y="0"/>
                    <a:pt x="997267" y="223710"/>
                    <a:pt x="997267" y="498602"/>
                  </a:cubicBezTo>
                  <a:cubicBezTo>
                    <a:pt x="997267" y="773494"/>
                    <a:pt x="773557" y="997204"/>
                    <a:pt x="498665" y="997204"/>
                  </a:cubicBezTo>
                  <a:close/>
                  <a:moveTo>
                    <a:pt x="498665" y="37021"/>
                  </a:moveTo>
                  <a:cubicBezTo>
                    <a:pt x="244158" y="37021"/>
                    <a:pt x="37084" y="244094"/>
                    <a:pt x="37084" y="498602"/>
                  </a:cubicBezTo>
                  <a:cubicBezTo>
                    <a:pt x="37084" y="753110"/>
                    <a:pt x="244158" y="960184"/>
                    <a:pt x="498665" y="960184"/>
                  </a:cubicBezTo>
                  <a:cubicBezTo>
                    <a:pt x="753173" y="960184"/>
                    <a:pt x="960247" y="753110"/>
                    <a:pt x="960247" y="498602"/>
                  </a:cubicBezTo>
                  <a:cubicBezTo>
                    <a:pt x="960247" y="244094"/>
                    <a:pt x="753173" y="37021"/>
                    <a:pt x="498665" y="37021"/>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367983A2-4CCB-FFDE-577C-EF7ABD63F4AF}"/>
                </a:ext>
              </a:extLst>
            </p:cNvPr>
            <p:cNvSpPr/>
            <p:nvPr/>
          </p:nvSpPr>
          <p:spPr>
            <a:xfrm>
              <a:off x="671194" y="5224907"/>
              <a:ext cx="997203" cy="997203"/>
            </a:xfrm>
            <a:custGeom>
              <a:avLst/>
              <a:gdLst>
                <a:gd name="connsiteX0" fmla="*/ 498602 w 997203"/>
                <a:gd name="connsiteY0" fmla="*/ 997204 h 997203"/>
                <a:gd name="connsiteX1" fmla="*/ 0 w 997203"/>
                <a:gd name="connsiteY1" fmla="*/ 498602 h 997203"/>
                <a:gd name="connsiteX2" fmla="*/ 498602 w 997203"/>
                <a:gd name="connsiteY2" fmla="*/ 0 h 997203"/>
                <a:gd name="connsiteX3" fmla="*/ 997204 w 997203"/>
                <a:gd name="connsiteY3" fmla="*/ 498602 h 997203"/>
                <a:gd name="connsiteX4" fmla="*/ 498602 w 997203"/>
                <a:gd name="connsiteY4" fmla="*/ 997204 h 997203"/>
                <a:gd name="connsiteX5" fmla="*/ 498602 w 997203"/>
                <a:gd name="connsiteY5" fmla="*/ 36957 h 997203"/>
                <a:gd name="connsiteX6" fmla="*/ 37021 w 997203"/>
                <a:gd name="connsiteY6" fmla="*/ 498539 h 997203"/>
                <a:gd name="connsiteX7" fmla="*/ 498602 w 997203"/>
                <a:gd name="connsiteY7" fmla="*/ 960120 h 997203"/>
                <a:gd name="connsiteX8" fmla="*/ 960184 w 997203"/>
                <a:gd name="connsiteY8" fmla="*/ 498539 h 997203"/>
                <a:gd name="connsiteX9" fmla="*/ 498602 w 997203"/>
                <a:gd name="connsiteY9" fmla="*/ 36957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03" h="997203">
                  <a:moveTo>
                    <a:pt x="498602" y="997204"/>
                  </a:moveTo>
                  <a:cubicBezTo>
                    <a:pt x="223647" y="997204"/>
                    <a:pt x="0" y="773494"/>
                    <a:pt x="0" y="498602"/>
                  </a:cubicBezTo>
                  <a:cubicBezTo>
                    <a:pt x="0" y="223710"/>
                    <a:pt x="223710" y="0"/>
                    <a:pt x="498602" y="0"/>
                  </a:cubicBezTo>
                  <a:cubicBezTo>
                    <a:pt x="773494" y="0"/>
                    <a:pt x="997204" y="223710"/>
                    <a:pt x="997204" y="498602"/>
                  </a:cubicBezTo>
                  <a:cubicBezTo>
                    <a:pt x="997204" y="773494"/>
                    <a:pt x="773494" y="997204"/>
                    <a:pt x="498602" y="997204"/>
                  </a:cubicBezTo>
                  <a:close/>
                  <a:moveTo>
                    <a:pt x="498602" y="36957"/>
                  </a:moveTo>
                  <a:cubicBezTo>
                    <a:pt x="244094" y="36957"/>
                    <a:pt x="37021" y="244030"/>
                    <a:pt x="37021" y="498539"/>
                  </a:cubicBezTo>
                  <a:cubicBezTo>
                    <a:pt x="37021" y="753046"/>
                    <a:pt x="244094" y="960120"/>
                    <a:pt x="498602" y="960120"/>
                  </a:cubicBezTo>
                  <a:cubicBezTo>
                    <a:pt x="753110" y="960120"/>
                    <a:pt x="960184" y="753046"/>
                    <a:pt x="960184" y="498539"/>
                  </a:cubicBezTo>
                  <a:cubicBezTo>
                    <a:pt x="960184" y="244030"/>
                    <a:pt x="753110" y="36957"/>
                    <a:pt x="498602" y="36957"/>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7563B4AF-8158-E306-13D5-C468DE7AB058}"/>
                </a:ext>
              </a:extLst>
            </p:cNvPr>
            <p:cNvSpPr/>
            <p:nvPr/>
          </p:nvSpPr>
          <p:spPr>
            <a:xfrm>
              <a:off x="2954273" y="5224907"/>
              <a:ext cx="997267" cy="997203"/>
            </a:xfrm>
            <a:custGeom>
              <a:avLst/>
              <a:gdLst>
                <a:gd name="connsiteX0" fmla="*/ 498602 w 997267"/>
                <a:gd name="connsiteY0" fmla="*/ 997204 h 997203"/>
                <a:gd name="connsiteX1" fmla="*/ 0 w 997267"/>
                <a:gd name="connsiteY1" fmla="*/ 498602 h 997203"/>
                <a:gd name="connsiteX2" fmla="*/ 498602 w 997267"/>
                <a:gd name="connsiteY2" fmla="*/ 0 h 997203"/>
                <a:gd name="connsiteX3" fmla="*/ 997267 w 997267"/>
                <a:gd name="connsiteY3" fmla="*/ 498602 h 997203"/>
                <a:gd name="connsiteX4" fmla="*/ 498602 w 997267"/>
                <a:gd name="connsiteY4" fmla="*/ 997204 h 997203"/>
                <a:gd name="connsiteX5" fmla="*/ 498602 w 997267"/>
                <a:gd name="connsiteY5" fmla="*/ 36957 h 997203"/>
                <a:gd name="connsiteX6" fmla="*/ 37021 w 997267"/>
                <a:gd name="connsiteY6" fmla="*/ 498539 h 997203"/>
                <a:gd name="connsiteX7" fmla="*/ 498602 w 997267"/>
                <a:gd name="connsiteY7" fmla="*/ 960120 h 997203"/>
                <a:gd name="connsiteX8" fmla="*/ 960184 w 997267"/>
                <a:gd name="connsiteY8" fmla="*/ 498539 h 997203"/>
                <a:gd name="connsiteX9" fmla="*/ 498602 w 997267"/>
                <a:gd name="connsiteY9" fmla="*/ 36957 h 99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267" h="997203">
                  <a:moveTo>
                    <a:pt x="498602" y="997204"/>
                  </a:moveTo>
                  <a:cubicBezTo>
                    <a:pt x="223647" y="997204"/>
                    <a:pt x="0" y="773494"/>
                    <a:pt x="0" y="498602"/>
                  </a:cubicBezTo>
                  <a:cubicBezTo>
                    <a:pt x="0" y="223710"/>
                    <a:pt x="223711" y="0"/>
                    <a:pt x="498602" y="0"/>
                  </a:cubicBezTo>
                  <a:cubicBezTo>
                    <a:pt x="773494" y="0"/>
                    <a:pt x="997267" y="223710"/>
                    <a:pt x="997267" y="498602"/>
                  </a:cubicBezTo>
                  <a:cubicBezTo>
                    <a:pt x="997267" y="773494"/>
                    <a:pt x="773557" y="997204"/>
                    <a:pt x="498602" y="997204"/>
                  </a:cubicBezTo>
                  <a:close/>
                  <a:moveTo>
                    <a:pt x="498602" y="36957"/>
                  </a:moveTo>
                  <a:cubicBezTo>
                    <a:pt x="244094" y="36957"/>
                    <a:pt x="37021" y="244030"/>
                    <a:pt x="37021" y="498539"/>
                  </a:cubicBezTo>
                  <a:cubicBezTo>
                    <a:pt x="37021" y="753046"/>
                    <a:pt x="244094" y="960120"/>
                    <a:pt x="498602" y="960120"/>
                  </a:cubicBezTo>
                  <a:cubicBezTo>
                    <a:pt x="753110" y="960120"/>
                    <a:pt x="960184" y="753046"/>
                    <a:pt x="960184" y="498539"/>
                  </a:cubicBezTo>
                  <a:cubicBezTo>
                    <a:pt x="960184" y="244030"/>
                    <a:pt x="753110" y="36957"/>
                    <a:pt x="498602" y="36957"/>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BB6F0EC2-1B7B-16A3-9FFF-B271DBCA83BF}"/>
                </a:ext>
              </a:extLst>
            </p:cNvPr>
            <p:cNvSpPr/>
            <p:nvPr/>
          </p:nvSpPr>
          <p:spPr>
            <a:xfrm>
              <a:off x="698880" y="4103109"/>
              <a:ext cx="2101786" cy="960253"/>
            </a:xfrm>
            <a:custGeom>
              <a:avLst/>
              <a:gdLst>
                <a:gd name="connsiteX0" fmla="*/ 1624076 w 2101786"/>
                <a:gd name="connsiteY0" fmla="*/ 6 h 960253"/>
                <a:gd name="connsiteX1" fmla="*/ 1210882 w 2101786"/>
                <a:gd name="connsiteY1" fmla="*/ 231591 h 960253"/>
                <a:gd name="connsiteX2" fmla="*/ 1055243 w 2101786"/>
                <a:gd name="connsiteY2" fmla="*/ 319602 h 960253"/>
                <a:gd name="connsiteX3" fmla="*/ 1046607 w 2101786"/>
                <a:gd name="connsiteY3" fmla="*/ 319602 h 960253"/>
                <a:gd name="connsiteX4" fmla="*/ 890969 w 2101786"/>
                <a:gd name="connsiteY4" fmla="*/ 231591 h 960253"/>
                <a:gd name="connsiteX5" fmla="*/ 477774 w 2101786"/>
                <a:gd name="connsiteY5" fmla="*/ 6 h 960253"/>
                <a:gd name="connsiteX6" fmla="*/ 0 w 2101786"/>
                <a:gd name="connsiteY6" fmla="*/ 480130 h 960253"/>
                <a:gd name="connsiteX7" fmla="*/ 480124 w 2101786"/>
                <a:gd name="connsiteY7" fmla="*/ 960254 h 960253"/>
                <a:gd name="connsiteX8" fmla="*/ 891667 w 2101786"/>
                <a:gd name="connsiteY8" fmla="*/ 727462 h 960253"/>
                <a:gd name="connsiteX9" fmla="*/ 1046607 w 2101786"/>
                <a:gd name="connsiteY9" fmla="*/ 640658 h 960253"/>
                <a:gd name="connsiteX10" fmla="*/ 1055180 w 2101786"/>
                <a:gd name="connsiteY10" fmla="*/ 640658 h 960253"/>
                <a:gd name="connsiteX11" fmla="*/ 1210120 w 2101786"/>
                <a:gd name="connsiteY11" fmla="*/ 727462 h 960253"/>
                <a:gd name="connsiteX12" fmla="*/ 1621663 w 2101786"/>
                <a:gd name="connsiteY12" fmla="*/ 960254 h 960253"/>
                <a:gd name="connsiteX13" fmla="*/ 2101787 w 2101786"/>
                <a:gd name="connsiteY13" fmla="*/ 480130 h 960253"/>
                <a:gd name="connsiteX14" fmla="*/ 1624013 w 2101786"/>
                <a:gd name="connsiteY14" fmla="*/ 6 h 96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01786" h="960253">
                  <a:moveTo>
                    <a:pt x="1624076" y="6"/>
                  </a:moveTo>
                  <a:cubicBezTo>
                    <a:pt x="1448880" y="-819"/>
                    <a:pt x="1295400" y="92145"/>
                    <a:pt x="1210882" y="231591"/>
                  </a:cubicBezTo>
                  <a:cubicBezTo>
                    <a:pt x="1177862" y="286074"/>
                    <a:pt x="1118997" y="319602"/>
                    <a:pt x="1055243" y="319602"/>
                  </a:cubicBezTo>
                  <a:lnTo>
                    <a:pt x="1046607" y="319602"/>
                  </a:lnTo>
                  <a:cubicBezTo>
                    <a:pt x="982917" y="319602"/>
                    <a:pt x="924052" y="286074"/>
                    <a:pt x="890969" y="231591"/>
                  </a:cubicBezTo>
                  <a:cubicBezTo>
                    <a:pt x="806450" y="92145"/>
                    <a:pt x="652971" y="-882"/>
                    <a:pt x="477774" y="6"/>
                  </a:cubicBezTo>
                  <a:cubicBezTo>
                    <a:pt x="213170" y="1276"/>
                    <a:pt x="0" y="215525"/>
                    <a:pt x="0" y="480130"/>
                  </a:cubicBezTo>
                  <a:cubicBezTo>
                    <a:pt x="0" y="745306"/>
                    <a:pt x="214948" y="960254"/>
                    <a:pt x="480124" y="960254"/>
                  </a:cubicBezTo>
                  <a:cubicBezTo>
                    <a:pt x="654812" y="960254"/>
                    <a:pt x="807720" y="866972"/>
                    <a:pt x="891667" y="727462"/>
                  </a:cubicBezTo>
                  <a:cubicBezTo>
                    <a:pt x="924306" y="673297"/>
                    <a:pt x="983361" y="640658"/>
                    <a:pt x="1046607" y="640658"/>
                  </a:cubicBezTo>
                  <a:lnTo>
                    <a:pt x="1055180" y="640658"/>
                  </a:lnTo>
                  <a:cubicBezTo>
                    <a:pt x="1118426" y="640658"/>
                    <a:pt x="1177481" y="673297"/>
                    <a:pt x="1210120" y="727462"/>
                  </a:cubicBezTo>
                  <a:cubicBezTo>
                    <a:pt x="1294130" y="866972"/>
                    <a:pt x="1446975" y="960254"/>
                    <a:pt x="1621663" y="960254"/>
                  </a:cubicBezTo>
                  <a:cubicBezTo>
                    <a:pt x="1886839" y="960254"/>
                    <a:pt x="2101787" y="745306"/>
                    <a:pt x="2101787" y="480130"/>
                  </a:cubicBezTo>
                  <a:cubicBezTo>
                    <a:pt x="2101787" y="215525"/>
                    <a:pt x="1888617" y="1276"/>
                    <a:pt x="1624013" y="6"/>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5F5959F9-DC81-FE3A-885A-093BB7B2EF31}"/>
                </a:ext>
              </a:extLst>
            </p:cNvPr>
            <p:cNvSpPr/>
            <p:nvPr/>
          </p:nvSpPr>
          <p:spPr>
            <a:xfrm>
              <a:off x="1817433" y="1804155"/>
              <a:ext cx="3280410" cy="997210"/>
            </a:xfrm>
            <a:custGeom>
              <a:avLst/>
              <a:gdLst>
                <a:gd name="connsiteX0" fmla="*/ 2781554 w 3280410"/>
                <a:gd name="connsiteY0" fmla="*/ 997211 h 997210"/>
                <a:gd name="connsiteX1" fmla="*/ 2356358 w 3280410"/>
                <a:gd name="connsiteY1" fmla="*/ 759086 h 997210"/>
                <a:gd name="connsiteX2" fmla="*/ 2211070 w 3280410"/>
                <a:gd name="connsiteY2" fmla="*/ 677615 h 997210"/>
                <a:gd name="connsiteX3" fmla="*/ 2065338 w 3280410"/>
                <a:gd name="connsiteY3" fmla="*/ 759086 h 997210"/>
                <a:gd name="connsiteX4" fmla="*/ 1640078 w 3280410"/>
                <a:gd name="connsiteY4" fmla="*/ 997211 h 997210"/>
                <a:gd name="connsiteX5" fmla="*/ 1214819 w 3280410"/>
                <a:gd name="connsiteY5" fmla="*/ 759086 h 997210"/>
                <a:gd name="connsiteX6" fmla="*/ 1069531 w 3280410"/>
                <a:gd name="connsiteY6" fmla="*/ 677615 h 997210"/>
                <a:gd name="connsiteX7" fmla="*/ 923798 w 3280410"/>
                <a:gd name="connsiteY7" fmla="*/ 759086 h 997210"/>
                <a:gd name="connsiteX8" fmla="*/ 498602 w 3280410"/>
                <a:gd name="connsiteY8" fmla="*/ 997211 h 997210"/>
                <a:gd name="connsiteX9" fmla="*/ 0 w 3280410"/>
                <a:gd name="connsiteY9" fmla="*/ 498609 h 997210"/>
                <a:gd name="connsiteX10" fmla="*/ 496189 w 3280410"/>
                <a:gd name="connsiteY10" fmla="*/ 7 h 997210"/>
                <a:gd name="connsiteX11" fmla="*/ 498666 w 3280410"/>
                <a:gd name="connsiteY11" fmla="*/ 7 h 997210"/>
                <a:gd name="connsiteX12" fmla="*/ 923100 w 3280410"/>
                <a:gd name="connsiteY12" fmla="*/ 236925 h 997210"/>
                <a:gd name="connsiteX13" fmla="*/ 1069213 w 3280410"/>
                <a:gd name="connsiteY13" fmla="*/ 319666 h 997210"/>
                <a:gd name="connsiteX14" fmla="*/ 1214946 w 3280410"/>
                <a:gd name="connsiteY14" fmla="*/ 238195 h 997210"/>
                <a:gd name="connsiteX15" fmla="*/ 1640205 w 3280410"/>
                <a:gd name="connsiteY15" fmla="*/ 70 h 997210"/>
                <a:gd name="connsiteX16" fmla="*/ 2065464 w 3280410"/>
                <a:gd name="connsiteY16" fmla="*/ 238195 h 997210"/>
                <a:gd name="connsiteX17" fmla="*/ 2210753 w 3280410"/>
                <a:gd name="connsiteY17" fmla="*/ 319666 h 997210"/>
                <a:gd name="connsiteX18" fmla="*/ 2357311 w 3280410"/>
                <a:gd name="connsiteY18" fmla="*/ 236925 h 997210"/>
                <a:gd name="connsiteX19" fmla="*/ 2784221 w 3280410"/>
                <a:gd name="connsiteY19" fmla="*/ 7 h 997210"/>
                <a:gd name="connsiteX20" fmla="*/ 3280410 w 3280410"/>
                <a:gd name="connsiteY20" fmla="*/ 498609 h 997210"/>
                <a:gd name="connsiteX21" fmla="*/ 2781808 w 3280410"/>
                <a:gd name="connsiteY21" fmla="*/ 997211 h 997210"/>
                <a:gd name="connsiteX22" fmla="*/ 2210626 w 3280410"/>
                <a:gd name="connsiteY22" fmla="*/ 640531 h 997210"/>
                <a:gd name="connsiteX23" fmla="*/ 2387981 w 3280410"/>
                <a:gd name="connsiteY23" fmla="*/ 739655 h 997210"/>
                <a:gd name="connsiteX24" fmla="*/ 2781618 w 3280410"/>
                <a:gd name="connsiteY24" fmla="*/ 960127 h 997210"/>
                <a:gd name="connsiteX25" fmla="*/ 3243199 w 3280410"/>
                <a:gd name="connsiteY25" fmla="*/ 498545 h 997210"/>
                <a:gd name="connsiteX26" fmla="*/ 2783840 w 3280410"/>
                <a:gd name="connsiteY26" fmla="*/ 36964 h 997210"/>
                <a:gd name="connsiteX27" fmla="*/ 2781554 w 3280410"/>
                <a:gd name="connsiteY27" fmla="*/ 36964 h 997210"/>
                <a:gd name="connsiteX28" fmla="*/ 2388616 w 3280410"/>
                <a:gd name="connsiteY28" fmla="*/ 256293 h 997210"/>
                <a:gd name="connsiteX29" fmla="*/ 2211007 w 3280410"/>
                <a:gd name="connsiteY29" fmla="*/ 356559 h 997210"/>
                <a:gd name="connsiteX30" fmla="*/ 2033714 w 3280410"/>
                <a:gd name="connsiteY30" fmla="*/ 257436 h 997210"/>
                <a:gd name="connsiteX31" fmla="*/ 1640078 w 3280410"/>
                <a:gd name="connsiteY31" fmla="*/ 36964 h 997210"/>
                <a:gd name="connsiteX32" fmla="*/ 1246442 w 3280410"/>
                <a:gd name="connsiteY32" fmla="*/ 257436 h 997210"/>
                <a:gd name="connsiteX33" fmla="*/ 1069594 w 3280410"/>
                <a:gd name="connsiteY33" fmla="*/ 356559 h 997210"/>
                <a:gd name="connsiteX34" fmla="*/ 891540 w 3280410"/>
                <a:gd name="connsiteY34" fmla="*/ 256293 h 997210"/>
                <a:gd name="connsiteX35" fmla="*/ 498602 w 3280410"/>
                <a:gd name="connsiteY35" fmla="*/ 36964 h 997210"/>
                <a:gd name="connsiteX36" fmla="*/ 496316 w 3280410"/>
                <a:gd name="connsiteY36" fmla="*/ 36964 h 997210"/>
                <a:gd name="connsiteX37" fmla="*/ 36957 w 3280410"/>
                <a:gd name="connsiteY37" fmla="*/ 498545 h 997210"/>
                <a:gd name="connsiteX38" fmla="*/ 498539 w 3280410"/>
                <a:gd name="connsiteY38" fmla="*/ 960127 h 997210"/>
                <a:gd name="connsiteX39" fmla="*/ 892175 w 3280410"/>
                <a:gd name="connsiteY39" fmla="*/ 739655 h 997210"/>
                <a:gd name="connsiteX40" fmla="*/ 1069086 w 3280410"/>
                <a:gd name="connsiteY40" fmla="*/ 640531 h 997210"/>
                <a:gd name="connsiteX41" fmla="*/ 1246378 w 3280410"/>
                <a:gd name="connsiteY41" fmla="*/ 739655 h 997210"/>
                <a:gd name="connsiteX42" fmla="*/ 1640014 w 3280410"/>
                <a:gd name="connsiteY42" fmla="*/ 960127 h 997210"/>
                <a:gd name="connsiteX43" fmla="*/ 2033651 w 3280410"/>
                <a:gd name="connsiteY43" fmla="*/ 739655 h 997210"/>
                <a:gd name="connsiteX44" fmla="*/ 2210499 w 3280410"/>
                <a:gd name="connsiteY44" fmla="*/ 640531 h 99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80410" h="997210">
                  <a:moveTo>
                    <a:pt x="2781554" y="997211"/>
                  </a:moveTo>
                  <a:cubicBezTo>
                    <a:pt x="2606802" y="997211"/>
                    <a:pt x="2447862" y="908184"/>
                    <a:pt x="2356358" y="759086"/>
                  </a:cubicBezTo>
                  <a:cubicBezTo>
                    <a:pt x="2325497" y="708857"/>
                    <a:pt x="2269808" y="677615"/>
                    <a:pt x="2211070" y="677615"/>
                  </a:cubicBezTo>
                  <a:cubicBezTo>
                    <a:pt x="2152333" y="677615"/>
                    <a:pt x="2096135" y="708857"/>
                    <a:pt x="2065338" y="759086"/>
                  </a:cubicBezTo>
                  <a:cubicBezTo>
                    <a:pt x="1973834" y="908184"/>
                    <a:pt x="1814830" y="997211"/>
                    <a:pt x="1640078" y="997211"/>
                  </a:cubicBezTo>
                  <a:cubicBezTo>
                    <a:pt x="1465326" y="997211"/>
                    <a:pt x="1306386" y="908184"/>
                    <a:pt x="1214819" y="759086"/>
                  </a:cubicBezTo>
                  <a:cubicBezTo>
                    <a:pt x="1183958" y="708857"/>
                    <a:pt x="1128332" y="677615"/>
                    <a:pt x="1069531" y="677615"/>
                  </a:cubicBezTo>
                  <a:cubicBezTo>
                    <a:pt x="1010730" y="677615"/>
                    <a:pt x="954596" y="708857"/>
                    <a:pt x="923798" y="759086"/>
                  </a:cubicBezTo>
                  <a:cubicBezTo>
                    <a:pt x="832295" y="908184"/>
                    <a:pt x="673291" y="997211"/>
                    <a:pt x="498602" y="997211"/>
                  </a:cubicBezTo>
                  <a:cubicBezTo>
                    <a:pt x="223647" y="997211"/>
                    <a:pt x="0" y="773500"/>
                    <a:pt x="0" y="498609"/>
                  </a:cubicBezTo>
                  <a:cubicBezTo>
                    <a:pt x="0" y="224987"/>
                    <a:pt x="222568" y="1277"/>
                    <a:pt x="496189" y="7"/>
                  </a:cubicBezTo>
                  <a:cubicBezTo>
                    <a:pt x="497015" y="7"/>
                    <a:pt x="497840" y="7"/>
                    <a:pt x="498666" y="7"/>
                  </a:cubicBezTo>
                  <a:cubicBezTo>
                    <a:pt x="672846" y="7"/>
                    <a:pt x="831342" y="88399"/>
                    <a:pt x="923100" y="236925"/>
                  </a:cubicBezTo>
                  <a:cubicBezTo>
                    <a:pt x="955104" y="288741"/>
                    <a:pt x="1009714" y="319666"/>
                    <a:pt x="1069213" y="319666"/>
                  </a:cubicBezTo>
                  <a:cubicBezTo>
                    <a:pt x="1128713" y="319666"/>
                    <a:pt x="1184085" y="288424"/>
                    <a:pt x="1214946" y="238195"/>
                  </a:cubicBezTo>
                  <a:cubicBezTo>
                    <a:pt x="1306449" y="89097"/>
                    <a:pt x="1465453" y="70"/>
                    <a:pt x="1640205" y="70"/>
                  </a:cubicBezTo>
                  <a:cubicBezTo>
                    <a:pt x="1814957" y="70"/>
                    <a:pt x="1973898" y="89097"/>
                    <a:pt x="2065464" y="238195"/>
                  </a:cubicBezTo>
                  <a:cubicBezTo>
                    <a:pt x="2096326" y="288424"/>
                    <a:pt x="2151952" y="319666"/>
                    <a:pt x="2210753" y="319666"/>
                  </a:cubicBezTo>
                  <a:cubicBezTo>
                    <a:pt x="2269554" y="319666"/>
                    <a:pt x="2325307" y="288741"/>
                    <a:pt x="2357311" y="236925"/>
                  </a:cubicBezTo>
                  <a:cubicBezTo>
                    <a:pt x="2449449" y="87764"/>
                    <a:pt x="2608771" y="-882"/>
                    <a:pt x="2784221" y="7"/>
                  </a:cubicBezTo>
                  <a:cubicBezTo>
                    <a:pt x="3057843" y="1340"/>
                    <a:pt x="3280410" y="224987"/>
                    <a:pt x="3280410" y="498609"/>
                  </a:cubicBezTo>
                  <a:cubicBezTo>
                    <a:pt x="3280410" y="773564"/>
                    <a:pt x="3056700" y="997211"/>
                    <a:pt x="2781808" y="997211"/>
                  </a:cubicBezTo>
                  <a:close/>
                  <a:moveTo>
                    <a:pt x="2210626" y="640531"/>
                  </a:moveTo>
                  <a:cubicBezTo>
                    <a:pt x="2282635" y="640531"/>
                    <a:pt x="2350453" y="678504"/>
                    <a:pt x="2387981" y="739655"/>
                  </a:cubicBezTo>
                  <a:cubicBezTo>
                    <a:pt x="2472690" y="877704"/>
                    <a:pt x="2619883" y="960127"/>
                    <a:pt x="2781618" y="960127"/>
                  </a:cubicBezTo>
                  <a:cubicBezTo>
                    <a:pt x="3036126" y="960127"/>
                    <a:pt x="3243199" y="753053"/>
                    <a:pt x="3243199" y="498545"/>
                  </a:cubicBezTo>
                  <a:cubicBezTo>
                    <a:pt x="3243199" y="245244"/>
                    <a:pt x="3037142" y="38170"/>
                    <a:pt x="2783840" y="36964"/>
                  </a:cubicBezTo>
                  <a:cubicBezTo>
                    <a:pt x="2783078" y="36964"/>
                    <a:pt x="2782316" y="36964"/>
                    <a:pt x="2781554" y="36964"/>
                  </a:cubicBezTo>
                  <a:cubicBezTo>
                    <a:pt x="2620328" y="36964"/>
                    <a:pt x="2473579" y="118815"/>
                    <a:pt x="2388616" y="256293"/>
                  </a:cubicBezTo>
                  <a:cubicBezTo>
                    <a:pt x="2349818" y="319094"/>
                    <a:pt x="2283397" y="356559"/>
                    <a:pt x="2211007" y="356559"/>
                  </a:cubicBezTo>
                  <a:cubicBezTo>
                    <a:pt x="2138617" y="356559"/>
                    <a:pt x="2071243" y="318586"/>
                    <a:pt x="2033714" y="257436"/>
                  </a:cubicBezTo>
                  <a:cubicBezTo>
                    <a:pt x="1949006" y="119387"/>
                    <a:pt x="1801813" y="36964"/>
                    <a:pt x="1640078" y="36964"/>
                  </a:cubicBezTo>
                  <a:cubicBezTo>
                    <a:pt x="1478344" y="36964"/>
                    <a:pt x="1331151" y="119387"/>
                    <a:pt x="1246442" y="257436"/>
                  </a:cubicBezTo>
                  <a:cubicBezTo>
                    <a:pt x="1208913" y="318586"/>
                    <a:pt x="1141159" y="356559"/>
                    <a:pt x="1069594" y="356559"/>
                  </a:cubicBezTo>
                  <a:cubicBezTo>
                    <a:pt x="998030" y="356559"/>
                    <a:pt x="930339" y="319094"/>
                    <a:pt x="891540" y="256293"/>
                  </a:cubicBezTo>
                  <a:cubicBezTo>
                    <a:pt x="806641" y="118815"/>
                    <a:pt x="659829" y="36964"/>
                    <a:pt x="498602" y="36964"/>
                  </a:cubicBezTo>
                  <a:cubicBezTo>
                    <a:pt x="497840" y="36964"/>
                    <a:pt x="497078" y="36964"/>
                    <a:pt x="496316" y="36964"/>
                  </a:cubicBezTo>
                  <a:cubicBezTo>
                    <a:pt x="243015" y="38170"/>
                    <a:pt x="36957" y="245244"/>
                    <a:pt x="36957" y="498545"/>
                  </a:cubicBezTo>
                  <a:cubicBezTo>
                    <a:pt x="36957" y="753053"/>
                    <a:pt x="244031" y="960127"/>
                    <a:pt x="498539" y="960127"/>
                  </a:cubicBezTo>
                  <a:cubicBezTo>
                    <a:pt x="660273" y="960127"/>
                    <a:pt x="807466" y="877704"/>
                    <a:pt x="892175" y="739655"/>
                  </a:cubicBezTo>
                  <a:cubicBezTo>
                    <a:pt x="929704" y="678504"/>
                    <a:pt x="997458" y="640531"/>
                    <a:pt x="1069086" y="640531"/>
                  </a:cubicBezTo>
                  <a:cubicBezTo>
                    <a:pt x="1140714" y="640531"/>
                    <a:pt x="1208913" y="678504"/>
                    <a:pt x="1246378" y="739655"/>
                  </a:cubicBezTo>
                  <a:cubicBezTo>
                    <a:pt x="1331087" y="877704"/>
                    <a:pt x="1478280" y="960127"/>
                    <a:pt x="1640014" y="960127"/>
                  </a:cubicBezTo>
                  <a:cubicBezTo>
                    <a:pt x="1801749" y="960127"/>
                    <a:pt x="1948942" y="877704"/>
                    <a:pt x="2033651" y="739655"/>
                  </a:cubicBezTo>
                  <a:cubicBezTo>
                    <a:pt x="2071180" y="678504"/>
                    <a:pt x="2138934" y="640531"/>
                    <a:pt x="2210499" y="640531"/>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B0B4479A-CA1F-6853-B6DC-B197BECA96D0}"/>
                </a:ext>
              </a:extLst>
            </p:cNvPr>
            <p:cNvSpPr/>
            <p:nvPr/>
          </p:nvSpPr>
          <p:spPr>
            <a:xfrm>
              <a:off x="1873440" y="5253735"/>
              <a:ext cx="601979" cy="294830"/>
            </a:xfrm>
            <a:custGeom>
              <a:avLst/>
              <a:gdLst>
                <a:gd name="connsiteX0" fmla="*/ 546862 w 601979"/>
                <a:gd name="connsiteY0" fmla="*/ 0 h 294830"/>
                <a:gd name="connsiteX1" fmla="*/ 23939 w 601979"/>
                <a:gd name="connsiteY1" fmla="*/ 242888 h 294830"/>
                <a:gd name="connsiteX2" fmla="*/ 0 w 601979"/>
                <a:gd name="connsiteY2" fmla="*/ 294830 h 294830"/>
                <a:gd name="connsiteX3" fmla="*/ 601980 w 601979"/>
                <a:gd name="connsiteY3" fmla="*/ 15177 h 294830"/>
                <a:gd name="connsiteX4" fmla="*/ 546799 w 601979"/>
                <a:gd name="connsiteY4" fmla="*/ 0 h 294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979" h="294830">
                  <a:moveTo>
                    <a:pt x="546862" y="0"/>
                  </a:moveTo>
                  <a:lnTo>
                    <a:pt x="23939" y="242888"/>
                  </a:lnTo>
                  <a:cubicBezTo>
                    <a:pt x="14923" y="259652"/>
                    <a:pt x="6985" y="276987"/>
                    <a:pt x="0" y="294830"/>
                  </a:cubicBezTo>
                  <a:lnTo>
                    <a:pt x="601980" y="15177"/>
                  </a:lnTo>
                  <a:cubicBezTo>
                    <a:pt x="584010" y="9080"/>
                    <a:pt x="565658" y="3937"/>
                    <a:pt x="546799" y="0"/>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E8607C7D-E7A6-F077-C4A4-EC15F72EDEEF}"/>
                </a:ext>
              </a:extLst>
            </p:cNvPr>
            <p:cNvSpPr/>
            <p:nvPr/>
          </p:nvSpPr>
          <p:spPr>
            <a:xfrm>
              <a:off x="1840483" y="5335079"/>
              <a:ext cx="794892" cy="395033"/>
            </a:xfrm>
            <a:custGeom>
              <a:avLst/>
              <a:gdLst>
                <a:gd name="connsiteX0" fmla="*/ 762508 w 794892"/>
                <a:gd name="connsiteY0" fmla="*/ 0 h 395033"/>
                <a:gd name="connsiteX1" fmla="*/ 1397 w 794892"/>
                <a:gd name="connsiteY1" fmla="*/ 353568 h 395033"/>
                <a:gd name="connsiteX2" fmla="*/ 0 w 794892"/>
                <a:gd name="connsiteY2" fmla="*/ 388430 h 395033"/>
                <a:gd name="connsiteX3" fmla="*/ 127 w 794892"/>
                <a:gd name="connsiteY3" fmla="*/ 395034 h 395033"/>
                <a:gd name="connsiteX4" fmla="*/ 794893 w 794892"/>
                <a:gd name="connsiteY4" fmla="*/ 25845 h 395033"/>
                <a:gd name="connsiteX5" fmla="*/ 762508 w 794892"/>
                <a:gd name="connsiteY5" fmla="*/ 64 h 395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892" h="395033">
                  <a:moveTo>
                    <a:pt x="762508" y="0"/>
                  </a:moveTo>
                  <a:lnTo>
                    <a:pt x="1397" y="353568"/>
                  </a:lnTo>
                  <a:cubicBezTo>
                    <a:pt x="571" y="365061"/>
                    <a:pt x="0" y="376682"/>
                    <a:pt x="0" y="388430"/>
                  </a:cubicBezTo>
                  <a:cubicBezTo>
                    <a:pt x="0" y="390652"/>
                    <a:pt x="64" y="392811"/>
                    <a:pt x="127" y="395034"/>
                  </a:cubicBezTo>
                  <a:lnTo>
                    <a:pt x="794893" y="25845"/>
                  </a:lnTo>
                  <a:cubicBezTo>
                    <a:pt x="784479" y="16828"/>
                    <a:pt x="773684" y="8192"/>
                    <a:pt x="762508" y="64"/>
                  </a:cubicBez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F3C8175D-91CA-5FCE-28E5-70FB3EB9F3B3}"/>
                </a:ext>
              </a:extLst>
            </p:cNvPr>
            <p:cNvSpPr/>
            <p:nvPr/>
          </p:nvSpPr>
          <p:spPr>
            <a:xfrm>
              <a:off x="1856803" y="5449315"/>
              <a:ext cx="878204" cy="434276"/>
            </a:xfrm>
            <a:custGeom>
              <a:avLst/>
              <a:gdLst>
                <a:gd name="connsiteX0" fmla="*/ 858076 w 878204"/>
                <a:gd name="connsiteY0" fmla="*/ 0 h 434276"/>
                <a:gd name="connsiteX1" fmla="*/ 0 w 878204"/>
                <a:gd name="connsiteY1" fmla="*/ 398590 h 434276"/>
                <a:gd name="connsiteX2" fmla="*/ 11113 w 878204"/>
                <a:gd name="connsiteY2" fmla="*/ 434277 h 434276"/>
                <a:gd name="connsiteX3" fmla="*/ 878205 w 878204"/>
                <a:gd name="connsiteY3" fmla="*/ 31496 h 434276"/>
                <a:gd name="connsiteX4" fmla="*/ 858076 w 878204"/>
                <a:gd name="connsiteY4" fmla="*/ 0 h 4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204" h="434276">
                  <a:moveTo>
                    <a:pt x="858076" y="0"/>
                  </a:moveTo>
                  <a:lnTo>
                    <a:pt x="0" y="398590"/>
                  </a:lnTo>
                  <a:cubicBezTo>
                    <a:pt x="3239" y="410655"/>
                    <a:pt x="6985" y="422593"/>
                    <a:pt x="11113" y="434277"/>
                  </a:cubicBezTo>
                  <a:lnTo>
                    <a:pt x="878205" y="31496"/>
                  </a:lnTo>
                  <a:cubicBezTo>
                    <a:pt x="871919" y="20701"/>
                    <a:pt x="865188" y="10224"/>
                    <a:pt x="858076" y="0"/>
                  </a:cubicBez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6BC1EC01-A734-36D5-8F2E-667628A21681}"/>
                </a:ext>
              </a:extLst>
            </p:cNvPr>
            <p:cNvSpPr/>
            <p:nvPr/>
          </p:nvSpPr>
          <p:spPr>
            <a:xfrm>
              <a:off x="2025332" y="5742051"/>
              <a:ext cx="774953" cy="384683"/>
            </a:xfrm>
            <a:custGeom>
              <a:avLst/>
              <a:gdLst>
                <a:gd name="connsiteX0" fmla="*/ 774954 w 774953"/>
                <a:gd name="connsiteY0" fmla="*/ 0 h 384683"/>
                <a:gd name="connsiteX1" fmla="*/ 0 w 774953"/>
                <a:gd name="connsiteY1" fmla="*/ 359982 h 384683"/>
                <a:gd name="connsiteX2" fmla="*/ 34671 w 774953"/>
                <a:gd name="connsiteY2" fmla="*/ 384683 h 384683"/>
                <a:gd name="connsiteX3" fmla="*/ 771461 w 774953"/>
                <a:gd name="connsiteY3" fmla="*/ 42418 h 384683"/>
                <a:gd name="connsiteX4" fmla="*/ 774891 w 774953"/>
                <a:gd name="connsiteY4" fmla="*/ 0 h 384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953" h="384683">
                  <a:moveTo>
                    <a:pt x="774954" y="0"/>
                  </a:moveTo>
                  <a:lnTo>
                    <a:pt x="0" y="359982"/>
                  </a:lnTo>
                  <a:cubicBezTo>
                    <a:pt x="11176" y="368745"/>
                    <a:pt x="22733" y="376999"/>
                    <a:pt x="34671" y="384683"/>
                  </a:cubicBezTo>
                  <a:lnTo>
                    <a:pt x="771461" y="42418"/>
                  </a:lnTo>
                  <a:cubicBezTo>
                    <a:pt x="773239" y="28448"/>
                    <a:pt x="774382" y="14288"/>
                    <a:pt x="774891" y="0"/>
                  </a:cubicBez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69508C2D-CCC1-9828-9A8E-E8B4600E04D1}"/>
                </a:ext>
              </a:extLst>
            </p:cNvPr>
            <p:cNvSpPr/>
            <p:nvPr/>
          </p:nvSpPr>
          <p:spPr>
            <a:xfrm>
              <a:off x="2142172" y="5929629"/>
              <a:ext cx="612076" cy="319404"/>
            </a:xfrm>
            <a:custGeom>
              <a:avLst/>
              <a:gdLst>
                <a:gd name="connsiteX0" fmla="*/ 612076 w 612076"/>
                <a:gd name="connsiteY0" fmla="*/ 0 h 319404"/>
                <a:gd name="connsiteX1" fmla="*/ 0 w 612076"/>
                <a:gd name="connsiteY1" fmla="*/ 284290 h 319404"/>
                <a:gd name="connsiteX2" fmla="*/ 12382 w 612076"/>
                <a:gd name="connsiteY2" fmla="*/ 319405 h 319404"/>
                <a:gd name="connsiteX3" fmla="*/ 581216 w 612076"/>
                <a:gd name="connsiteY3" fmla="*/ 55182 h 319404"/>
                <a:gd name="connsiteX4" fmla="*/ 612076 w 612076"/>
                <a:gd name="connsiteY4" fmla="*/ 0 h 319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76" h="319404">
                  <a:moveTo>
                    <a:pt x="612076" y="0"/>
                  </a:moveTo>
                  <a:lnTo>
                    <a:pt x="0" y="284290"/>
                  </a:lnTo>
                  <a:cubicBezTo>
                    <a:pt x="5270" y="295529"/>
                    <a:pt x="9398" y="307277"/>
                    <a:pt x="12382" y="319405"/>
                  </a:cubicBezTo>
                  <a:lnTo>
                    <a:pt x="581216" y="55182"/>
                  </a:lnTo>
                  <a:cubicBezTo>
                    <a:pt x="592645" y="37529"/>
                    <a:pt x="602996" y="19114"/>
                    <a:pt x="612076" y="0"/>
                  </a:cubicBez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D7E294A0-8A55-E57A-69FB-632FD3BF11D6}"/>
                </a:ext>
              </a:extLst>
            </p:cNvPr>
            <p:cNvSpPr/>
            <p:nvPr/>
          </p:nvSpPr>
          <p:spPr>
            <a:xfrm>
              <a:off x="1918271" y="5585015"/>
              <a:ext cx="871537" cy="431164"/>
            </a:xfrm>
            <a:custGeom>
              <a:avLst/>
              <a:gdLst>
                <a:gd name="connsiteX0" fmla="*/ 862139 w 871537"/>
                <a:gd name="connsiteY0" fmla="*/ 63 h 431164"/>
                <a:gd name="connsiteX1" fmla="*/ 0 w 871537"/>
                <a:gd name="connsiteY1" fmla="*/ 400494 h 431164"/>
                <a:gd name="connsiteX2" fmla="*/ 21844 w 871537"/>
                <a:gd name="connsiteY2" fmla="*/ 431165 h 431164"/>
                <a:gd name="connsiteX3" fmla="*/ 871538 w 871537"/>
                <a:gd name="connsiteY3" fmla="*/ 36449 h 431164"/>
                <a:gd name="connsiteX4" fmla="*/ 862139 w 871537"/>
                <a:gd name="connsiteY4" fmla="*/ 0 h 431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37" h="431164">
                  <a:moveTo>
                    <a:pt x="862139" y="63"/>
                  </a:moveTo>
                  <a:lnTo>
                    <a:pt x="0" y="400494"/>
                  </a:lnTo>
                  <a:cubicBezTo>
                    <a:pt x="6858" y="411035"/>
                    <a:pt x="14161" y="421259"/>
                    <a:pt x="21844" y="431165"/>
                  </a:cubicBezTo>
                  <a:lnTo>
                    <a:pt x="871538" y="36449"/>
                  </a:lnTo>
                  <a:cubicBezTo>
                    <a:pt x="868871" y="24130"/>
                    <a:pt x="865696" y="11938"/>
                    <a:pt x="862139" y="0"/>
                  </a:cubicBez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B0C01B13-0193-337A-0A3E-15DC6E7E9DC3}"/>
                </a:ext>
              </a:extLst>
            </p:cNvPr>
            <p:cNvSpPr/>
            <p:nvPr/>
          </p:nvSpPr>
          <p:spPr>
            <a:xfrm>
              <a:off x="2074862" y="6214364"/>
              <a:ext cx="424179" cy="237870"/>
            </a:xfrm>
            <a:custGeom>
              <a:avLst/>
              <a:gdLst>
                <a:gd name="connsiteX0" fmla="*/ 424117 w 424179"/>
                <a:gd name="connsiteY0" fmla="*/ 0 h 237870"/>
                <a:gd name="connsiteX1" fmla="*/ 63690 w 424179"/>
                <a:gd name="connsiteY1" fmla="*/ 167449 h 237870"/>
                <a:gd name="connsiteX2" fmla="*/ 0 w 424179"/>
                <a:gd name="connsiteY2" fmla="*/ 237871 h 237870"/>
                <a:gd name="connsiteX3" fmla="*/ 409067 w 424179"/>
                <a:gd name="connsiteY3" fmla="*/ 47879 h 237870"/>
                <a:gd name="connsiteX4" fmla="*/ 424180 w 424179"/>
                <a:gd name="connsiteY4" fmla="*/ 64 h 237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179" h="237870">
                  <a:moveTo>
                    <a:pt x="424117" y="0"/>
                  </a:moveTo>
                  <a:lnTo>
                    <a:pt x="63690" y="167449"/>
                  </a:lnTo>
                  <a:cubicBezTo>
                    <a:pt x="49022" y="195580"/>
                    <a:pt x="27242" y="219901"/>
                    <a:pt x="0" y="237871"/>
                  </a:cubicBezTo>
                  <a:lnTo>
                    <a:pt x="409067" y="47879"/>
                  </a:lnTo>
                  <a:cubicBezTo>
                    <a:pt x="411924" y="31242"/>
                    <a:pt x="417068" y="15113"/>
                    <a:pt x="424180" y="64"/>
                  </a:cubicBez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8FFA1C4B-5392-D781-588D-3CEE322944C6}"/>
                </a:ext>
              </a:extLst>
            </p:cNvPr>
            <p:cNvSpPr/>
            <p:nvPr/>
          </p:nvSpPr>
          <p:spPr>
            <a:xfrm>
              <a:off x="1863979" y="6379464"/>
              <a:ext cx="657478" cy="336867"/>
            </a:xfrm>
            <a:custGeom>
              <a:avLst/>
              <a:gdLst>
                <a:gd name="connsiteX0" fmla="*/ 637413 w 657478"/>
                <a:gd name="connsiteY0" fmla="*/ 0 h 336867"/>
                <a:gd name="connsiteX1" fmla="*/ 19304 w 657478"/>
                <a:gd name="connsiteY1" fmla="*/ 287083 h 336867"/>
                <a:gd name="connsiteX2" fmla="*/ 0 w 657478"/>
                <a:gd name="connsiteY2" fmla="*/ 336867 h 336867"/>
                <a:gd name="connsiteX3" fmla="*/ 657479 w 657478"/>
                <a:gd name="connsiteY3" fmla="*/ 31496 h 336867"/>
                <a:gd name="connsiteX4" fmla="*/ 637413 w 657478"/>
                <a:gd name="connsiteY4" fmla="*/ 0 h 336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478" h="336867">
                  <a:moveTo>
                    <a:pt x="637413" y="0"/>
                  </a:moveTo>
                  <a:lnTo>
                    <a:pt x="19304" y="287083"/>
                  </a:lnTo>
                  <a:cubicBezTo>
                    <a:pt x="11938" y="303213"/>
                    <a:pt x="5524" y="319849"/>
                    <a:pt x="0" y="336867"/>
                  </a:cubicBezTo>
                  <a:lnTo>
                    <a:pt x="657479" y="31496"/>
                  </a:lnTo>
                  <a:cubicBezTo>
                    <a:pt x="649732" y="21653"/>
                    <a:pt x="643064" y="11113"/>
                    <a:pt x="637413" y="0"/>
                  </a:cubicBez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7DD04A7D-05AE-04FA-23C4-3DCCE2717E04}"/>
                </a:ext>
              </a:extLst>
            </p:cNvPr>
            <p:cNvSpPr/>
            <p:nvPr/>
          </p:nvSpPr>
          <p:spPr>
            <a:xfrm>
              <a:off x="1889442" y="684212"/>
              <a:ext cx="533336" cy="257936"/>
            </a:xfrm>
            <a:custGeom>
              <a:avLst/>
              <a:gdLst>
                <a:gd name="connsiteX0" fmla="*/ 467424 w 533336"/>
                <a:gd name="connsiteY0" fmla="*/ 0 h 257936"/>
                <a:gd name="connsiteX1" fmla="*/ 34671 w 533336"/>
                <a:gd name="connsiteY1" fmla="*/ 200977 h 257936"/>
                <a:gd name="connsiteX2" fmla="*/ 0 w 533336"/>
                <a:gd name="connsiteY2" fmla="*/ 257937 h 257936"/>
                <a:gd name="connsiteX3" fmla="*/ 533337 w 533336"/>
                <a:gd name="connsiteY3" fmla="*/ 10224 h 257936"/>
                <a:gd name="connsiteX4" fmla="*/ 467424 w 533336"/>
                <a:gd name="connsiteY4" fmla="*/ 0 h 257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336" h="257936">
                  <a:moveTo>
                    <a:pt x="467424" y="0"/>
                  </a:moveTo>
                  <a:lnTo>
                    <a:pt x="34671" y="200977"/>
                  </a:lnTo>
                  <a:cubicBezTo>
                    <a:pt x="21844" y="219075"/>
                    <a:pt x="10224" y="238125"/>
                    <a:pt x="0" y="257937"/>
                  </a:cubicBezTo>
                  <a:lnTo>
                    <a:pt x="533337" y="10224"/>
                  </a:lnTo>
                  <a:cubicBezTo>
                    <a:pt x="511874" y="5334"/>
                    <a:pt x="489903" y="1905"/>
                    <a:pt x="467424" y="0"/>
                  </a:cubicBez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CB0D4AB8-68E0-BC91-29CF-C61F472A92F3}"/>
                </a:ext>
              </a:extLst>
            </p:cNvPr>
            <p:cNvSpPr/>
            <p:nvPr/>
          </p:nvSpPr>
          <p:spPr>
            <a:xfrm>
              <a:off x="1836864" y="752983"/>
              <a:ext cx="765555" cy="379856"/>
            </a:xfrm>
            <a:custGeom>
              <a:avLst/>
              <a:gdLst>
                <a:gd name="connsiteX0" fmla="*/ 729742 w 765555"/>
                <a:gd name="connsiteY0" fmla="*/ 0 h 379856"/>
                <a:gd name="connsiteX1" fmla="*/ 4445 w 765555"/>
                <a:gd name="connsiteY1" fmla="*/ 336931 h 379856"/>
                <a:gd name="connsiteX2" fmla="*/ 0 w 765555"/>
                <a:gd name="connsiteY2" fmla="*/ 379857 h 379856"/>
                <a:gd name="connsiteX3" fmla="*/ 765556 w 765555"/>
                <a:gd name="connsiteY3" fmla="*/ 24257 h 379856"/>
                <a:gd name="connsiteX4" fmla="*/ 729742 w 765555"/>
                <a:gd name="connsiteY4" fmla="*/ 63 h 379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555" h="379856">
                  <a:moveTo>
                    <a:pt x="729742" y="0"/>
                  </a:moveTo>
                  <a:lnTo>
                    <a:pt x="4445" y="336931"/>
                  </a:lnTo>
                  <a:cubicBezTo>
                    <a:pt x="2286" y="351028"/>
                    <a:pt x="889" y="365379"/>
                    <a:pt x="0" y="379857"/>
                  </a:cubicBezTo>
                  <a:lnTo>
                    <a:pt x="765556" y="24257"/>
                  </a:lnTo>
                  <a:cubicBezTo>
                    <a:pt x="753999" y="15685"/>
                    <a:pt x="742061" y="7620"/>
                    <a:pt x="729742" y="63"/>
                  </a:cubicBez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EA998B6A-29BF-D1BA-4BFC-BC6B0C8B2A56}"/>
                </a:ext>
              </a:extLst>
            </p:cNvPr>
            <p:cNvSpPr/>
            <p:nvPr/>
          </p:nvSpPr>
          <p:spPr>
            <a:xfrm>
              <a:off x="1844801" y="861822"/>
              <a:ext cx="867981" cy="429450"/>
            </a:xfrm>
            <a:custGeom>
              <a:avLst/>
              <a:gdLst>
                <a:gd name="connsiteX0" fmla="*/ 845376 w 867981"/>
                <a:gd name="connsiteY0" fmla="*/ 0 h 429450"/>
                <a:gd name="connsiteX1" fmla="*/ 0 w 867981"/>
                <a:gd name="connsiteY1" fmla="*/ 392684 h 429450"/>
                <a:gd name="connsiteX2" fmla="*/ 8700 w 867981"/>
                <a:gd name="connsiteY2" fmla="*/ 429451 h 429450"/>
                <a:gd name="connsiteX3" fmla="*/ 867982 w 867981"/>
                <a:gd name="connsiteY3" fmla="*/ 30353 h 429450"/>
                <a:gd name="connsiteX4" fmla="*/ 845376 w 867981"/>
                <a:gd name="connsiteY4" fmla="*/ 0 h 429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981" h="429450">
                  <a:moveTo>
                    <a:pt x="845376" y="0"/>
                  </a:moveTo>
                  <a:lnTo>
                    <a:pt x="0" y="392684"/>
                  </a:lnTo>
                  <a:cubicBezTo>
                    <a:pt x="2413" y="405130"/>
                    <a:pt x="5334" y="417385"/>
                    <a:pt x="8700" y="429451"/>
                  </a:cubicBezTo>
                  <a:lnTo>
                    <a:pt x="867982" y="30353"/>
                  </a:lnTo>
                  <a:cubicBezTo>
                    <a:pt x="860870" y="19939"/>
                    <a:pt x="853313" y="9843"/>
                    <a:pt x="845376" y="0"/>
                  </a:cubicBez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9D91C294-ED2D-8E7C-8788-A0C0684D87DD}"/>
                </a:ext>
              </a:extLst>
            </p:cNvPr>
            <p:cNvSpPr/>
            <p:nvPr/>
          </p:nvSpPr>
          <p:spPr>
            <a:xfrm>
              <a:off x="1896745" y="993139"/>
              <a:ext cx="880236" cy="435229"/>
            </a:xfrm>
            <a:custGeom>
              <a:avLst/>
              <a:gdLst>
                <a:gd name="connsiteX0" fmla="*/ 868489 w 880236"/>
                <a:gd name="connsiteY0" fmla="*/ 0 h 435229"/>
                <a:gd name="connsiteX1" fmla="*/ 0 w 880236"/>
                <a:gd name="connsiteY1" fmla="*/ 403416 h 435229"/>
                <a:gd name="connsiteX2" fmla="*/ 19431 w 880236"/>
                <a:gd name="connsiteY2" fmla="*/ 435229 h 435229"/>
                <a:gd name="connsiteX3" fmla="*/ 880237 w 880236"/>
                <a:gd name="connsiteY3" fmla="*/ 35370 h 435229"/>
                <a:gd name="connsiteX4" fmla="*/ 868489 w 880236"/>
                <a:gd name="connsiteY4" fmla="*/ 0 h 435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36" h="435229">
                  <a:moveTo>
                    <a:pt x="868489" y="0"/>
                  </a:moveTo>
                  <a:lnTo>
                    <a:pt x="0" y="403416"/>
                  </a:lnTo>
                  <a:cubicBezTo>
                    <a:pt x="6096" y="414274"/>
                    <a:pt x="12510" y="424942"/>
                    <a:pt x="19431" y="435229"/>
                  </a:cubicBezTo>
                  <a:lnTo>
                    <a:pt x="880237" y="35370"/>
                  </a:lnTo>
                  <a:cubicBezTo>
                    <a:pt x="876744" y="23368"/>
                    <a:pt x="872871" y="11557"/>
                    <a:pt x="868489" y="0"/>
                  </a:cubicBez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F2E488E2-E6C5-A033-E74D-E4F0B3CBD2EA}"/>
                </a:ext>
              </a:extLst>
            </p:cNvPr>
            <p:cNvSpPr/>
            <p:nvPr/>
          </p:nvSpPr>
          <p:spPr>
            <a:xfrm>
              <a:off x="1993201" y="1145222"/>
              <a:ext cx="802893" cy="398906"/>
            </a:xfrm>
            <a:custGeom>
              <a:avLst/>
              <a:gdLst>
                <a:gd name="connsiteX0" fmla="*/ 802894 w 802893"/>
                <a:gd name="connsiteY0" fmla="*/ 17272 h 398906"/>
                <a:gd name="connsiteX1" fmla="*/ 802450 w 802893"/>
                <a:gd name="connsiteY1" fmla="*/ 0 h 398906"/>
                <a:gd name="connsiteX2" fmla="*/ 0 w 802893"/>
                <a:gd name="connsiteY2" fmla="*/ 372745 h 398906"/>
                <a:gd name="connsiteX3" fmla="*/ 31559 w 802893"/>
                <a:gd name="connsiteY3" fmla="*/ 398907 h 398906"/>
                <a:gd name="connsiteX4" fmla="*/ 802322 w 802893"/>
                <a:gd name="connsiteY4" fmla="*/ 40894 h 398906"/>
                <a:gd name="connsiteX5" fmla="*/ 802894 w 802893"/>
                <a:gd name="connsiteY5" fmla="*/ 17272 h 39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93" h="398906">
                  <a:moveTo>
                    <a:pt x="802894" y="17272"/>
                  </a:moveTo>
                  <a:cubicBezTo>
                    <a:pt x="802894" y="11493"/>
                    <a:pt x="802640" y="5715"/>
                    <a:pt x="802450" y="0"/>
                  </a:cubicBezTo>
                  <a:lnTo>
                    <a:pt x="0" y="372745"/>
                  </a:lnTo>
                  <a:cubicBezTo>
                    <a:pt x="10096" y="381952"/>
                    <a:pt x="20701" y="390652"/>
                    <a:pt x="31559" y="398907"/>
                  </a:cubicBezTo>
                  <a:lnTo>
                    <a:pt x="802322" y="40894"/>
                  </a:lnTo>
                  <a:cubicBezTo>
                    <a:pt x="802703" y="33083"/>
                    <a:pt x="802894" y="25210"/>
                    <a:pt x="802894" y="17272"/>
                  </a:cubicBez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D0E7EEFD-339B-AA6D-D529-B0D34E1FF46E}"/>
                </a:ext>
              </a:extLst>
            </p:cNvPr>
            <p:cNvSpPr/>
            <p:nvPr/>
          </p:nvSpPr>
          <p:spPr>
            <a:xfrm>
              <a:off x="2147887" y="1324228"/>
              <a:ext cx="620204" cy="304419"/>
            </a:xfrm>
            <a:custGeom>
              <a:avLst/>
              <a:gdLst>
                <a:gd name="connsiteX0" fmla="*/ 598551 w 620204"/>
                <a:gd name="connsiteY0" fmla="*/ 50864 h 304419"/>
                <a:gd name="connsiteX1" fmla="*/ 620205 w 620204"/>
                <a:gd name="connsiteY1" fmla="*/ 0 h 304419"/>
                <a:gd name="connsiteX2" fmla="*/ 0 w 620204"/>
                <a:gd name="connsiteY2" fmla="*/ 288100 h 304419"/>
                <a:gd name="connsiteX3" fmla="*/ 52832 w 620204"/>
                <a:gd name="connsiteY3" fmla="*/ 304419 h 304419"/>
                <a:gd name="connsiteX4" fmla="*/ 598614 w 620204"/>
                <a:gd name="connsiteY4" fmla="*/ 50927 h 30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204" h="304419">
                  <a:moveTo>
                    <a:pt x="598551" y="50864"/>
                  </a:moveTo>
                  <a:cubicBezTo>
                    <a:pt x="606679" y="34417"/>
                    <a:pt x="613918" y="17463"/>
                    <a:pt x="620205" y="0"/>
                  </a:cubicBezTo>
                  <a:lnTo>
                    <a:pt x="0" y="288100"/>
                  </a:lnTo>
                  <a:cubicBezTo>
                    <a:pt x="17145" y="294513"/>
                    <a:pt x="34798" y="299974"/>
                    <a:pt x="52832" y="304419"/>
                  </a:cubicBezTo>
                  <a:lnTo>
                    <a:pt x="598614" y="50927"/>
                  </a:ln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696F18CC-F537-C7CA-B9B1-AEDA01C2AEE6}"/>
                </a:ext>
              </a:extLst>
            </p:cNvPr>
            <p:cNvSpPr/>
            <p:nvPr/>
          </p:nvSpPr>
          <p:spPr>
            <a:xfrm>
              <a:off x="729361" y="684212"/>
              <a:ext cx="533336" cy="257936"/>
            </a:xfrm>
            <a:custGeom>
              <a:avLst/>
              <a:gdLst>
                <a:gd name="connsiteX0" fmla="*/ 467424 w 533336"/>
                <a:gd name="connsiteY0" fmla="*/ 0 h 257936"/>
                <a:gd name="connsiteX1" fmla="*/ 34671 w 533336"/>
                <a:gd name="connsiteY1" fmla="*/ 200977 h 257936"/>
                <a:gd name="connsiteX2" fmla="*/ 0 w 533336"/>
                <a:gd name="connsiteY2" fmla="*/ 257937 h 257936"/>
                <a:gd name="connsiteX3" fmla="*/ 533337 w 533336"/>
                <a:gd name="connsiteY3" fmla="*/ 10224 h 257936"/>
                <a:gd name="connsiteX4" fmla="*/ 467424 w 533336"/>
                <a:gd name="connsiteY4" fmla="*/ 0 h 257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336" h="257936">
                  <a:moveTo>
                    <a:pt x="467424" y="0"/>
                  </a:moveTo>
                  <a:lnTo>
                    <a:pt x="34671" y="200977"/>
                  </a:lnTo>
                  <a:cubicBezTo>
                    <a:pt x="21844" y="219075"/>
                    <a:pt x="10224" y="238125"/>
                    <a:pt x="0" y="257937"/>
                  </a:cubicBezTo>
                  <a:lnTo>
                    <a:pt x="533337" y="10224"/>
                  </a:lnTo>
                  <a:cubicBezTo>
                    <a:pt x="511874" y="5334"/>
                    <a:pt x="489902" y="1905"/>
                    <a:pt x="467424" y="0"/>
                  </a:cubicBez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7F755EA7-ECEF-677C-D955-175D65B52010}"/>
                </a:ext>
              </a:extLst>
            </p:cNvPr>
            <p:cNvSpPr/>
            <p:nvPr/>
          </p:nvSpPr>
          <p:spPr>
            <a:xfrm>
              <a:off x="676846" y="752983"/>
              <a:ext cx="765555" cy="379856"/>
            </a:xfrm>
            <a:custGeom>
              <a:avLst/>
              <a:gdLst>
                <a:gd name="connsiteX0" fmla="*/ 729742 w 765555"/>
                <a:gd name="connsiteY0" fmla="*/ 0 h 379856"/>
                <a:gd name="connsiteX1" fmla="*/ 4445 w 765555"/>
                <a:gd name="connsiteY1" fmla="*/ 336931 h 379856"/>
                <a:gd name="connsiteX2" fmla="*/ 0 w 765555"/>
                <a:gd name="connsiteY2" fmla="*/ 379857 h 379856"/>
                <a:gd name="connsiteX3" fmla="*/ 765556 w 765555"/>
                <a:gd name="connsiteY3" fmla="*/ 24257 h 379856"/>
                <a:gd name="connsiteX4" fmla="*/ 729742 w 765555"/>
                <a:gd name="connsiteY4" fmla="*/ 63 h 379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555" h="379856">
                  <a:moveTo>
                    <a:pt x="729742" y="0"/>
                  </a:moveTo>
                  <a:lnTo>
                    <a:pt x="4445" y="336931"/>
                  </a:lnTo>
                  <a:cubicBezTo>
                    <a:pt x="2286" y="351028"/>
                    <a:pt x="889" y="365379"/>
                    <a:pt x="0" y="379857"/>
                  </a:cubicBezTo>
                  <a:lnTo>
                    <a:pt x="765556" y="24257"/>
                  </a:lnTo>
                  <a:cubicBezTo>
                    <a:pt x="753999" y="15685"/>
                    <a:pt x="742061" y="7620"/>
                    <a:pt x="729742" y="63"/>
                  </a:cubicBez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31813BF8-7531-CD95-FB70-E4D4589ED16D}"/>
                </a:ext>
              </a:extLst>
            </p:cNvPr>
            <p:cNvSpPr/>
            <p:nvPr/>
          </p:nvSpPr>
          <p:spPr>
            <a:xfrm>
              <a:off x="684720" y="861822"/>
              <a:ext cx="867981" cy="429450"/>
            </a:xfrm>
            <a:custGeom>
              <a:avLst/>
              <a:gdLst>
                <a:gd name="connsiteX0" fmla="*/ 845376 w 867981"/>
                <a:gd name="connsiteY0" fmla="*/ 0 h 429450"/>
                <a:gd name="connsiteX1" fmla="*/ 0 w 867981"/>
                <a:gd name="connsiteY1" fmla="*/ 392684 h 429450"/>
                <a:gd name="connsiteX2" fmla="*/ 8699 w 867981"/>
                <a:gd name="connsiteY2" fmla="*/ 429451 h 429450"/>
                <a:gd name="connsiteX3" fmla="*/ 867982 w 867981"/>
                <a:gd name="connsiteY3" fmla="*/ 30353 h 429450"/>
                <a:gd name="connsiteX4" fmla="*/ 845376 w 867981"/>
                <a:gd name="connsiteY4" fmla="*/ 0 h 429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981" h="429450">
                  <a:moveTo>
                    <a:pt x="845376" y="0"/>
                  </a:moveTo>
                  <a:lnTo>
                    <a:pt x="0" y="392684"/>
                  </a:lnTo>
                  <a:cubicBezTo>
                    <a:pt x="2413" y="405130"/>
                    <a:pt x="5334" y="417385"/>
                    <a:pt x="8699" y="429451"/>
                  </a:cubicBezTo>
                  <a:lnTo>
                    <a:pt x="867982" y="30353"/>
                  </a:lnTo>
                  <a:cubicBezTo>
                    <a:pt x="860869" y="19939"/>
                    <a:pt x="853313" y="9843"/>
                    <a:pt x="845376" y="0"/>
                  </a:cubicBez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05AA419A-B8E7-B77E-2BB8-36D3C6019C0B}"/>
                </a:ext>
              </a:extLst>
            </p:cNvPr>
            <p:cNvSpPr/>
            <p:nvPr/>
          </p:nvSpPr>
          <p:spPr>
            <a:xfrm>
              <a:off x="736726" y="993139"/>
              <a:ext cx="880237" cy="435229"/>
            </a:xfrm>
            <a:custGeom>
              <a:avLst/>
              <a:gdLst>
                <a:gd name="connsiteX0" fmla="*/ 868490 w 880237"/>
                <a:gd name="connsiteY0" fmla="*/ 0 h 435229"/>
                <a:gd name="connsiteX1" fmla="*/ 0 w 880237"/>
                <a:gd name="connsiteY1" fmla="*/ 403416 h 435229"/>
                <a:gd name="connsiteX2" fmla="*/ 19431 w 880237"/>
                <a:gd name="connsiteY2" fmla="*/ 435229 h 435229"/>
                <a:gd name="connsiteX3" fmla="*/ 880237 w 880237"/>
                <a:gd name="connsiteY3" fmla="*/ 35370 h 435229"/>
                <a:gd name="connsiteX4" fmla="*/ 868490 w 880237"/>
                <a:gd name="connsiteY4" fmla="*/ 0 h 435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37" h="435229">
                  <a:moveTo>
                    <a:pt x="868490" y="0"/>
                  </a:moveTo>
                  <a:lnTo>
                    <a:pt x="0" y="403416"/>
                  </a:lnTo>
                  <a:cubicBezTo>
                    <a:pt x="6096" y="414274"/>
                    <a:pt x="12510" y="424942"/>
                    <a:pt x="19431" y="435229"/>
                  </a:cubicBezTo>
                  <a:lnTo>
                    <a:pt x="880237" y="35370"/>
                  </a:lnTo>
                  <a:cubicBezTo>
                    <a:pt x="876745" y="23368"/>
                    <a:pt x="872871" y="11557"/>
                    <a:pt x="868490" y="0"/>
                  </a:cubicBez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FBDD820B-9065-A830-BFCC-4B4197E6A360}"/>
                </a:ext>
              </a:extLst>
            </p:cNvPr>
            <p:cNvSpPr/>
            <p:nvPr/>
          </p:nvSpPr>
          <p:spPr>
            <a:xfrm>
              <a:off x="833119" y="1145222"/>
              <a:ext cx="802894" cy="398906"/>
            </a:xfrm>
            <a:custGeom>
              <a:avLst/>
              <a:gdLst>
                <a:gd name="connsiteX0" fmla="*/ 802894 w 802894"/>
                <a:gd name="connsiteY0" fmla="*/ 17272 h 398906"/>
                <a:gd name="connsiteX1" fmla="*/ 802450 w 802894"/>
                <a:gd name="connsiteY1" fmla="*/ 0 h 398906"/>
                <a:gd name="connsiteX2" fmla="*/ 0 w 802894"/>
                <a:gd name="connsiteY2" fmla="*/ 372745 h 398906"/>
                <a:gd name="connsiteX3" fmla="*/ 31560 w 802894"/>
                <a:gd name="connsiteY3" fmla="*/ 398907 h 398906"/>
                <a:gd name="connsiteX4" fmla="*/ 802322 w 802894"/>
                <a:gd name="connsiteY4" fmla="*/ 40894 h 398906"/>
                <a:gd name="connsiteX5" fmla="*/ 802894 w 802894"/>
                <a:gd name="connsiteY5" fmla="*/ 17272 h 39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94" h="398906">
                  <a:moveTo>
                    <a:pt x="802894" y="17272"/>
                  </a:moveTo>
                  <a:cubicBezTo>
                    <a:pt x="802894" y="11493"/>
                    <a:pt x="802640" y="5715"/>
                    <a:pt x="802450" y="0"/>
                  </a:cubicBezTo>
                  <a:lnTo>
                    <a:pt x="0" y="372745"/>
                  </a:lnTo>
                  <a:cubicBezTo>
                    <a:pt x="10096" y="381952"/>
                    <a:pt x="20701" y="390652"/>
                    <a:pt x="31560" y="398907"/>
                  </a:cubicBezTo>
                  <a:lnTo>
                    <a:pt x="802322" y="40894"/>
                  </a:lnTo>
                  <a:cubicBezTo>
                    <a:pt x="802703" y="33083"/>
                    <a:pt x="802894" y="25210"/>
                    <a:pt x="802894" y="17272"/>
                  </a:cubicBez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0CADD588-969A-38A2-9AE8-F55B930844C3}"/>
                </a:ext>
              </a:extLst>
            </p:cNvPr>
            <p:cNvSpPr/>
            <p:nvPr/>
          </p:nvSpPr>
          <p:spPr>
            <a:xfrm>
              <a:off x="987869" y="1324228"/>
              <a:ext cx="620204" cy="304419"/>
            </a:xfrm>
            <a:custGeom>
              <a:avLst/>
              <a:gdLst>
                <a:gd name="connsiteX0" fmla="*/ 598551 w 620204"/>
                <a:gd name="connsiteY0" fmla="*/ 50864 h 304419"/>
                <a:gd name="connsiteX1" fmla="*/ 620205 w 620204"/>
                <a:gd name="connsiteY1" fmla="*/ 0 h 304419"/>
                <a:gd name="connsiteX2" fmla="*/ 0 w 620204"/>
                <a:gd name="connsiteY2" fmla="*/ 288100 h 304419"/>
                <a:gd name="connsiteX3" fmla="*/ 52832 w 620204"/>
                <a:gd name="connsiteY3" fmla="*/ 304419 h 304419"/>
                <a:gd name="connsiteX4" fmla="*/ 598614 w 620204"/>
                <a:gd name="connsiteY4" fmla="*/ 50927 h 30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204" h="304419">
                  <a:moveTo>
                    <a:pt x="598551" y="50864"/>
                  </a:moveTo>
                  <a:cubicBezTo>
                    <a:pt x="606679" y="34417"/>
                    <a:pt x="613918" y="17463"/>
                    <a:pt x="620205" y="0"/>
                  </a:cubicBezTo>
                  <a:lnTo>
                    <a:pt x="0" y="288100"/>
                  </a:lnTo>
                  <a:cubicBezTo>
                    <a:pt x="17145" y="294513"/>
                    <a:pt x="34798" y="299974"/>
                    <a:pt x="52832" y="304419"/>
                  </a:cubicBezTo>
                  <a:lnTo>
                    <a:pt x="598614" y="50927"/>
                  </a:ln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F5698BBB-1585-120F-CFFB-773DC16B9761}"/>
                </a:ext>
              </a:extLst>
            </p:cNvPr>
            <p:cNvSpPr/>
            <p:nvPr/>
          </p:nvSpPr>
          <p:spPr>
            <a:xfrm>
              <a:off x="0" y="682370"/>
              <a:ext cx="513016" cy="960246"/>
            </a:xfrm>
            <a:custGeom>
              <a:avLst/>
              <a:gdLst>
                <a:gd name="connsiteX0" fmla="*/ 32893 w 513016"/>
                <a:gd name="connsiteY0" fmla="*/ 0 h 960246"/>
                <a:gd name="connsiteX1" fmla="*/ 0 w 513016"/>
                <a:gd name="connsiteY1" fmla="*/ 1270 h 960246"/>
                <a:gd name="connsiteX2" fmla="*/ 0 w 513016"/>
                <a:gd name="connsiteY2" fmla="*/ 958977 h 960246"/>
                <a:gd name="connsiteX3" fmla="*/ 32893 w 513016"/>
                <a:gd name="connsiteY3" fmla="*/ 960247 h 960246"/>
                <a:gd name="connsiteX4" fmla="*/ 513017 w 513016"/>
                <a:gd name="connsiteY4" fmla="*/ 480124 h 960246"/>
                <a:gd name="connsiteX5" fmla="*/ 32893 w 513016"/>
                <a:gd name="connsiteY5" fmla="*/ 0 h 96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016" h="960246">
                  <a:moveTo>
                    <a:pt x="32893" y="0"/>
                  </a:moveTo>
                  <a:cubicBezTo>
                    <a:pt x="21844" y="0"/>
                    <a:pt x="10859" y="508"/>
                    <a:pt x="0" y="1270"/>
                  </a:cubicBezTo>
                  <a:lnTo>
                    <a:pt x="0" y="958977"/>
                  </a:lnTo>
                  <a:cubicBezTo>
                    <a:pt x="10859" y="959739"/>
                    <a:pt x="21844" y="960247"/>
                    <a:pt x="32893" y="960247"/>
                  </a:cubicBezTo>
                  <a:cubicBezTo>
                    <a:pt x="298069" y="960247"/>
                    <a:pt x="513017" y="745300"/>
                    <a:pt x="513017" y="480124"/>
                  </a:cubicBezTo>
                  <a:cubicBezTo>
                    <a:pt x="513017" y="214947"/>
                    <a:pt x="298069" y="0"/>
                    <a:pt x="32893" y="0"/>
                  </a:cubicBezTo>
                  <a:close/>
                </a:path>
              </a:pathLst>
            </a:custGeom>
            <a:grpFill/>
            <a:ln w="0" cap="flat">
              <a:noFill/>
              <a:prstDash val="solid"/>
              <a:miter/>
            </a:ln>
          </p:spPr>
          <p:txBody>
            <a:bodyPr rtlCol="0" anchor="ctr"/>
            <a:lstStyle/>
            <a:p>
              <a:endParaRPr lang="sv-SE"/>
            </a:p>
          </p:txBody>
        </p:sp>
        <p:sp>
          <p:nvSpPr>
            <p:cNvPr id="39" name="Frihandsfigur: Form 38">
              <a:extLst>
                <a:ext uri="{FF2B5EF4-FFF2-40B4-BE49-F238E27FC236}">
                  <a16:creationId xmlns:a16="http://schemas.microsoft.com/office/drawing/2014/main" id="{6C736C1A-57B8-E673-A067-C477CB60A3C2}"/>
                </a:ext>
              </a:extLst>
            </p:cNvPr>
            <p:cNvSpPr/>
            <p:nvPr/>
          </p:nvSpPr>
          <p:spPr>
            <a:xfrm>
              <a:off x="0" y="1822640"/>
              <a:ext cx="513016" cy="960247"/>
            </a:xfrm>
            <a:custGeom>
              <a:avLst/>
              <a:gdLst>
                <a:gd name="connsiteX0" fmla="*/ 32893 w 513016"/>
                <a:gd name="connsiteY0" fmla="*/ 0 h 960247"/>
                <a:gd name="connsiteX1" fmla="*/ 0 w 513016"/>
                <a:gd name="connsiteY1" fmla="*/ 1270 h 960247"/>
                <a:gd name="connsiteX2" fmla="*/ 0 w 513016"/>
                <a:gd name="connsiteY2" fmla="*/ 958977 h 960247"/>
                <a:gd name="connsiteX3" fmla="*/ 32893 w 513016"/>
                <a:gd name="connsiteY3" fmla="*/ 960247 h 960247"/>
                <a:gd name="connsiteX4" fmla="*/ 513017 w 513016"/>
                <a:gd name="connsiteY4" fmla="*/ 480124 h 960247"/>
                <a:gd name="connsiteX5" fmla="*/ 32893 w 513016"/>
                <a:gd name="connsiteY5" fmla="*/ 0 h 96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016" h="960247">
                  <a:moveTo>
                    <a:pt x="32893" y="0"/>
                  </a:moveTo>
                  <a:cubicBezTo>
                    <a:pt x="21844" y="0"/>
                    <a:pt x="10859" y="508"/>
                    <a:pt x="0" y="1270"/>
                  </a:cubicBezTo>
                  <a:lnTo>
                    <a:pt x="0" y="958977"/>
                  </a:lnTo>
                  <a:cubicBezTo>
                    <a:pt x="10859" y="959739"/>
                    <a:pt x="21844" y="960247"/>
                    <a:pt x="32893" y="960247"/>
                  </a:cubicBezTo>
                  <a:cubicBezTo>
                    <a:pt x="298069" y="960247"/>
                    <a:pt x="513017" y="745300"/>
                    <a:pt x="513017" y="480124"/>
                  </a:cubicBezTo>
                  <a:cubicBezTo>
                    <a:pt x="513017" y="214948"/>
                    <a:pt x="298069" y="0"/>
                    <a:pt x="32893" y="0"/>
                  </a:cubicBezTo>
                  <a:close/>
                </a:path>
              </a:pathLst>
            </a:custGeom>
            <a:grpFill/>
            <a:ln w="0" cap="flat">
              <a:noFill/>
              <a:prstDash val="solid"/>
              <a:miter/>
            </a:ln>
          </p:spPr>
          <p:txBody>
            <a:bodyPr rtlCol="0" anchor="ctr"/>
            <a:lstStyle/>
            <a:p>
              <a:endParaRPr lang="sv-SE"/>
            </a:p>
          </p:txBody>
        </p:sp>
        <p:sp>
          <p:nvSpPr>
            <p:cNvPr id="40" name="Frihandsfigur: Form 39">
              <a:extLst>
                <a:ext uri="{FF2B5EF4-FFF2-40B4-BE49-F238E27FC236}">
                  <a16:creationId xmlns:a16="http://schemas.microsoft.com/office/drawing/2014/main" id="{2FC70874-22B5-0BD5-6B9B-0BF2F57A08D9}"/>
                </a:ext>
              </a:extLst>
            </p:cNvPr>
            <p:cNvSpPr/>
            <p:nvPr/>
          </p:nvSpPr>
          <p:spPr>
            <a:xfrm>
              <a:off x="0" y="2962782"/>
              <a:ext cx="517651" cy="960247"/>
            </a:xfrm>
            <a:custGeom>
              <a:avLst/>
              <a:gdLst>
                <a:gd name="connsiteX0" fmla="*/ 37529 w 517651"/>
                <a:gd name="connsiteY0" fmla="*/ 64 h 960247"/>
                <a:gd name="connsiteX1" fmla="*/ 0 w 517651"/>
                <a:gd name="connsiteY1" fmla="*/ 1651 h 960247"/>
                <a:gd name="connsiteX2" fmla="*/ 0 w 517651"/>
                <a:gd name="connsiteY2" fmla="*/ 958660 h 960247"/>
                <a:gd name="connsiteX3" fmla="*/ 37529 w 517651"/>
                <a:gd name="connsiteY3" fmla="*/ 960247 h 960247"/>
                <a:gd name="connsiteX4" fmla="*/ 517652 w 517651"/>
                <a:gd name="connsiteY4" fmla="*/ 480124 h 960247"/>
                <a:gd name="connsiteX5" fmla="*/ 37529 w 517651"/>
                <a:gd name="connsiteY5" fmla="*/ 0 h 96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651" h="960247">
                  <a:moveTo>
                    <a:pt x="37529" y="64"/>
                  </a:moveTo>
                  <a:cubicBezTo>
                    <a:pt x="24892" y="64"/>
                    <a:pt x="12383" y="699"/>
                    <a:pt x="0" y="1651"/>
                  </a:cubicBezTo>
                  <a:lnTo>
                    <a:pt x="0" y="958660"/>
                  </a:lnTo>
                  <a:cubicBezTo>
                    <a:pt x="12383" y="959612"/>
                    <a:pt x="24892" y="960247"/>
                    <a:pt x="37529" y="960247"/>
                  </a:cubicBezTo>
                  <a:cubicBezTo>
                    <a:pt x="302705" y="960247"/>
                    <a:pt x="517652" y="745300"/>
                    <a:pt x="517652" y="480124"/>
                  </a:cubicBezTo>
                  <a:cubicBezTo>
                    <a:pt x="517652" y="214948"/>
                    <a:pt x="302705" y="0"/>
                    <a:pt x="37529" y="0"/>
                  </a:cubicBezTo>
                  <a:close/>
                </a:path>
              </a:pathLst>
            </a:custGeom>
            <a:grpFill/>
            <a:ln w="0" cap="flat">
              <a:noFill/>
              <a:prstDash val="solid"/>
              <a:miter/>
            </a:ln>
          </p:spPr>
          <p:txBody>
            <a:bodyPr rtlCol="0" anchor="ctr"/>
            <a:lstStyle/>
            <a:p>
              <a:endParaRPr lang="sv-SE"/>
            </a:p>
          </p:txBody>
        </p:sp>
        <p:sp>
          <p:nvSpPr>
            <p:cNvPr id="41" name="Frihandsfigur: Form 40">
              <a:extLst>
                <a:ext uri="{FF2B5EF4-FFF2-40B4-BE49-F238E27FC236}">
                  <a16:creationId xmlns:a16="http://schemas.microsoft.com/office/drawing/2014/main" id="{28E1FE52-B569-EACF-07AB-33D1F0453EAE}"/>
                </a:ext>
              </a:extLst>
            </p:cNvPr>
            <p:cNvSpPr/>
            <p:nvPr/>
          </p:nvSpPr>
          <p:spPr>
            <a:xfrm>
              <a:off x="0" y="4084573"/>
              <a:ext cx="536130" cy="997330"/>
            </a:xfrm>
            <a:custGeom>
              <a:avLst/>
              <a:gdLst>
                <a:gd name="connsiteX0" fmla="*/ 37529 w 536130"/>
                <a:gd name="connsiteY0" fmla="*/ 0 h 997330"/>
                <a:gd name="connsiteX1" fmla="*/ 0 w 536130"/>
                <a:gd name="connsiteY1" fmla="*/ 1588 h 997330"/>
                <a:gd name="connsiteX2" fmla="*/ 0 w 536130"/>
                <a:gd name="connsiteY2" fmla="*/ 38735 h 997330"/>
                <a:gd name="connsiteX3" fmla="*/ 37529 w 536130"/>
                <a:gd name="connsiteY3" fmla="*/ 37084 h 997330"/>
                <a:gd name="connsiteX4" fmla="*/ 499110 w 536130"/>
                <a:gd name="connsiteY4" fmla="*/ 498666 h 997330"/>
                <a:gd name="connsiteX5" fmla="*/ 37529 w 536130"/>
                <a:gd name="connsiteY5" fmla="*/ 960247 h 997330"/>
                <a:gd name="connsiteX6" fmla="*/ 0 w 536130"/>
                <a:gd name="connsiteY6" fmla="*/ 958596 h 997330"/>
                <a:gd name="connsiteX7" fmla="*/ 0 w 536130"/>
                <a:gd name="connsiteY7" fmla="*/ 995744 h 997330"/>
                <a:gd name="connsiteX8" fmla="*/ 37529 w 536130"/>
                <a:gd name="connsiteY8" fmla="*/ 997331 h 997330"/>
                <a:gd name="connsiteX9" fmla="*/ 536131 w 536130"/>
                <a:gd name="connsiteY9" fmla="*/ 498729 h 997330"/>
                <a:gd name="connsiteX10" fmla="*/ 37529 w 536130"/>
                <a:gd name="connsiteY10" fmla="*/ 127 h 99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6130" h="997330">
                  <a:moveTo>
                    <a:pt x="37529" y="0"/>
                  </a:moveTo>
                  <a:cubicBezTo>
                    <a:pt x="24892" y="0"/>
                    <a:pt x="12383" y="635"/>
                    <a:pt x="0" y="1588"/>
                  </a:cubicBezTo>
                  <a:lnTo>
                    <a:pt x="0" y="38735"/>
                  </a:lnTo>
                  <a:cubicBezTo>
                    <a:pt x="12383" y="37719"/>
                    <a:pt x="24892" y="37084"/>
                    <a:pt x="37529" y="37084"/>
                  </a:cubicBezTo>
                  <a:cubicBezTo>
                    <a:pt x="292037" y="37084"/>
                    <a:pt x="499110" y="244158"/>
                    <a:pt x="499110" y="498666"/>
                  </a:cubicBezTo>
                  <a:cubicBezTo>
                    <a:pt x="499110" y="753173"/>
                    <a:pt x="292037" y="960247"/>
                    <a:pt x="37529" y="960247"/>
                  </a:cubicBezTo>
                  <a:cubicBezTo>
                    <a:pt x="24892" y="960247"/>
                    <a:pt x="12383" y="959612"/>
                    <a:pt x="0" y="958596"/>
                  </a:cubicBezTo>
                  <a:lnTo>
                    <a:pt x="0" y="995744"/>
                  </a:lnTo>
                  <a:cubicBezTo>
                    <a:pt x="12383" y="996696"/>
                    <a:pt x="24892" y="997331"/>
                    <a:pt x="37529" y="997331"/>
                  </a:cubicBezTo>
                  <a:cubicBezTo>
                    <a:pt x="312484" y="997331"/>
                    <a:pt x="536131" y="773621"/>
                    <a:pt x="536131" y="498729"/>
                  </a:cubicBezTo>
                  <a:cubicBezTo>
                    <a:pt x="536131" y="223838"/>
                    <a:pt x="312420" y="127"/>
                    <a:pt x="37529" y="127"/>
                  </a:cubicBezTo>
                  <a:close/>
                </a:path>
              </a:pathLst>
            </a:custGeom>
            <a:grpFill/>
            <a:ln w="0" cap="flat">
              <a:noFill/>
              <a:prstDash val="solid"/>
              <a:miter/>
            </a:ln>
          </p:spPr>
          <p:txBody>
            <a:bodyPr rtlCol="0" anchor="ctr"/>
            <a:lstStyle/>
            <a:p>
              <a:endParaRPr lang="sv-SE"/>
            </a:p>
          </p:txBody>
        </p:sp>
        <p:sp>
          <p:nvSpPr>
            <p:cNvPr id="42" name="Frihandsfigur: Form 41">
              <a:extLst>
                <a:ext uri="{FF2B5EF4-FFF2-40B4-BE49-F238E27FC236}">
                  <a16:creationId xmlns:a16="http://schemas.microsoft.com/office/drawing/2014/main" id="{281BD68B-C0D6-B06D-678A-D9A8BA8FC4ED}"/>
                </a:ext>
              </a:extLst>
            </p:cNvPr>
            <p:cNvSpPr/>
            <p:nvPr/>
          </p:nvSpPr>
          <p:spPr>
            <a:xfrm>
              <a:off x="0" y="5243380"/>
              <a:ext cx="517651" cy="960251"/>
            </a:xfrm>
            <a:custGeom>
              <a:avLst/>
              <a:gdLst>
                <a:gd name="connsiteX0" fmla="*/ 39878 w 517651"/>
                <a:gd name="connsiteY0" fmla="*/ 5 h 960251"/>
                <a:gd name="connsiteX1" fmla="*/ 0 w 517651"/>
                <a:gd name="connsiteY1" fmla="*/ 1529 h 960251"/>
                <a:gd name="connsiteX2" fmla="*/ 0 w 517651"/>
                <a:gd name="connsiteY2" fmla="*/ 958728 h 960251"/>
                <a:gd name="connsiteX3" fmla="*/ 37529 w 517651"/>
                <a:gd name="connsiteY3" fmla="*/ 960252 h 960251"/>
                <a:gd name="connsiteX4" fmla="*/ 517652 w 517651"/>
                <a:gd name="connsiteY4" fmla="*/ 480129 h 960251"/>
                <a:gd name="connsiteX5" fmla="*/ 39878 w 517651"/>
                <a:gd name="connsiteY5" fmla="*/ 5 h 96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651" h="960251">
                  <a:moveTo>
                    <a:pt x="39878" y="5"/>
                  </a:moveTo>
                  <a:cubicBezTo>
                    <a:pt x="26416" y="-59"/>
                    <a:pt x="13145" y="513"/>
                    <a:pt x="0" y="1529"/>
                  </a:cubicBezTo>
                  <a:lnTo>
                    <a:pt x="0" y="958728"/>
                  </a:lnTo>
                  <a:cubicBezTo>
                    <a:pt x="12383" y="959680"/>
                    <a:pt x="24892" y="960252"/>
                    <a:pt x="37529" y="960252"/>
                  </a:cubicBezTo>
                  <a:cubicBezTo>
                    <a:pt x="302705" y="960252"/>
                    <a:pt x="517652" y="745304"/>
                    <a:pt x="517652" y="480129"/>
                  </a:cubicBezTo>
                  <a:cubicBezTo>
                    <a:pt x="517652" y="215524"/>
                    <a:pt x="304483" y="1275"/>
                    <a:pt x="39878" y="5"/>
                  </a:cubicBezTo>
                  <a:close/>
                </a:path>
              </a:pathLst>
            </a:custGeom>
            <a:grpFill/>
            <a:ln w="0" cap="flat">
              <a:noFill/>
              <a:prstDash val="solid"/>
              <a:miter/>
            </a:ln>
          </p:spPr>
          <p:txBody>
            <a:bodyPr rtlCol="0" anchor="ctr"/>
            <a:lstStyle/>
            <a:p>
              <a:endParaRPr lang="sv-SE"/>
            </a:p>
          </p:txBody>
        </p:sp>
        <p:sp>
          <p:nvSpPr>
            <p:cNvPr id="43" name="Frihandsfigur: Form 42">
              <a:extLst>
                <a:ext uri="{FF2B5EF4-FFF2-40B4-BE49-F238E27FC236}">
                  <a16:creationId xmlns:a16="http://schemas.microsoft.com/office/drawing/2014/main" id="{B3C9BEC0-3CBC-7144-60DF-D7EC19585163}"/>
                </a:ext>
              </a:extLst>
            </p:cNvPr>
            <p:cNvSpPr/>
            <p:nvPr/>
          </p:nvSpPr>
          <p:spPr>
            <a:xfrm>
              <a:off x="2986595" y="0"/>
              <a:ext cx="960247" cy="502348"/>
            </a:xfrm>
            <a:custGeom>
              <a:avLst/>
              <a:gdLst>
                <a:gd name="connsiteX0" fmla="*/ 572 w 960247"/>
                <a:gd name="connsiteY0" fmla="*/ 0 h 502348"/>
                <a:gd name="connsiteX1" fmla="*/ 0 w 960247"/>
                <a:gd name="connsiteY1" fmla="*/ 22225 h 502348"/>
                <a:gd name="connsiteX2" fmla="*/ 480124 w 960247"/>
                <a:gd name="connsiteY2" fmla="*/ 502349 h 502348"/>
                <a:gd name="connsiteX3" fmla="*/ 960247 w 960247"/>
                <a:gd name="connsiteY3" fmla="*/ 22225 h 502348"/>
                <a:gd name="connsiteX4" fmla="*/ 959676 w 960247"/>
                <a:gd name="connsiteY4" fmla="*/ 0 h 502348"/>
                <a:gd name="connsiteX5" fmla="*/ 572 w 960247"/>
                <a:gd name="connsiteY5" fmla="*/ 0 h 5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247" h="502348">
                  <a:moveTo>
                    <a:pt x="572" y="0"/>
                  </a:moveTo>
                  <a:cubicBezTo>
                    <a:pt x="254" y="7366"/>
                    <a:pt x="0" y="14796"/>
                    <a:pt x="0" y="22225"/>
                  </a:cubicBezTo>
                  <a:cubicBezTo>
                    <a:pt x="0" y="287401"/>
                    <a:pt x="214948" y="502349"/>
                    <a:pt x="480124" y="502349"/>
                  </a:cubicBezTo>
                  <a:cubicBezTo>
                    <a:pt x="745300" y="502349"/>
                    <a:pt x="960247" y="287401"/>
                    <a:pt x="960247" y="22225"/>
                  </a:cubicBezTo>
                  <a:cubicBezTo>
                    <a:pt x="960247" y="14796"/>
                    <a:pt x="959993" y="7366"/>
                    <a:pt x="959676" y="0"/>
                  </a:cubicBezTo>
                  <a:lnTo>
                    <a:pt x="572" y="0"/>
                  </a:lnTo>
                  <a:close/>
                </a:path>
              </a:pathLst>
            </a:custGeom>
            <a:grpFill/>
            <a:ln w="0" cap="flat">
              <a:noFill/>
              <a:prstDash val="solid"/>
              <a:miter/>
            </a:ln>
          </p:spPr>
          <p:txBody>
            <a:bodyPr rtlCol="0" anchor="ctr"/>
            <a:lstStyle/>
            <a:p>
              <a:endParaRPr lang="sv-SE"/>
            </a:p>
          </p:txBody>
        </p:sp>
        <p:sp>
          <p:nvSpPr>
            <p:cNvPr id="44" name="Frihandsfigur: Form 43">
              <a:extLst>
                <a:ext uri="{FF2B5EF4-FFF2-40B4-BE49-F238E27FC236}">
                  <a16:creationId xmlns:a16="http://schemas.microsoft.com/office/drawing/2014/main" id="{A58EA45D-87D0-59CC-17D1-2D2C5A1DA4B0}"/>
                </a:ext>
              </a:extLst>
            </p:cNvPr>
            <p:cNvSpPr/>
            <p:nvPr/>
          </p:nvSpPr>
          <p:spPr>
            <a:xfrm>
              <a:off x="0" y="0"/>
              <a:ext cx="2805366" cy="502348"/>
            </a:xfrm>
            <a:custGeom>
              <a:avLst/>
              <a:gdLst>
                <a:gd name="connsiteX0" fmla="*/ 0 w 2805366"/>
                <a:gd name="connsiteY0" fmla="*/ 0 h 502348"/>
                <a:gd name="connsiteX1" fmla="*/ 0 w 2805366"/>
                <a:gd name="connsiteY1" fmla="*/ 500380 h 502348"/>
                <a:gd name="connsiteX2" fmla="*/ 42164 w 2805366"/>
                <a:gd name="connsiteY2" fmla="*/ 502349 h 502348"/>
                <a:gd name="connsiteX3" fmla="*/ 451612 w 2805366"/>
                <a:gd name="connsiteY3" fmla="*/ 273050 h 502348"/>
                <a:gd name="connsiteX4" fmla="*/ 612712 w 2805366"/>
                <a:gd name="connsiteY4" fmla="*/ 182753 h 502348"/>
                <a:gd name="connsiteX5" fmla="*/ 613156 w 2805366"/>
                <a:gd name="connsiteY5" fmla="*/ 182753 h 502348"/>
                <a:gd name="connsiteX6" fmla="*/ 774256 w 2805366"/>
                <a:gd name="connsiteY6" fmla="*/ 273050 h 502348"/>
                <a:gd name="connsiteX7" fmla="*/ 1183704 w 2805366"/>
                <a:gd name="connsiteY7" fmla="*/ 502349 h 502348"/>
                <a:gd name="connsiteX8" fmla="*/ 1593152 w 2805366"/>
                <a:gd name="connsiteY8" fmla="*/ 273050 h 502348"/>
                <a:gd name="connsiteX9" fmla="*/ 1754251 w 2805366"/>
                <a:gd name="connsiteY9" fmla="*/ 182753 h 502348"/>
                <a:gd name="connsiteX10" fmla="*/ 1754695 w 2805366"/>
                <a:gd name="connsiteY10" fmla="*/ 182753 h 502348"/>
                <a:gd name="connsiteX11" fmla="*/ 1908112 w 2805366"/>
                <a:gd name="connsiteY11" fmla="*/ 261556 h 502348"/>
                <a:gd name="connsiteX12" fmla="*/ 2308924 w 2805366"/>
                <a:gd name="connsiteY12" fmla="*/ 502095 h 502348"/>
                <a:gd name="connsiteX13" fmla="*/ 2309178 w 2805366"/>
                <a:gd name="connsiteY13" fmla="*/ 502095 h 502348"/>
                <a:gd name="connsiteX14" fmla="*/ 2324418 w 2805366"/>
                <a:gd name="connsiteY14" fmla="*/ 502349 h 502348"/>
                <a:gd name="connsiteX15" fmla="*/ 2324862 w 2805366"/>
                <a:gd name="connsiteY15" fmla="*/ 502349 h 502348"/>
                <a:gd name="connsiteX16" fmla="*/ 2325243 w 2805366"/>
                <a:gd name="connsiteY16" fmla="*/ 502349 h 502348"/>
                <a:gd name="connsiteX17" fmla="*/ 2805367 w 2805366"/>
                <a:gd name="connsiteY17" fmla="*/ 22225 h 502348"/>
                <a:gd name="connsiteX18" fmla="*/ 2804795 w 2805366"/>
                <a:gd name="connsiteY18" fmla="*/ 0 h 502348"/>
                <a:gd name="connsiteX19" fmla="*/ 0 w 2805366"/>
                <a:gd name="connsiteY19" fmla="*/ 0 h 5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05366" h="502348">
                  <a:moveTo>
                    <a:pt x="0" y="0"/>
                  </a:moveTo>
                  <a:lnTo>
                    <a:pt x="0" y="500380"/>
                  </a:lnTo>
                  <a:cubicBezTo>
                    <a:pt x="13907" y="501587"/>
                    <a:pt x="27940" y="502349"/>
                    <a:pt x="42164" y="502349"/>
                  </a:cubicBezTo>
                  <a:cubicBezTo>
                    <a:pt x="215392" y="502349"/>
                    <a:pt x="367157" y="410591"/>
                    <a:pt x="451612" y="273050"/>
                  </a:cubicBezTo>
                  <a:cubicBezTo>
                    <a:pt x="486029" y="216979"/>
                    <a:pt x="546926" y="182753"/>
                    <a:pt x="612712" y="182753"/>
                  </a:cubicBezTo>
                  <a:lnTo>
                    <a:pt x="613156" y="182753"/>
                  </a:lnTo>
                  <a:cubicBezTo>
                    <a:pt x="678942" y="182753"/>
                    <a:pt x="739839" y="216979"/>
                    <a:pt x="774256" y="273050"/>
                  </a:cubicBezTo>
                  <a:cubicBezTo>
                    <a:pt x="858711" y="410591"/>
                    <a:pt x="1010476" y="502349"/>
                    <a:pt x="1183704" y="502349"/>
                  </a:cubicBezTo>
                  <a:cubicBezTo>
                    <a:pt x="1356932" y="502349"/>
                    <a:pt x="1508697" y="410591"/>
                    <a:pt x="1593152" y="273050"/>
                  </a:cubicBezTo>
                  <a:cubicBezTo>
                    <a:pt x="1627569" y="216979"/>
                    <a:pt x="1688465" y="182753"/>
                    <a:pt x="1754251" y="182753"/>
                  </a:cubicBezTo>
                  <a:lnTo>
                    <a:pt x="1754695" y="182753"/>
                  </a:lnTo>
                  <a:cubicBezTo>
                    <a:pt x="1815846" y="182753"/>
                    <a:pt x="1872742" y="212408"/>
                    <a:pt x="1908112" y="261556"/>
                  </a:cubicBezTo>
                  <a:cubicBezTo>
                    <a:pt x="1988630" y="401257"/>
                    <a:pt x="2137410" y="496634"/>
                    <a:pt x="2308924" y="502095"/>
                  </a:cubicBezTo>
                  <a:cubicBezTo>
                    <a:pt x="2308987" y="502095"/>
                    <a:pt x="2309051" y="502095"/>
                    <a:pt x="2309178" y="502095"/>
                  </a:cubicBezTo>
                  <a:cubicBezTo>
                    <a:pt x="2314258" y="502221"/>
                    <a:pt x="2319338" y="502349"/>
                    <a:pt x="2324418" y="502349"/>
                  </a:cubicBezTo>
                  <a:cubicBezTo>
                    <a:pt x="2324545" y="502349"/>
                    <a:pt x="2324735" y="502349"/>
                    <a:pt x="2324862" y="502349"/>
                  </a:cubicBezTo>
                  <a:cubicBezTo>
                    <a:pt x="2324989" y="502349"/>
                    <a:pt x="2325116" y="502349"/>
                    <a:pt x="2325243" y="502349"/>
                  </a:cubicBezTo>
                  <a:cubicBezTo>
                    <a:pt x="2590419" y="502349"/>
                    <a:pt x="2805367" y="287401"/>
                    <a:pt x="2805367" y="22225"/>
                  </a:cubicBezTo>
                  <a:cubicBezTo>
                    <a:pt x="2805367" y="14796"/>
                    <a:pt x="2805113" y="7366"/>
                    <a:pt x="2804795" y="0"/>
                  </a:cubicBezTo>
                  <a:lnTo>
                    <a:pt x="0" y="0"/>
                  </a:lnTo>
                  <a:close/>
                </a:path>
              </a:pathLst>
            </a:custGeom>
            <a:grpFill/>
            <a:ln w="0" cap="flat">
              <a:noFill/>
              <a:prstDash val="solid"/>
              <a:miter/>
            </a:ln>
          </p:spPr>
          <p:txBody>
            <a:bodyPr rtlCol="0" anchor="ctr"/>
            <a:lstStyle/>
            <a:p>
              <a:endParaRPr lang="sv-SE"/>
            </a:p>
          </p:txBody>
        </p:sp>
        <p:sp>
          <p:nvSpPr>
            <p:cNvPr id="45" name="Frihandsfigur: Form 44">
              <a:extLst>
                <a:ext uri="{FF2B5EF4-FFF2-40B4-BE49-F238E27FC236}">
                  <a16:creationId xmlns:a16="http://schemas.microsoft.com/office/drawing/2014/main" id="{5875E22A-D2AD-38F0-ED48-FED29B39B1EE}"/>
                </a:ext>
              </a:extLst>
            </p:cNvPr>
            <p:cNvSpPr/>
            <p:nvPr/>
          </p:nvSpPr>
          <p:spPr>
            <a:xfrm>
              <a:off x="1840610" y="6490271"/>
              <a:ext cx="810514" cy="367157"/>
            </a:xfrm>
            <a:custGeom>
              <a:avLst/>
              <a:gdLst>
                <a:gd name="connsiteX0" fmla="*/ 77597 w 810514"/>
                <a:gd name="connsiteY0" fmla="*/ 367094 h 367157"/>
                <a:gd name="connsiteX1" fmla="*/ 810514 w 810514"/>
                <a:gd name="connsiteY1" fmla="*/ 26670 h 367157"/>
                <a:gd name="connsiteX2" fmla="*/ 780034 w 810514"/>
                <a:gd name="connsiteY2" fmla="*/ 0 h 367157"/>
                <a:gd name="connsiteX3" fmla="*/ 64 w 810514"/>
                <a:gd name="connsiteY3" fmla="*/ 362331 h 367157"/>
                <a:gd name="connsiteX4" fmla="*/ 0 w 810514"/>
                <a:gd name="connsiteY4" fmla="*/ 367157 h 367157"/>
                <a:gd name="connsiteX5" fmla="*/ 77597 w 810514"/>
                <a:gd name="connsiteY5" fmla="*/ 367157 h 36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514" h="367157">
                  <a:moveTo>
                    <a:pt x="77597" y="367094"/>
                  </a:moveTo>
                  <a:lnTo>
                    <a:pt x="810514" y="26670"/>
                  </a:lnTo>
                  <a:cubicBezTo>
                    <a:pt x="800735" y="17399"/>
                    <a:pt x="790575" y="8445"/>
                    <a:pt x="780034" y="0"/>
                  </a:cubicBezTo>
                  <a:lnTo>
                    <a:pt x="64" y="362331"/>
                  </a:lnTo>
                  <a:cubicBezTo>
                    <a:pt x="64" y="363919"/>
                    <a:pt x="64" y="365570"/>
                    <a:pt x="0" y="367157"/>
                  </a:cubicBezTo>
                  <a:lnTo>
                    <a:pt x="77597" y="367157"/>
                  </a:lnTo>
                  <a:close/>
                </a:path>
              </a:pathLst>
            </a:custGeom>
            <a:grpFill/>
            <a:ln w="0" cap="flat">
              <a:noFill/>
              <a:prstDash val="solid"/>
              <a:miter/>
            </a:ln>
          </p:spPr>
          <p:txBody>
            <a:bodyPr rtlCol="0" anchor="ctr"/>
            <a:lstStyle/>
            <a:p>
              <a:endParaRPr lang="sv-SE"/>
            </a:p>
          </p:txBody>
        </p:sp>
        <p:sp>
          <p:nvSpPr>
            <p:cNvPr id="46" name="Frihandsfigur: Form 45">
              <a:extLst>
                <a:ext uri="{FF2B5EF4-FFF2-40B4-BE49-F238E27FC236}">
                  <a16:creationId xmlns:a16="http://schemas.microsoft.com/office/drawing/2014/main" id="{BB2CBB89-F8DA-0636-C8E9-98136393D713}"/>
                </a:ext>
              </a:extLst>
            </p:cNvPr>
            <p:cNvSpPr/>
            <p:nvPr/>
          </p:nvSpPr>
          <p:spPr>
            <a:xfrm>
              <a:off x="2188082" y="6607556"/>
              <a:ext cx="556577" cy="249808"/>
            </a:xfrm>
            <a:custGeom>
              <a:avLst/>
              <a:gdLst>
                <a:gd name="connsiteX0" fmla="*/ 87948 w 556577"/>
                <a:gd name="connsiteY0" fmla="*/ 249809 h 249808"/>
                <a:gd name="connsiteX1" fmla="*/ 556578 w 556577"/>
                <a:gd name="connsiteY1" fmla="*/ 32131 h 249808"/>
                <a:gd name="connsiteX2" fmla="*/ 537782 w 556577"/>
                <a:gd name="connsiteY2" fmla="*/ 0 h 249808"/>
                <a:gd name="connsiteX3" fmla="*/ 0 w 556577"/>
                <a:gd name="connsiteY3" fmla="*/ 249809 h 249808"/>
                <a:gd name="connsiteX4" fmla="*/ 87948 w 556577"/>
                <a:gd name="connsiteY4" fmla="*/ 249809 h 249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577" h="249808">
                  <a:moveTo>
                    <a:pt x="87948" y="249809"/>
                  </a:moveTo>
                  <a:lnTo>
                    <a:pt x="556578" y="32131"/>
                  </a:lnTo>
                  <a:cubicBezTo>
                    <a:pt x="550736" y="21145"/>
                    <a:pt x="544449" y="10477"/>
                    <a:pt x="537782" y="0"/>
                  </a:cubicBezTo>
                  <a:lnTo>
                    <a:pt x="0" y="249809"/>
                  </a:lnTo>
                  <a:lnTo>
                    <a:pt x="87948" y="249809"/>
                  </a:lnTo>
                  <a:close/>
                </a:path>
              </a:pathLst>
            </a:custGeom>
            <a:grpFill/>
            <a:ln w="0" cap="flat">
              <a:noFill/>
              <a:prstDash val="solid"/>
              <a:miter/>
            </a:ln>
          </p:spPr>
          <p:txBody>
            <a:bodyPr rtlCol="0" anchor="ctr"/>
            <a:lstStyle/>
            <a:p>
              <a:endParaRPr lang="sv-SE"/>
            </a:p>
          </p:txBody>
        </p:sp>
        <p:sp>
          <p:nvSpPr>
            <p:cNvPr id="47" name="Frihandsfigur: Form 46">
              <a:extLst>
                <a:ext uri="{FF2B5EF4-FFF2-40B4-BE49-F238E27FC236}">
                  <a16:creationId xmlns:a16="http://schemas.microsoft.com/office/drawing/2014/main" id="{81B0F763-B0F2-EC3C-D8E7-CFD4474968FC}"/>
                </a:ext>
              </a:extLst>
            </p:cNvPr>
            <p:cNvSpPr/>
            <p:nvPr/>
          </p:nvSpPr>
          <p:spPr>
            <a:xfrm>
              <a:off x="2545905" y="6745922"/>
              <a:ext cx="247777" cy="111442"/>
            </a:xfrm>
            <a:custGeom>
              <a:avLst/>
              <a:gdLst>
                <a:gd name="connsiteX0" fmla="*/ 87884 w 247777"/>
                <a:gd name="connsiteY0" fmla="*/ 111443 h 111442"/>
                <a:gd name="connsiteX1" fmla="*/ 247777 w 247777"/>
                <a:gd name="connsiteY1" fmla="*/ 37147 h 111442"/>
                <a:gd name="connsiteX2" fmla="*/ 239840 w 247777"/>
                <a:gd name="connsiteY2" fmla="*/ 0 h 111442"/>
                <a:gd name="connsiteX3" fmla="*/ 0 w 247777"/>
                <a:gd name="connsiteY3" fmla="*/ 111443 h 111442"/>
                <a:gd name="connsiteX4" fmla="*/ 87884 w 247777"/>
                <a:gd name="connsiteY4" fmla="*/ 111443 h 111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777" h="111442">
                  <a:moveTo>
                    <a:pt x="87884" y="111443"/>
                  </a:moveTo>
                  <a:lnTo>
                    <a:pt x="247777" y="37147"/>
                  </a:lnTo>
                  <a:cubicBezTo>
                    <a:pt x="245618" y="24574"/>
                    <a:pt x="242951" y="12192"/>
                    <a:pt x="239840" y="0"/>
                  </a:cubicBezTo>
                  <a:lnTo>
                    <a:pt x="0" y="111443"/>
                  </a:lnTo>
                  <a:lnTo>
                    <a:pt x="87884" y="111443"/>
                  </a:lnTo>
                  <a:close/>
                </a:path>
              </a:pathLst>
            </a:custGeom>
            <a:grpFill/>
            <a:ln w="0" cap="flat">
              <a:noFill/>
              <a:prstDash val="solid"/>
              <a:miter/>
            </a:ln>
          </p:spPr>
          <p:txBody>
            <a:bodyPr rtlCol="0" anchor="ctr"/>
            <a:lstStyle/>
            <a:p>
              <a:endParaRPr lang="sv-SE"/>
            </a:p>
          </p:txBody>
        </p:sp>
        <p:sp>
          <p:nvSpPr>
            <p:cNvPr id="48" name="Frihandsfigur: Form 47">
              <a:extLst>
                <a:ext uri="{FF2B5EF4-FFF2-40B4-BE49-F238E27FC236}">
                  <a16:creationId xmlns:a16="http://schemas.microsoft.com/office/drawing/2014/main" id="{6585FF1A-2B34-F1D2-BC96-589F070D9DCB}"/>
                </a:ext>
              </a:extLst>
            </p:cNvPr>
            <p:cNvSpPr/>
            <p:nvPr/>
          </p:nvSpPr>
          <p:spPr>
            <a:xfrm>
              <a:off x="2972942" y="6383591"/>
              <a:ext cx="959929" cy="473773"/>
            </a:xfrm>
            <a:custGeom>
              <a:avLst/>
              <a:gdLst>
                <a:gd name="connsiteX0" fmla="*/ 959866 w 959929"/>
                <a:gd name="connsiteY0" fmla="*/ 473774 h 473773"/>
                <a:gd name="connsiteX1" fmla="*/ 479933 w 959929"/>
                <a:gd name="connsiteY1" fmla="*/ 0 h 473773"/>
                <a:gd name="connsiteX2" fmla="*/ 0 w 959929"/>
                <a:gd name="connsiteY2" fmla="*/ 473774 h 473773"/>
                <a:gd name="connsiteX3" fmla="*/ 959929 w 959929"/>
                <a:gd name="connsiteY3" fmla="*/ 473774 h 473773"/>
              </a:gdLst>
              <a:ahLst/>
              <a:cxnLst>
                <a:cxn ang="0">
                  <a:pos x="connsiteX0" y="connsiteY0"/>
                </a:cxn>
                <a:cxn ang="0">
                  <a:pos x="connsiteX1" y="connsiteY1"/>
                </a:cxn>
                <a:cxn ang="0">
                  <a:pos x="connsiteX2" y="connsiteY2"/>
                </a:cxn>
                <a:cxn ang="0">
                  <a:pos x="connsiteX3" y="connsiteY3"/>
                </a:cxn>
              </a:cxnLst>
              <a:rect l="l" t="t" r="r" b="b"/>
              <a:pathLst>
                <a:path w="959929" h="473773">
                  <a:moveTo>
                    <a:pt x="959866" y="473774"/>
                  </a:moveTo>
                  <a:cubicBezTo>
                    <a:pt x="956437" y="211582"/>
                    <a:pt x="742950" y="0"/>
                    <a:pt x="479933" y="0"/>
                  </a:cubicBezTo>
                  <a:cubicBezTo>
                    <a:pt x="216916" y="0"/>
                    <a:pt x="3365" y="211518"/>
                    <a:pt x="0" y="473774"/>
                  </a:cubicBezTo>
                  <a:lnTo>
                    <a:pt x="959929" y="473774"/>
                  </a:lnTo>
                  <a:close/>
                </a:path>
              </a:pathLst>
            </a:custGeom>
            <a:grpFill/>
            <a:ln w="0" cap="flat">
              <a:noFill/>
              <a:prstDash val="solid"/>
              <a:miter/>
            </a:ln>
          </p:spPr>
          <p:txBody>
            <a:bodyPr rtlCol="0" anchor="ctr"/>
            <a:lstStyle/>
            <a:p>
              <a:endParaRPr lang="sv-SE"/>
            </a:p>
          </p:txBody>
        </p:sp>
        <p:sp>
          <p:nvSpPr>
            <p:cNvPr id="49" name="Frihandsfigur: Form 48">
              <a:extLst>
                <a:ext uri="{FF2B5EF4-FFF2-40B4-BE49-F238E27FC236}">
                  <a16:creationId xmlns:a16="http://schemas.microsoft.com/office/drawing/2014/main" id="{6DDBA8B8-61AD-49B2-74C2-3C339C6B9A7A}"/>
                </a:ext>
              </a:extLst>
            </p:cNvPr>
            <p:cNvSpPr/>
            <p:nvPr/>
          </p:nvSpPr>
          <p:spPr>
            <a:xfrm>
              <a:off x="689927" y="6383591"/>
              <a:ext cx="959929" cy="473773"/>
            </a:xfrm>
            <a:custGeom>
              <a:avLst/>
              <a:gdLst>
                <a:gd name="connsiteX0" fmla="*/ 959866 w 959929"/>
                <a:gd name="connsiteY0" fmla="*/ 473774 h 473773"/>
                <a:gd name="connsiteX1" fmla="*/ 479933 w 959929"/>
                <a:gd name="connsiteY1" fmla="*/ 0 h 473773"/>
                <a:gd name="connsiteX2" fmla="*/ 0 w 959929"/>
                <a:gd name="connsiteY2" fmla="*/ 473774 h 473773"/>
                <a:gd name="connsiteX3" fmla="*/ 959930 w 959929"/>
                <a:gd name="connsiteY3" fmla="*/ 473774 h 473773"/>
              </a:gdLst>
              <a:ahLst/>
              <a:cxnLst>
                <a:cxn ang="0">
                  <a:pos x="connsiteX0" y="connsiteY0"/>
                </a:cxn>
                <a:cxn ang="0">
                  <a:pos x="connsiteX1" y="connsiteY1"/>
                </a:cxn>
                <a:cxn ang="0">
                  <a:pos x="connsiteX2" y="connsiteY2"/>
                </a:cxn>
                <a:cxn ang="0">
                  <a:pos x="connsiteX3" y="connsiteY3"/>
                </a:cxn>
              </a:cxnLst>
              <a:rect l="l" t="t" r="r" b="b"/>
              <a:pathLst>
                <a:path w="959929" h="473773">
                  <a:moveTo>
                    <a:pt x="959866" y="473774"/>
                  </a:moveTo>
                  <a:cubicBezTo>
                    <a:pt x="956437" y="211582"/>
                    <a:pt x="742950" y="0"/>
                    <a:pt x="479933" y="0"/>
                  </a:cubicBezTo>
                  <a:cubicBezTo>
                    <a:pt x="216916" y="0"/>
                    <a:pt x="3365" y="211518"/>
                    <a:pt x="0" y="473774"/>
                  </a:cubicBezTo>
                  <a:lnTo>
                    <a:pt x="959930" y="473774"/>
                  </a:lnTo>
                  <a:close/>
                </a:path>
              </a:pathLst>
            </a:custGeom>
            <a:grpFill/>
            <a:ln w="0" cap="flat">
              <a:noFill/>
              <a:prstDash val="solid"/>
              <a:miter/>
            </a:ln>
          </p:spPr>
          <p:txBody>
            <a:bodyPr rtlCol="0" anchor="ctr"/>
            <a:lstStyle/>
            <a:p>
              <a:endParaRPr lang="sv-SE"/>
            </a:p>
          </p:txBody>
        </p:sp>
        <p:sp>
          <p:nvSpPr>
            <p:cNvPr id="50" name="Frihandsfigur: Form 49">
              <a:extLst>
                <a:ext uri="{FF2B5EF4-FFF2-40B4-BE49-F238E27FC236}">
                  <a16:creationId xmlns:a16="http://schemas.microsoft.com/office/drawing/2014/main" id="{444EB411-F463-535D-9ADB-F27018145B49}"/>
                </a:ext>
              </a:extLst>
            </p:cNvPr>
            <p:cNvSpPr/>
            <p:nvPr/>
          </p:nvSpPr>
          <p:spPr>
            <a:xfrm>
              <a:off x="63" y="6383591"/>
              <a:ext cx="508254" cy="473773"/>
            </a:xfrm>
            <a:custGeom>
              <a:avLst/>
              <a:gdLst>
                <a:gd name="connsiteX0" fmla="*/ 508191 w 508254"/>
                <a:gd name="connsiteY0" fmla="*/ 473774 h 473773"/>
                <a:gd name="connsiteX1" fmla="*/ 28258 w 508254"/>
                <a:gd name="connsiteY1" fmla="*/ 0 h 473773"/>
                <a:gd name="connsiteX2" fmla="*/ 0 w 508254"/>
                <a:gd name="connsiteY2" fmla="*/ 889 h 473773"/>
                <a:gd name="connsiteX3" fmla="*/ 0 w 508254"/>
                <a:gd name="connsiteY3" fmla="*/ 473774 h 473773"/>
                <a:gd name="connsiteX4" fmla="*/ 508254 w 508254"/>
                <a:gd name="connsiteY4" fmla="*/ 473774 h 473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254" h="473773">
                  <a:moveTo>
                    <a:pt x="508191" y="473774"/>
                  </a:moveTo>
                  <a:cubicBezTo>
                    <a:pt x="504762" y="211582"/>
                    <a:pt x="291275" y="0"/>
                    <a:pt x="28258" y="0"/>
                  </a:cubicBezTo>
                  <a:cubicBezTo>
                    <a:pt x="18733" y="0"/>
                    <a:pt x="9335" y="381"/>
                    <a:pt x="0" y="889"/>
                  </a:cubicBezTo>
                  <a:lnTo>
                    <a:pt x="0" y="473774"/>
                  </a:lnTo>
                  <a:lnTo>
                    <a:pt x="508254" y="473774"/>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28227372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4_Mönster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895799" y="1031048"/>
            <a:ext cx="5261161"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895799" y="2523796"/>
            <a:ext cx="5261161"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ruta 4">
            <a:extLst>
              <a:ext uri="{FF2B5EF4-FFF2-40B4-BE49-F238E27FC236}">
                <a16:creationId xmlns:a16="http://schemas.microsoft.com/office/drawing/2014/main" id="{E321CA30-00B9-E5D3-0D2B-A095164FAA6D}"/>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grpSp>
        <p:nvGrpSpPr>
          <p:cNvPr id="4" name="Grupp 3">
            <a:extLst>
              <a:ext uri="{FF2B5EF4-FFF2-40B4-BE49-F238E27FC236}">
                <a16:creationId xmlns:a16="http://schemas.microsoft.com/office/drawing/2014/main" id="{E0032CF5-C7BA-F5E6-F8D8-32C47CCDE95E}"/>
              </a:ext>
            </a:extLst>
          </p:cNvPr>
          <p:cNvGrpSpPr/>
          <p:nvPr userDrawn="1"/>
        </p:nvGrpSpPr>
        <p:grpSpPr>
          <a:xfrm>
            <a:off x="6806268" y="0"/>
            <a:ext cx="5387933" cy="6857999"/>
            <a:chOff x="6806268" y="0"/>
            <a:chExt cx="5387933" cy="6857999"/>
          </a:xfrm>
          <a:solidFill>
            <a:schemeClr val="bg2"/>
          </a:solidFill>
        </p:grpSpPr>
        <p:sp>
          <p:nvSpPr>
            <p:cNvPr id="8" name="Frihandsfigur: Form 7">
              <a:extLst>
                <a:ext uri="{FF2B5EF4-FFF2-40B4-BE49-F238E27FC236}">
                  <a16:creationId xmlns:a16="http://schemas.microsoft.com/office/drawing/2014/main" id="{C85D27CA-8C50-73B7-FEEC-12113CAA05FD}"/>
                </a:ext>
              </a:extLst>
            </p:cNvPr>
            <p:cNvSpPr/>
            <p:nvPr/>
          </p:nvSpPr>
          <p:spPr>
            <a:xfrm>
              <a:off x="9322965" y="184662"/>
              <a:ext cx="1561296" cy="775709"/>
            </a:xfrm>
            <a:custGeom>
              <a:avLst/>
              <a:gdLst>
                <a:gd name="connsiteX0" fmla="*/ 1561296 w 1561296"/>
                <a:gd name="connsiteY0" fmla="*/ 33598 h 775709"/>
                <a:gd name="connsiteX1" fmla="*/ 1560415 w 1561296"/>
                <a:gd name="connsiteY1" fmla="*/ 0 h 775709"/>
                <a:gd name="connsiteX2" fmla="*/ 0 w 1561296"/>
                <a:gd name="connsiteY2" fmla="*/ 724809 h 775709"/>
                <a:gd name="connsiteX3" fmla="*/ 61344 w 1561296"/>
                <a:gd name="connsiteY3" fmla="*/ 775709 h 775709"/>
                <a:gd name="connsiteX4" fmla="*/ 1560101 w 1561296"/>
                <a:gd name="connsiteY4" fmla="*/ 79528 h 775709"/>
                <a:gd name="connsiteX5" fmla="*/ 1561233 w 1561296"/>
                <a:gd name="connsiteY5" fmla="*/ 33598 h 77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296" h="775709">
                  <a:moveTo>
                    <a:pt x="1561296" y="33598"/>
                  </a:moveTo>
                  <a:cubicBezTo>
                    <a:pt x="1561296" y="22336"/>
                    <a:pt x="1560856" y="11136"/>
                    <a:pt x="1560415" y="0"/>
                  </a:cubicBezTo>
                  <a:lnTo>
                    <a:pt x="0" y="724809"/>
                  </a:lnTo>
                  <a:cubicBezTo>
                    <a:pt x="19630" y="742677"/>
                    <a:pt x="40204" y="759602"/>
                    <a:pt x="61344" y="775709"/>
                  </a:cubicBezTo>
                  <a:lnTo>
                    <a:pt x="1560101" y="79528"/>
                  </a:lnTo>
                  <a:cubicBezTo>
                    <a:pt x="1560856" y="64302"/>
                    <a:pt x="1561233" y="49013"/>
                    <a:pt x="1561233" y="33598"/>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EA3A2B0D-1218-60DC-BEBC-FD3D5F79E89C}"/>
                </a:ext>
              </a:extLst>
            </p:cNvPr>
            <p:cNvSpPr/>
            <p:nvPr/>
          </p:nvSpPr>
          <p:spPr>
            <a:xfrm>
              <a:off x="9623773" y="532721"/>
              <a:ext cx="1206064" cy="591927"/>
            </a:xfrm>
            <a:custGeom>
              <a:avLst/>
              <a:gdLst>
                <a:gd name="connsiteX0" fmla="*/ 1164035 w 1206064"/>
                <a:gd name="connsiteY0" fmla="*/ 98969 h 591927"/>
                <a:gd name="connsiteX1" fmla="*/ 1206064 w 1206064"/>
                <a:gd name="connsiteY1" fmla="*/ 0 h 591927"/>
                <a:gd name="connsiteX2" fmla="*/ 0 w 1206064"/>
                <a:gd name="connsiteY2" fmla="*/ 560217 h 591927"/>
                <a:gd name="connsiteX3" fmla="*/ 102744 w 1206064"/>
                <a:gd name="connsiteY3" fmla="*/ 591927 h 591927"/>
                <a:gd name="connsiteX4" fmla="*/ 1164035 w 1206064"/>
                <a:gd name="connsiteY4" fmla="*/ 98969 h 591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064" h="591927">
                  <a:moveTo>
                    <a:pt x="1164035" y="98969"/>
                  </a:moveTo>
                  <a:cubicBezTo>
                    <a:pt x="1179891" y="66944"/>
                    <a:pt x="1193921" y="33975"/>
                    <a:pt x="1206064" y="0"/>
                  </a:cubicBezTo>
                  <a:lnTo>
                    <a:pt x="0" y="560217"/>
                  </a:lnTo>
                  <a:cubicBezTo>
                    <a:pt x="33409" y="572675"/>
                    <a:pt x="67699" y="583245"/>
                    <a:pt x="102744" y="591927"/>
                  </a:cubicBezTo>
                  <a:lnTo>
                    <a:pt x="1164035" y="98969"/>
                  </a:ln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D72CBE7A-2D0B-3CFC-C65E-FE5CAC8C7AE2}"/>
                </a:ext>
              </a:extLst>
            </p:cNvPr>
            <p:cNvSpPr/>
            <p:nvPr/>
          </p:nvSpPr>
          <p:spPr>
            <a:xfrm>
              <a:off x="9121251" y="1505488"/>
              <a:ext cx="1037131" cy="501640"/>
            </a:xfrm>
            <a:custGeom>
              <a:avLst/>
              <a:gdLst>
                <a:gd name="connsiteX0" fmla="*/ 908905 w 1037131"/>
                <a:gd name="connsiteY0" fmla="*/ 63 h 501640"/>
                <a:gd name="connsiteX1" fmla="*/ 67447 w 1037131"/>
                <a:gd name="connsiteY1" fmla="*/ 390906 h 501640"/>
                <a:gd name="connsiteX2" fmla="*/ 0 w 1037131"/>
                <a:gd name="connsiteY2" fmla="*/ 501641 h 501640"/>
                <a:gd name="connsiteX3" fmla="*/ 1037131 w 1037131"/>
                <a:gd name="connsiteY3" fmla="*/ 19882 h 501640"/>
                <a:gd name="connsiteX4" fmla="*/ 908968 w 1037131"/>
                <a:gd name="connsiteY4" fmla="*/ 0 h 501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131" h="501640">
                  <a:moveTo>
                    <a:pt x="908905" y="63"/>
                  </a:moveTo>
                  <a:lnTo>
                    <a:pt x="67447" y="390906"/>
                  </a:lnTo>
                  <a:cubicBezTo>
                    <a:pt x="42469" y="426140"/>
                    <a:pt x="19945" y="463072"/>
                    <a:pt x="0" y="501641"/>
                  </a:cubicBezTo>
                  <a:lnTo>
                    <a:pt x="1037131" y="19882"/>
                  </a:lnTo>
                  <a:cubicBezTo>
                    <a:pt x="995354" y="10381"/>
                    <a:pt x="952633" y="3712"/>
                    <a:pt x="908968" y="0"/>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E945A244-B44F-FF71-BE91-1254F6F790A6}"/>
                </a:ext>
              </a:extLst>
            </p:cNvPr>
            <p:cNvSpPr/>
            <p:nvPr/>
          </p:nvSpPr>
          <p:spPr>
            <a:xfrm>
              <a:off x="9019011" y="1639250"/>
              <a:ext cx="1488752" cy="738587"/>
            </a:xfrm>
            <a:custGeom>
              <a:avLst/>
              <a:gdLst>
                <a:gd name="connsiteX0" fmla="*/ 1419103 w 1488752"/>
                <a:gd name="connsiteY0" fmla="*/ 0 h 738587"/>
                <a:gd name="connsiteX1" fmla="*/ 8683 w 1488752"/>
                <a:gd name="connsiteY1" fmla="*/ 655159 h 738587"/>
                <a:gd name="connsiteX2" fmla="*/ 0 w 1488752"/>
                <a:gd name="connsiteY2" fmla="*/ 738588 h 738587"/>
                <a:gd name="connsiteX3" fmla="*/ 1488752 w 1488752"/>
                <a:gd name="connsiteY3" fmla="*/ 47062 h 738587"/>
                <a:gd name="connsiteX4" fmla="*/ 1419166 w 1488752"/>
                <a:gd name="connsiteY4" fmla="*/ 0 h 73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752" h="738587">
                  <a:moveTo>
                    <a:pt x="1419103" y="0"/>
                  </a:moveTo>
                  <a:lnTo>
                    <a:pt x="8683" y="655159"/>
                  </a:lnTo>
                  <a:cubicBezTo>
                    <a:pt x="4530" y="682591"/>
                    <a:pt x="1699" y="710464"/>
                    <a:pt x="0" y="738588"/>
                  </a:cubicBezTo>
                  <a:lnTo>
                    <a:pt x="1488752" y="47062"/>
                  </a:lnTo>
                  <a:cubicBezTo>
                    <a:pt x="1466291" y="30326"/>
                    <a:pt x="1443074" y="14660"/>
                    <a:pt x="1419166" y="0"/>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590B2AD0-BEDD-4A90-330A-042099DFC472}"/>
                </a:ext>
              </a:extLst>
            </p:cNvPr>
            <p:cNvSpPr/>
            <p:nvPr/>
          </p:nvSpPr>
          <p:spPr>
            <a:xfrm>
              <a:off x="9034362" y="1850842"/>
              <a:ext cx="1687823" cy="835165"/>
            </a:xfrm>
            <a:custGeom>
              <a:avLst/>
              <a:gdLst>
                <a:gd name="connsiteX0" fmla="*/ 1643906 w 1687823"/>
                <a:gd name="connsiteY0" fmla="*/ 63 h 835165"/>
                <a:gd name="connsiteX1" fmla="*/ 0 w 1687823"/>
                <a:gd name="connsiteY1" fmla="*/ 763629 h 835165"/>
                <a:gd name="connsiteX2" fmla="*/ 16925 w 1687823"/>
                <a:gd name="connsiteY2" fmla="*/ 835166 h 835165"/>
                <a:gd name="connsiteX3" fmla="*/ 1687823 w 1687823"/>
                <a:gd name="connsiteY3" fmla="*/ 59016 h 835165"/>
                <a:gd name="connsiteX4" fmla="*/ 1643906 w 1687823"/>
                <a:gd name="connsiteY4" fmla="*/ 0 h 835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823" h="835165">
                  <a:moveTo>
                    <a:pt x="1643906" y="63"/>
                  </a:moveTo>
                  <a:lnTo>
                    <a:pt x="0" y="763629"/>
                  </a:lnTo>
                  <a:cubicBezTo>
                    <a:pt x="4719" y="787852"/>
                    <a:pt x="10381" y="811698"/>
                    <a:pt x="16925" y="835166"/>
                  </a:cubicBezTo>
                  <a:lnTo>
                    <a:pt x="1687823" y="59016"/>
                  </a:lnTo>
                  <a:cubicBezTo>
                    <a:pt x="1673981" y="38757"/>
                    <a:pt x="1659258" y="19127"/>
                    <a:pt x="1643906" y="0"/>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08A295A6-CB8E-1A03-DAAF-99C67C2C6728}"/>
                </a:ext>
              </a:extLst>
            </p:cNvPr>
            <p:cNvSpPr/>
            <p:nvPr/>
          </p:nvSpPr>
          <p:spPr>
            <a:xfrm>
              <a:off x="9135471" y="2106161"/>
              <a:ext cx="1711605" cy="846365"/>
            </a:xfrm>
            <a:custGeom>
              <a:avLst/>
              <a:gdLst>
                <a:gd name="connsiteX0" fmla="*/ 1688830 w 1711605"/>
                <a:gd name="connsiteY0" fmla="*/ 63 h 846365"/>
                <a:gd name="connsiteX1" fmla="*/ 0 w 1711605"/>
                <a:gd name="connsiteY1" fmla="*/ 784517 h 846365"/>
                <a:gd name="connsiteX2" fmla="*/ 37750 w 1711605"/>
                <a:gd name="connsiteY2" fmla="*/ 846365 h 846365"/>
                <a:gd name="connsiteX3" fmla="*/ 1711606 w 1711605"/>
                <a:gd name="connsiteY3" fmla="*/ 68832 h 846365"/>
                <a:gd name="connsiteX4" fmla="*/ 1688767 w 1711605"/>
                <a:gd name="connsiteY4" fmla="*/ 0 h 84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605" h="846365">
                  <a:moveTo>
                    <a:pt x="1688830" y="63"/>
                  </a:moveTo>
                  <a:lnTo>
                    <a:pt x="0" y="784517"/>
                  </a:lnTo>
                  <a:cubicBezTo>
                    <a:pt x="11828" y="805658"/>
                    <a:pt x="24349" y="826295"/>
                    <a:pt x="37750" y="846365"/>
                  </a:cubicBezTo>
                  <a:lnTo>
                    <a:pt x="1711606" y="68832"/>
                  </a:lnTo>
                  <a:cubicBezTo>
                    <a:pt x="1704810" y="45489"/>
                    <a:pt x="1697261" y="22524"/>
                    <a:pt x="1688767" y="0"/>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C899A894-6563-6610-6111-354CE2358C49}"/>
                </a:ext>
              </a:extLst>
            </p:cNvPr>
            <p:cNvSpPr/>
            <p:nvPr/>
          </p:nvSpPr>
          <p:spPr>
            <a:xfrm>
              <a:off x="9322965" y="2401998"/>
              <a:ext cx="1561296" cy="775709"/>
            </a:xfrm>
            <a:custGeom>
              <a:avLst/>
              <a:gdLst>
                <a:gd name="connsiteX0" fmla="*/ 1561296 w 1561296"/>
                <a:gd name="connsiteY0" fmla="*/ 33598 h 775709"/>
                <a:gd name="connsiteX1" fmla="*/ 1560415 w 1561296"/>
                <a:gd name="connsiteY1" fmla="*/ 0 h 775709"/>
                <a:gd name="connsiteX2" fmla="*/ 0 w 1561296"/>
                <a:gd name="connsiteY2" fmla="*/ 724809 h 775709"/>
                <a:gd name="connsiteX3" fmla="*/ 61344 w 1561296"/>
                <a:gd name="connsiteY3" fmla="*/ 775709 h 775709"/>
                <a:gd name="connsiteX4" fmla="*/ 1560101 w 1561296"/>
                <a:gd name="connsiteY4" fmla="*/ 79528 h 775709"/>
                <a:gd name="connsiteX5" fmla="*/ 1561233 w 1561296"/>
                <a:gd name="connsiteY5" fmla="*/ 33598 h 77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296" h="775709">
                  <a:moveTo>
                    <a:pt x="1561296" y="33598"/>
                  </a:moveTo>
                  <a:cubicBezTo>
                    <a:pt x="1561296" y="22336"/>
                    <a:pt x="1560856" y="11137"/>
                    <a:pt x="1560415" y="0"/>
                  </a:cubicBezTo>
                  <a:lnTo>
                    <a:pt x="0" y="724809"/>
                  </a:lnTo>
                  <a:cubicBezTo>
                    <a:pt x="19630" y="742677"/>
                    <a:pt x="40204" y="759602"/>
                    <a:pt x="61344" y="775709"/>
                  </a:cubicBezTo>
                  <a:lnTo>
                    <a:pt x="1560101" y="79528"/>
                  </a:lnTo>
                  <a:cubicBezTo>
                    <a:pt x="1560856" y="64302"/>
                    <a:pt x="1561233" y="49013"/>
                    <a:pt x="1561233" y="33598"/>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AB35EDBD-FDE1-1062-38B8-063C4C863D49}"/>
                </a:ext>
              </a:extLst>
            </p:cNvPr>
            <p:cNvSpPr/>
            <p:nvPr/>
          </p:nvSpPr>
          <p:spPr>
            <a:xfrm>
              <a:off x="9623773" y="2749994"/>
              <a:ext cx="1206064" cy="591927"/>
            </a:xfrm>
            <a:custGeom>
              <a:avLst/>
              <a:gdLst>
                <a:gd name="connsiteX0" fmla="*/ 1164035 w 1206064"/>
                <a:gd name="connsiteY0" fmla="*/ 98969 h 591927"/>
                <a:gd name="connsiteX1" fmla="*/ 1206064 w 1206064"/>
                <a:gd name="connsiteY1" fmla="*/ 0 h 591927"/>
                <a:gd name="connsiteX2" fmla="*/ 0 w 1206064"/>
                <a:gd name="connsiteY2" fmla="*/ 560217 h 591927"/>
                <a:gd name="connsiteX3" fmla="*/ 102744 w 1206064"/>
                <a:gd name="connsiteY3" fmla="*/ 591927 h 591927"/>
                <a:gd name="connsiteX4" fmla="*/ 1164035 w 1206064"/>
                <a:gd name="connsiteY4" fmla="*/ 98969 h 591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064" h="591927">
                  <a:moveTo>
                    <a:pt x="1164035" y="98969"/>
                  </a:moveTo>
                  <a:cubicBezTo>
                    <a:pt x="1179891" y="66944"/>
                    <a:pt x="1193921" y="33976"/>
                    <a:pt x="1206064" y="0"/>
                  </a:cubicBezTo>
                  <a:lnTo>
                    <a:pt x="0" y="560217"/>
                  </a:lnTo>
                  <a:cubicBezTo>
                    <a:pt x="33409" y="572674"/>
                    <a:pt x="67699" y="583245"/>
                    <a:pt x="102744" y="591927"/>
                  </a:cubicBezTo>
                  <a:lnTo>
                    <a:pt x="1164035" y="98969"/>
                  </a:ln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C2DD410D-C09A-EDCD-2D8A-113DD97AC400}"/>
                </a:ext>
              </a:extLst>
            </p:cNvPr>
            <p:cNvSpPr/>
            <p:nvPr/>
          </p:nvSpPr>
          <p:spPr>
            <a:xfrm>
              <a:off x="9018948" y="0"/>
              <a:ext cx="345731" cy="160565"/>
            </a:xfrm>
            <a:custGeom>
              <a:avLst/>
              <a:gdLst>
                <a:gd name="connsiteX0" fmla="*/ 174722 w 345731"/>
                <a:gd name="connsiteY0" fmla="*/ 0 h 160565"/>
                <a:gd name="connsiteX1" fmla="*/ 8683 w 345731"/>
                <a:gd name="connsiteY1" fmla="*/ 77137 h 160565"/>
                <a:gd name="connsiteX2" fmla="*/ 0 w 345731"/>
                <a:gd name="connsiteY2" fmla="*/ 160565 h 160565"/>
                <a:gd name="connsiteX3" fmla="*/ 345731 w 345731"/>
                <a:gd name="connsiteY3" fmla="*/ 0 h 160565"/>
                <a:gd name="connsiteX4" fmla="*/ 174785 w 345731"/>
                <a:gd name="connsiteY4" fmla="*/ 0 h 160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31" h="160565">
                  <a:moveTo>
                    <a:pt x="174722" y="0"/>
                  </a:moveTo>
                  <a:lnTo>
                    <a:pt x="8683" y="77137"/>
                  </a:lnTo>
                  <a:cubicBezTo>
                    <a:pt x="4530" y="104569"/>
                    <a:pt x="1699" y="132441"/>
                    <a:pt x="0" y="160565"/>
                  </a:cubicBezTo>
                  <a:lnTo>
                    <a:pt x="345731" y="0"/>
                  </a:lnTo>
                  <a:lnTo>
                    <a:pt x="174785" y="0"/>
                  </a:ln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7958DC84-213F-5783-BB26-E4F331D5D969}"/>
                </a:ext>
              </a:extLst>
            </p:cNvPr>
            <p:cNvSpPr/>
            <p:nvPr/>
          </p:nvSpPr>
          <p:spPr>
            <a:xfrm>
              <a:off x="9034362" y="0"/>
              <a:ext cx="1026057" cy="468734"/>
            </a:xfrm>
            <a:custGeom>
              <a:avLst/>
              <a:gdLst>
                <a:gd name="connsiteX0" fmla="*/ 855111 w 1026057"/>
                <a:gd name="connsiteY0" fmla="*/ 0 h 468734"/>
                <a:gd name="connsiteX1" fmla="*/ 0 w 1026057"/>
                <a:gd name="connsiteY1" fmla="*/ 397198 h 468734"/>
                <a:gd name="connsiteX2" fmla="*/ 16925 w 1026057"/>
                <a:gd name="connsiteY2" fmla="*/ 468735 h 468734"/>
                <a:gd name="connsiteX3" fmla="*/ 1026058 w 1026057"/>
                <a:gd name="connsiteY3" fmla="*/ 0 h 468734"/>
                <a:gd name="connsiteX4" fmla="*/ 855111 w 1026057"/>
                <a:gd name="connsiteY4" fmla="*/ 0 h 468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057" h="468734">
                  <a:moveTo>
                    <a:pt x="855111" y="0"/>
                  </a:moveTo>
                  <a:lnTo>
                    <a:pt x="0" y="397198"/>
                  </a:lnTo>
                  <a:cubicBezTo>
                    <a:pt x="4719" y="421421"/>
                    <a:pt x="10381" y="445267"/>
                    <a:pt x="16925" y="468735"/>
                  </a:cubicBezTo>
                  <a:lnTo>
                    <a:pt x="1026058" y="0"/>
                  </a:lnTo>
                  <a:lnTo>
                    <a:pt x="855111" y="0"/>
                  </a:ln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9AA57CAF-B558-F994-8EB5-8A39FD3ACAC9}"/>
                </a:ext>
              </a:extLst>
            </p:cNvPr>
            <p:cNvSpPr/>
            <p:nvPr/>
          </p:nvSpPr>
          <p:spPr>
            <a:xfrm>
              <a:off x="8972200" y="5900522"/>
              <a:ext cx="1938989" cy="957477"/>
            </a:xfrm>
            <a:custGeom>
              <a:avLst/>
              <a:gdLst>
                <a:gd name="connsiteX0" fmla="*/ 72041 w 1938989"/>
                <a:gd name="connsiteY0" fmla="*/ 957477 h 957477"/>
                <a:gd name="connsiteX1" fmla="*/ 969495 w 1938989"/>
                <a:gd name="connsiteY1" fmla="*/ 72041 h 957477"/>
                <a:gd name="connsiteX2" fmla="*/ 1866949 w 1938989"/>
                <a:gd name="connsiteY2" fmla="*/ 957477 h 957477"/>
                <a:gd name="connsiteX3" fmla="*/ 1938989 w 1938989"/>
                <a:gd name="connsiteY3" fmla="*/ 957477 h 957477"/>
                <a:gd name="connsiteX4" fmla="*/ 969495 w 1938989"/>
                <a:gd name="connsiteY4" fmla="*/ 0 h 957477"/>
                <a:gd name="connsiteX5" fmla="*/ 0 w 1938989"/>
                <a:gd name="connsiteY5" fmla="*/ 957477 h 957477"/>
                <a:gd name="connsiteX6" fmla="*/ 72041 w 1938989"/>
                <a:gd name="connsiteY6" fmla="*/ 957477 h 95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8989" h="957477">
                  <a:moveTo>
                    <a:pt x="72041" y="957477"/>
                  </a:moveTo>
                  <a:cubicBezTo>
                    <a:pt x="78584" y="468105"/>
                    <a:pt x="478613" y="72041"/>
                    <a:pt x="969495" y="72041"/>
                  </a:cubicBezTo>
                  <a:cubicBezTo>
                    <a:pt x="1460376" y="72041"/>
                    <a:pt x="1860406" y="468105"/>
                    <a:pt x="1866949" y="957477"/>
                  </a:cubicBezTo>
                  <a:lnTo>
                    <a:pt x="1938989" y="957477"/>
                  </a:lnTo>
                  <a:cubicBezTo>
                    <a:pt x="1932446" y="428405"/>
                    <a:pt x="1500140" y="0"/>
                    <a:pt x="969495" y="0"/>
                  </a:cubicBezTo>
                  <a:cubicBezTo>
                    <a:pt x="438849" y="0"/>
                    <a:pt x="6543" y="428405"/>
                    <a:pt x="0" y="957477"/>
                  </a:cubicBezTo>
                  <a:lnTo>
                    <a:pt x="72041" y="957477"/>
                  </a:ln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A0E24DE9-B1FA-598C-AE65-955CE9B27C74}"/>
                </a:ext>
              </a:extLst>
            </p:cNvPr>
            <p:cNvSpPr/>
            <p:nvPr/>
          </p:nvSpPr>
          <p:spPr>
            <a:xfrm>
              <a:off x="9135534" y="0"/>
              <a:ext cx="1620627" cy="735190"/>
            </a:xfrm>
            <a:custGeom>
              <a:avLst/>
              <a:gdLst>
                <a:gd name="connsiteX0" fmla="*/ 1449681 w 1620627"/>
                <a:gd name="connsiteY0" fmla="*/ 0 h 735190"/>
                <a:gd name="connsiteX1" fmla="*/ 0 w 1620627"/>
                <a:gd name="connsiteY1" fmla="*/ 673342 h 735190"/>
                <a:gd name="connsiteX2" fmla="*/ 37750 w 1620627"/>
                <a:gd name="connsiteY2" fmla="*/ 735190 h 735190"/>
                <a:gd name="connsiteX3" fmla="*/ 1620627 w 1620627"/>
                <a:gd name="connsiteY3" fmla="*/ 0 h 735190"/>
                <a:gd name="connsiteX4" fmla="*/ 1449681 w 1620627"/>
                <a:gd name="connsiteY4" fmla="*/ 0 h 735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627" h="735190">
                  <a:moveTo>
                    <a:pt x="1449681" y="0"/>
                  </a:moveTo>
                  <a:lnTo>
                    <a:pt x="0" y="673342"/>
                  </a:lnTo>
                  <a:cubicBezTo>
                    <a:pt x="11829" y="694483"/>
                    <a:pt x="24349" y="715120"/>
                    <a:pt x="37750" y="735190"/>
                  </a:cubicBezTo>
                  <a:lnTo>
                    <a:pt x="1620627" y="0"/>
                  </a:lnTo>
                  <a:lnTo>
                    <a:pt x="1449681" y="0"/>
                  </a:ln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065C8D66-64DF-48C2-85C0-3052860E7F3B}"/>
                </a:ext>
              </a:extLst>
            </p:cNvPr>
            <p:cNvSpPr/>
            <p:nvPr/>
          </p:nvSpPr>
          <p:spPr>
            <a:xfrm>
              <a:off x="11218793" y="62"/>
              <a:ext cx="975220" cy="1192851"/>
            </a:xfrm>
            <a:custGeom>
              <a:avLst/>
              <a:gdLst>
                <a:gd name="connsiteX0" fmla="*/ 975220 w 975220"/>
                <a:gd name="connsiteY0" fmla="*/ 1120748 h 1192851"/>
                <a:gd name="connsiteX1" fmla="*/ 969620 w 975220"/>
                <a:gd name="connsiteY1" fmla="*/ 1120811 h 1192851"/>
                <a:gd name="connsiteX2" fmla="*/ 72041 w 975220"/>
                <a:gd name="connsiteY2" fmla="*/ 223231 h 1192851"/>
                <a:gd name="connsiteX3" fmla="*/ 99850 w 975220"/>
                <a:gd name="connsiteY3" fmla="*/ 0 h 1192851"/>
                <a:gd name="connsiteX4" fmla="*/ 25670 w 975220"/>
                <a:gd name="connsiteY4" fmla="*/ 0 h 1192851"/>
                <a:gd name="connsiteX5" fmla="*/ 0 w 975220"/>
                <a:gd name="connsiteY5" fmla="*/ 223231 h 1192851"/>
                <a:gd name="connsiteX6" fmla="*/ 969620 w 975220"/>
                <a:gd name="connsiteY6" fmla="*/ 1192852 h 1192851"/>
                <a:gd name="connsiteX7" fmla="*/ 969620 w 975220"/>
                <a:gd name="connsiteY7" fmla="*/ 1192852 h 1192851"/>
                <a:gd name="connsiteX8" fmla="*/ 975220 w 975220"/>
                <a:gd name="connsiteY8" fmla="*/ 1192789 h 1192851"/>
                <a:gd name="connsiteX9" fmla="*/ 975220 w 975220"/>
                <a:gd name="connsiteY9" fmla="*/ 1120748 h 119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5220" h="1192851">
                  <a:moveTo>
                    <a:pt x="975220" y="1120748"/>
                  </a:moveTo>
                  <a:cubicBezTo>
                    <a:pt x="973333" y="1120748"/>
                    <a:pt x="971508" y="1120811"/>
                    <a:pt x="969620" y="1120811"/>
                  </a:cubicBezTo>
                  <a:cubicBezTo>
                    <a:pt x="474712" y="1120811"/>
                    <a:pt x="72041" y="718140"/>
                    <a:pt x="72041" y="223231"/>
                  </a:cubicBezTo>
                  <a:cubicBezTo>
                    <a:pt x="72041" y="146661"/>
                    <a:pt x="81604" y="71852"/>
                    <a:pt x="99850" y="0"/>
                  </a:cubicBezTo>
                  <a:lnTo>
                    <a:pt x="25670" y="0"/>
                  </a:lnTo>
                  <a:cubicBezTo>
                    <a:pt x="8808" y="72103"/>
                    <a:pt x="0" y="146912"/>
                    <a:pt x="0" y="223231"/>
                  </a:cubicBezTo>
                  <a:cubicBezTo>
                    <a:pt x="0" y="757903"/>
                    <a:pt x="434948" y="1192852"/>
                    <a:pt x="969620" y="1192852"/>
                  </a:cubicBezTo>
                  <a:cubicBezTo>
                    <a:pt x="969620" y="1192852"/>
                    <a:pt x="969620" y="1192852"/>
                    <a:pt x="969620" y="1192852"/>
                  </a:cubicBezTo>
                  <a:cubicBezTo>
                    <a:pt x="971508" y="1192852"/>
                    <a:pt x="973333" y="1192852"/>
                    <a:pt x="975220" y="1192789"/>
                  </a:cubicBezTo>
                  <a:lnTo>
                    <a:pt x="975220" y="1120748"/>
                  </a:ln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4CDAF08B-12B1-BCA6-72D6-1248030D7CE0}"/>
                </a:ext>
              </a:extLst>
            </p:cNvPr>
            <p:cNvSpPr/>
            <p:nvPr/>
          </p:nvSpPr>
          <p:spPr>
            <a:xfrm>
              <a:off x="11245784" y="1501964"/>
              <a:ext cx="948228" cy="1867263"/>
            </a:xfrm>
            <a:custGeom>
              <a:avLst/>
              <a:gdLst>
                <a:gd name="connsiteX0" fmla="*/ 948229 w 948228"/>
                <a:gd name="connsiteY0" fmla="*/ 189 h 1867263"/>
                <a:gd name="connsiteX1" fmla="*/ 933632 w 948228"/>
                <a:gd name="connsiteY1" fmla="*/ 0 h 1867263"/>
                <a:gd name="connsiteX2" fmla="*/ 0 w 948228"/>
                <a:gd name="connsiteY2" fmla="*/ 933632 h 1867263"/>
                <a:gd name="connsiteX3" fmla="*/ 933632 w 948228"/>
                <a:gd name="connsiteY3" fmla="*/ 1867264 h 1867263"/>
                <a:gd name="connsiteX4" fmla="*/ 948229 w 948228"/>
                <a:gd name="connsiteY4" fmla="*/ 1867075 h 1867263"/>
                <a:gd name="connsiteX5" fmla="*/ 948229 w 948228"/>
                <a:gd name="connsiteY5" fmla="*/ 189 h 186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228" h="1867263">
                  <a:moveTo>
                    <a:pt x="948229" y="189"/>
                  </a:moveTo>
                  <a:cubicBezTo>
                    <a:pt x="943384" y="126"/>
                    <a:pt x="938540" y="0"/>
                    <a:pt x="933632" y="0"/>
                  </a:cubicBezTo>
                  <a:cubicBezTo>
                    <a:pt x="418023" y="0"/>
                    <a:pt x="0" y="418023"/>
                    <a:pt x="0" y="933632"/>
                  </a:cubicBezTo>
                  <a:cubicBezTo>
                    <a:pt x="0" y="1449240"/>
                    <a:pt x="418023" y="1867264"/>
                    <a:pt x="933632" y="1867264"/>
                  </a:cubicBezTo>
                  <a:cubicBezTo>
                    <a:pt x="938540" y="1867264"/>
                    <a:pt x="943384" y="1867138"/>
                    <a:pt x="948229" y="1867075"/>
                  </a:cubicBezTo>
                  <a:lnTo>
                    <a:pt x="948229" y="189"/>
                  </a:ln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C6688CA8-5C11-85F5-CFB1-ED4FC0FF7EEF}"/>
                </a:ext>
              </a:extLst>
            </p:cNvPr>
            <p:cNvSpPr/>
            <p:nvPr/>
          </p:nvSpPr>
          <p:spPr>
            <a:xfrm>
              <a:off x="6806268" y="3719238"/>
              <a:ext cx="5387933" cy="1867263"/>
            </a:xfrm>
            <a:custGeom>
              <a:avLst/>
              <a:gdLst>
                <a:gd name="connsiteX0" fmla="*/ 5387746 w 5387933"/>
                <a:gd name="connsiteY0" fmla="*/ 252 h 1867263"/>
                <a:gd name="connsiteX1" fmla="*/ 5373149 w 5387933"/>
                <a:gd name="connsiteY1" fmla="*/ 0 h 1867263"/>
                <a:gd name="connsiteX2" fmla="*/ 4576929 w 5387933"/>
                <a:gd name="connsiteY2" fmla="*/ 445959 h 1867263"/>
                <a:gd name="connsiteX3" fmla="*/ 4263663 w 5387933"/>
                <a:gd name="connsiteY3" fmla="*/ 621561 h 1867263"/>
                <a:gd name="connsiteX4" fmla="*/ 4262782 w 5387933"/>
                <a:gd name="connsiteY4" fmla="*/ 621561 h 1867263"/>
                <a:gd name="connsiteX5" fmla="*/ 3949516 w 5387933"/>
                <a:gd name="connsiteY5" fmla="*/ 445959 h 1867263"/>
                <a:gd name="connsiteX6" fmla="*/ 3153296 w 5387933"/>
                <a:gd name="connsiteY6" fmla="*/ 0 h 1867263"/>
                <a:gd name="connsiteX7" fmla="*/ 2357076 w 5387933"/>
                <a:gd name="connsiteY7" fmla="*/ 445959 h 1867263"/>
                <a:gd name="connsiteX8" fmla="*/ 2043810 w 5387933"/>
                <a:gd name="connsiteY8" fmla="*/ 621561 h 1867263"/>
                <a:gd name="connsiteX9" fmla="*/ 2042992 w 5387933"/>
                <a:gd name="connsiteY9" fmla="*/ 621561 h 1867263"/>
                <a:gd name="connsiteX10" fmla="*/ 1728216 w 5387933"/>
                <a:gd name="connsiteY10" fmla="*/ 443631 h 1867263"/>
                <a:gd name="connsiteX11" fmla="*/ 928913 w 5387933"/>
                <a:gd name="connsiteY11" fmla="*/ 63 h 1867263"/>
                <a:gd name="connsiteX12" fmla="*/ 0 w 5387933"/>
                <a:gd name="connsiteY12" fmla="*/ 933632 h 1867263"/>
                <a:gd name="connsiteX13" fmla="*/ 933632 w 5387933"/>
                <a:gd name="connsiteY13" fmla="*/ 1867263 h 1867263"/>
                <a:gd name="connsiteX14" fmla="*/ 1729852 w 5387933"/>
                <a:gd name="connsiteY14" fmla="*/ 1421368 h 1867263"/>
                <a:gd name="connsiteX15" fmla="*/ 2043118 w 5387933"/>
                <a:gd name="connsiteY15" fmla="*/ 1245765 h 1867263"/>
                <a:gd name="connsiteX16" fmla="*/ 2043999 w 5387933"/>
                <a:gd name="connsiteY16" fmla="*/ 1245765 h 1867263"/>
                <a:gd name="connsiteX17" fmla="*/ 2357265 w 5387933"/>
                <a:gd name="connsiteY17" fmla="*/ 1421368 h 1867263"/>
                <a:gd name="connsiteX18" fmla="*/ 3153485 w 5387933"/>
                <a:gd name="connsiteY18" fmla="*/ 1867263 h 1867263"/>
                <a:gd name="connsiteX19" fmla="*/ 3949705 w 5387933"/>
                <a:gd name="connsiteY19" fmla="*/ 1421368 h 1867263"/>
                <a:gd name="connsiteX20" fmla="*/ 4262971 w 5387933"/>
                <a:gd name="connsiteY20" fmla="*/ 1245765 h 1867263"/>
                <a:gd name="connsiteX21" fmla="*/ 4263852 w 5387933"/>
                <a:gd name="connsiteY21" fmla="*/ 1245765 h 1867263"/>
                <a:gd name="connsiteX22" fmla="*/ 4577117 w 5387933"/>
                <a:gd name="connsiteY22" fmla="*/ 1421368 h 1867263"/>
                <a:gd name="connsiteX23" fmla="*/ 5373338 w 5387933"/>
                <a:gd name="connsiteY23" fmla="*/ 1867263 h 1867263"/>
                <a:gd name="connsiteX24" fmla="*/ 5387934 w 5387933"/>
                <a:gd name="connsiteY24" fmla="*/ 1867012 h 1867263"/>
                <a:gd name="connsiteX25" fmla="*/ 5387934 w 5387933"/>
                <a:gd name="connsiteY25" fmla="*/ 252 h 186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87933" h="1867263">
                  <a:moveTo>
                    <a:pt x="5387746" y="252"/>
                  </a:moveTo>
                  <a:cubicBezTo>
                    <a:pt x="5382901" y="189"/>
                    <a:pt x="5378057" y="0"/>
                    <a:pt x="5373149" y="0"/>
                  </a:cubicBezTo>
                  <a:cubicBezTo>
                    <a:pt x="5036289" y="0"/>
                    <a:pt x="4741143" y="178434"/>
                    <a:pt x="4576929" y="445959"/>
                  </a:cubicBezTo>
                  <a:cubicBezTo>
                    <a:pt x="4510048" y="554932"/>
                    <a:pt x="4391511" y="621561"/>
                    <a:pt x="4263663" y="621561"/>
                  </a:cubicBezTo>
                  <a:lnTo>
                    <a:pt x="4262782" y="621561"/>
                  </a:lnTo>
                  <a:cubicBezTo>
                    <a:pt x="4134934" y="621561"/>
                    <a:pt x="4016397" y="554932"/>
                    <a:pt x="3949516" y="445959"/>
                  </a:cubicBezTo>
                  <a:cubicBezTo>
                    <a:pt x="3785364" y="178434"/>
                    <a:pt x="3490219" y="0"/>
                    <a:pt x="3153296" y="0"/>
                  </a:cubicBezTo>
                  <a:cubicBezTo>
                    <a:pt x="2816373" y="0"/>
                    <a:pt x="2521290" y="178434"/>
                    <a:pt x="2357076" y="445959"/>
                  </a:cubicBezTo>
                  <a:cubicBezTo>
                    <a:pt x="2290195" y="554932"/>
                    <a:pt x="2171658" y="621561"/>
                    <a:pt x="2043810" y="621561"/>
                  </a:cubicBezTo>
                  <a:lnTo>
                    <a:pt x="2042992" y="621561"/>
                  </a:lnTo>
                  <a:cubicBezTo>
                    <a:pt x="1914137" y="621561"/>
                    <a:pt x="1795978" y="553233"/>
                    <a:pt x="1728216" y="443631"/>
                  </a:cubicBezTo>
                  <a:cubicBezTo>
                    <a:pt x="1562995" y="176232"/>
                    <a:pt x="1266654" y="-1573"/>
                    <a:pt x="928913" y="63"/>
                  </a:cubicBezTo>
                  <a:cubicBezTo>
                    <a:pt x="414563" y="2517"/>
                    <a:pt x="0" y="419156"/>
                    <a:pt x="0" y="933632"/>
                  </a:cubicBezTo>
                  <a:cubicBezTo>
                    <a:pt x="0" y="1449240"/>
                    <a:pt x="418023" y="1867263"/>
                    <a:pt x="933632" y="1867263"/>
                  </a:cubicBezTo>
                  <a:cubicBezTo>
                    <a:pt x="1270492" y="1867263"/>
                    <a:pt x="1565637" y="1688830"/>
                    <a:pt x="1729852" y="1421368"/>
                  </a:cubicBezTo>
                  <a:cubicBezTo>
                    <a:pt x="1796733" y="1312395"/>
                    <a:pt x="1915270" y="1245765"/>
                    <a:pt x="2043118" y="1245765"/>
                  </a:cubicBezTo>
                  <a:lnTo>
                    <a:pt x="2043999" y="1245765"/>
                  </a:lnTo>
                  <a:cubicBezTo>
                    <a:pt x="2171847" y="1245765"/>
                    <a:pt x="2290383" y="1312395"/>
                    <a:pt x="2357265" y="1421368"/>
                  </a:cubicBezTo>
                  <a:cubicBezTo>
                    <a:pt x="2521416" y="1688893"/>
                    <a:pt x="2816562" y="1867263"/>
                    <a:pt x="3153485" y="1867263"/>
                  </a:cubicBezTo>
                  <a:cubicBezTo>
                    <a:pt x="3490408" y="1867263"/>
                    <a:pt x="3785490" y="1688830"/>
                    <a:pt x="3949705" y="1421368"/>
                  </a:cubicBezTo>
                  <a:cubicBezTo>
                    <a:pt x="4016586" y="1312395"/>
                    <a:pt x="4135122" y="1245765"/>
                    <a:pt x="4262971" y="1245765"/>
                  </a:cubicBezTo>
                  <a:lnTo>
                    <a:pt x="4263852" y="1245765"/>
                  </a:lnTo>
                  <a:cubicBezTo>
                    <a:pt x="4391700" y="1245765"/>
                    <a:pt x="4510236" y="1312395"/>
                    <a:pt x="4577117" y="1421368"/>
                  </a:cubicBezTo>
                  <a:cubicBezTo>
                    <a:pt x="4741269" y="1688893"/>
                    <a:pt x="5036415" y="1867263"/>
                    <a:pt x="5373338" y="1867263"/>
                  </a:cubicBezTo>
                  <a:cubicBezTo>
                    <a:pt x="5378245" y="1867263"/>
                    <a:pt x="5383090" y="1867075"/>
                    <a:pt x="5387934" y="1867012"/>
                  </a:cubicBezTo>
                  <a:lnTo>
                    <a:pt x="5387934" y="252"/>
                  </a:ln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1DB51C42-545D-1564-744D-50F100C9FB46}"/>
                </a:ext>
              </a:extLst>
            </p:cNvPr>
            <p:cNvSpPr/>
            <p:nvPr/>
          </p:nvSpPr>
          <p:spPr>
            <a:xfrm>
              <a:off x="11191927" y="5900522"/>
              <a:ext cx="1002086" cy="957477"/>
            </a:xfrm>
            <a:custGeom>
              <a:avLst/>
              <a:gdLst>
                <a:gd name="connsiteX0" fmla="*/ 1002086 w 1002086"/>
                <a:gd name="connsiteY0" fmla="*/ 629 h 957477"/>
                <a:gd name="connsiteX1" fmla="*/ 969495 w 1002086"/>
                <a:gd name="connsiteY1" fmla="*/ 0 h 957477"/>
                <a:gd name="connsiteX2" fmla="*/ 0 w 1002086"/>
                <a:gd name="connsiteY2" fmla="*/ 957477 h 957477"/>
                <a:gd name="connsiteX3" fmla="*/ 72041 w 1002086"/>
                <a:gd name="connsiteY3" fmla="*/ 957477 h 957477"/>
                <a:gd name="connsiteX4" fmla="*/ 969495 w 1002086"/>
                <a:gd name="connsiteY4" fmla="*/ 72041 h 957477"/>
                <a:gd name="connsiteX5" fmla="*/ 1002086 w 1002086"/>
                <a:gd name="connsiteY5" fmla="*/ 72670 h 957477"/>
                <a:gd name="connsiteX6" fmla="*/ 1002086 w 1002086"/>
                <a:gd name="connsiteY6" fmla="*/ 629 h 95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086" h="957477">
                  <a:moveTo>
                    <a:pt x="1002086" y="629"/>
                  </a:moveTo>
                  <a:cubicBezTo>
                    <a:pt x="991264" y="252"/>
                    <a:pt x="980379" y="0"/>
                    <a:pt x="969495" y="0"/>
                  </a:cubicBezTo>
                  <a:cubicBezTo>
                    <a:pt x="438912" y="0"/>
                    <a:pt x="6544" y="428405"/>
                    <a:pt x="0" y="957477"/>
                  </a:cubicBezTo>
                  <a:lnTo>
                    <a:pt x="72041" y="957477"/>
                  </a:lnTo>
                  <a:cubicBezTo>
                    <a:pt x="78584" y="468105"/>
                    <a:pt x="478613" y="72041"/>
                    <a:pt x="969495" y="72041"/>
                  </a:cubicBezTo>
                  <a:cubicBezTo>
                    <a:pt x="980379" y="72041"/>
                    <a:pt x="991264" y="72292"/>
                    <a:pt x="1002086" y="72670"/>
                  </a:cubicBezTo>
                  <a:lnTo>
                    <a:pt x="1002086" y="629"/>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24388202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4_Mönster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895799" y="1031048"/>
            <a:ext cx="5261161"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895799" y="2523796"/>
            <a:ext cx="5261161"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ruta 4">
            <a:extLst>
              <a:ext uri="{FF2B5EF4-FFF2-40B4-BE49-F238E27FC236}">
                <a16:creationId xmlns:a16="http://schemas.microsoft.com/office/drawing/2014/main" id="{E321CA30-00B9-E5D3-0D2B-A095164FAA6D}"/>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grpSp>
        <p:nvGrpSpPr>
          <p:cNvPr id="4" name="Grupp 3">
            <a:extLst>
              <a:ext uri="{FF2B5EF4-FFF2-40B4-BE49-F238E27FC236}">
                <a16:creationId xmlns:a16="http://schemas.microsoft.com/office/drawing/2014/main" id="{04EE5CC7-C0F0-0A07-A618-5C5EBB8F18E5}"/>
              </a:ext>
            </a:extLst>
          </p:cNvPr>
          <p:cNvGrpSpPr/>
          <p:nvPr userDrawn="1"/>
        </p:nvGrpSpPr>
        <p:grpSpPr>
          <a:xfrm>
            <a:off x="6806268" y="0"/>
            <a:ext cx="5387933" cy="6857999"/>
            <a:chOff x="6806268" y="0"/>
            <a:chExt cx="5387933" cy="6857999"/>
          </a:xfrm>
          <a:solidFill>
            <a:schemeClr val="accent5"/>
          </a:solidFill>
        </p:grpSpPr>
        <p:sp>
          <p:nvSpPr>
            <p:cNvPr id="8" name="Frihandsfigur: Form 7">
              <a:extLst>
                <a:ext uri="{FF2B5EF4-FFF2-40B4-BE49-F238E27FC236}">
                  <a16:creationId xmlns:a16="http://schemas.microsoft.com/office/drawing/2014/main" id="{82D63C53-84F8-5D5D-476A-31D31A86A5C3}"/>
                </a:ext>
              </a:extLst>
            </p:cNvPr>
            <p:cNvSpPr/>
            <p:nvPr/>
          </p:nvSpPr>
          <p:spPr>
            <a:xfrm>
              <a:off x="9322965" y="184662"/>
              <a:ext cx="1561296" cy="775709"/>
            </a:xfrm>
            <a:custGeom>
              <a:avLst/>
              <a:gdLst>
                <a:gd name="connsiteX0" fmla="*/ 1561296 w 1561296"/>
                <a:gd name="connsiteY0" fmla="*/ 33598 h 775709"/>
                <a:gd name="connsiteX1" fmla="*/ 1560415 w 1561296"/>
                <a:gd name="connsiteY1" fmla="*/ 0 h 775709"/>
                <a:gd name="connsiteX2" fmla="*/ 0 w 1561296"/>
                <a:gd name="connsiteY2" fmla="*/ 724809 h 775709"/>
                <a:gd name="connsiteX3" fmla="*/ 61344 w 1561296"/>
                <a:gd name="connsiteY3" fmla="*/ 775709 h 775709"/>
                <a:gd name="connsiteX4" fmla="*/ 1560101 w 1561296"/>
                <a:gd name="connsiteY4" fmla="*/ 79528 h 775709"/>
                <a:gd name="connsiteX5" fmla="*/ 1561233 w 1561296"/>
                <a:gd name="connsiteY5" fmla="*/ 33598 h 77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296" h="775709">
                  <a:moveTo>
                    <a:pt x="1561296" y="33598"/>
                  </a:moveTo>
                  <a:cubicBezTo>
                    <a:pt x="1561296" y="22336"/>
                    <a:pt x="1560856" y="11136"/>
                    <a:pt x="1560415" y="0"/>
                  </a:cubicBezTo>
                  <a:lnTo>
                    <a:pt x="0" y="724809"/>
                  </a:lnTo>
                  <a:cubicBezTo>
                    <a:pt x="19630" y="742677"/>
                    <a:pt x="40204" y="759602"/>
                    <a:pt x="61344" y="775709"/>
                  </a:cubicBezTo>
                  <a:lnTo>
                    <a:pt x="1560101" y="79528"/>
                  </a:lnTo>
                  <a:cubicBezTo>
                    <a:pt x="1560856" y="64302"/>
                    <a:pt x="1561233" y="49013"/>
                    <a:pt x="1561233" y="33598"/>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999246AA-4324-91EA-407A-ECA941EE24D9}"/>
                </a:ext>
              </a:extLst>
            </p:cNvPr>
            <p:cNvSpPr/>
            <p:nvPr/>
          </p:nvSpPr>
          <p:spPr>
            <a:xfrm>
              <a:off x="9623773" y="532721"/>
              <a:ext cx="1206064" cy="591927"/>
            </a:xfrm>
            <a:custGeom>
              <a:avLst/>
              <a:gdLst>
                <a:gd name="connsiteX0" fmla="*/ 1164035 w 1206064"/>
                <a:gd name="connsiteY0" fmla="*/ 98969 h 591927"/>
                <a:gd name="connsiteX1" fmla="*/ 1206064 w 1206064"/>
                <a:gd name="connsiteY1" fmla="*/ 0 h 591927"/>
                <a:gd name="connsiteX2" fmla="*/ 0 w 1206064"/>
                <a:gd name="connsiteY2" fmla="*/ 560217 h 591927"/>
                <a:gd name="connsiteX3" fmla="*/ 102744 w 1206064"/>
                <a:gd name="connsiteY3" fmla="*/ 591927 h 591927"/>
                <a:gd name="connsiteX4" fmla="*/ 1164035 w 1206064"/>
                <a:gd name="connsiteY4" fmla="*/ 98969 h 591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064" h="591927">
                  <a:moveTo>
                    <a:pt x="1164035" y="98969"/>
                  </a:moveTo>
                  <a:cubicBezTo>
                    <a:pt x="1179891" y="66944"/>
                    <a:pt x="1193921" y="33975"/>
                    <a:pt x="1206064" y="0"/>
                  </a:cubicBezTo>
                  <a:lnTo>
                    <a:pt x="0" y="560217"/>
                  </a:lnTo>
                  <a:cubicBezTo>
                    <a:pt x="33409" y="572675"/>
                    <a:pt x="67699" y="583245"/>
                    <a:pt x="102744" y="591927"/>
                  </a:cubicBezTo>
                  <a:lnTo>
                    <a:pt x="1164035" y="98969"/>
                  </a:ln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D3532D06-DF4B-7B45-C972-0A84FECC8B9B}"/>
                </a:ext>
              </a:extLst>
            </p:cNvPr>
            <p:cNvSpPr/>
            <p:nvPr/>
          </p:nvSpPr>
          <p:spPr>
            <a:xfrm>
              <a:off x="9121251" y="1505488"/>
              <a:ext cx="1037131" cy="501640"/>
            </a:xfrm>
            <a:custGeom>
              <a:avLst/>
              <a:gdLst>
                <a:gd name="connsiteX0" fmla="*/ 908905 w 1037131"/>
                <a:gd name="connsiteY0" fmla="*/ 63 h 501640"/>
                <a:gd name="connsiteX1" fmla="*/ 67447 w 1037131"/>
                <a:gd name="connsiteY1" fmla="*/ 390906 h 501640"/>
                <a:gd name="connsiteX2" fmla="*/ 0 w 1037131"/>
                <a:gd name="connsiteY2" fmla="*/ 501641 h 501640"/>
                <a:gd name="connsiteX3" fmla="*/ 1037131 w 1037131"/>
                <a:gd name="connsiteY3" fmla="*/ 19882 h 501640"/>
                <a:gd name="connsiteX4" fmla="*/ 908968 w 1037131"/>
                <a:gd name="connsiteY4" fmla="*/ 0 h 501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131" h="501640">
                  <a:moveTo>
                    <a:pt x="908905" y="63"/>
                  </a:moveTo>
                  <a:lnTo>
                    <a:pt x="67447" y="390906"/>
                  </a:lnTo>
                  <a:cubicBezTo>
                    <a:pt x="42469" y="426140"/>
                    <a:pt x="19945" y="463072"/>
                    <a:pt x="0" y="501641"/>
                  </a:cubicBezTo>
                  <a:lnTo>
                    <a:pt x="1037131" y="19882"/>
                  </a:lnTo>
                  <a:cubicBezTo>
                    <a:pt x="995354" y="10381"/>
                    <a:pt x="952633" y="3712"/>
                    <a:pt x="908968" y="0"/>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D113B4C2-996B-7415-346F-CFB0A4AD16BF}"/>
                </a:ext>
              </a:extLst>
            </p:cNvPr>
            <p:cNvSpPr/>
            <p:nvPr/>
          </p:nvSpPr>
          <p:spPr>
            <a:xfrm>
              <a:off x="9019011" y="1639250"/>
              <a:ext cx="1488752" cy="738587"/>
            </a:xfrm>
            <a:custGeom>
              <a:avLst/>
              <a:gdLst>
                <a:gd name="connsiteX0" fmla="*/ 1419103 w 1488752"/>
                <a:gd name="connsiteY0" fmla="*/ 0 h 738587"/>
                <a:gd name="connsiteX1" fmla="*/ 8683 w 1488752"/>
                <a:gd name="connsiteY1" fmla="*/ 655159 h 738587"/>
                <a:gd name="connsiteX2" fmla="*/ 0 w 1488752"/>
                <a:gd name="connsiteY2" fmla="*/ 738588 h 738587"/>
                <a:gd name="connsiteX3" fmla="*/ 1488752 w 1488752"/>
                <a:gd name="connsiteY3" fmla="*/ 47062 h 738587"/>
                <a:gd name="connsiteX4" fmla="*/ 1419166 w 1488752"/>
                <a:gd name="connsiteY4" fmla="*/ 0 h 73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752" h="738587">
                  <a:moveTo>
                    <a:pt x="1419103" y="0"/>
                  </a:moveTo>
                  <a:lnTo>
                    <a:pt x="8683" y="655159"/>
                  </a:lnTo>
                  <a:cubicBezTo>
                    <a:pt x="4530" y="682591"/>
                    <a:pt x="1699" y="710464"/>
                    <a:pt x="0" y="738588"/>
                  </a:cubicBezTo>
                  <a:lnTo>
                    <a:pt x="1488752" y="47062"/>
                  </a:lnTo>
                  <a:cubicBezTo>
                    <a:pt x="1466291" y="30326"/>
                    <a:pt x="1443074" y="14660"/>
                    <a:pt x="1419166" y="0"/>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E56BC5BD-4779-9D80-164F-A76171A82868}"/>
                </a:ext>
              </a:extLst>
            </p:cNvPr>
            <p:cNvSpPr/>
            <p:nvPr/>
          </p:nvSpPr>
          <p:spPr>
            <a:xfrm>
              <a:off x="9034362" y="1850842"/>
              <a:ext cx="1687823" cy="835165"/>
            </a:xfrm>
            <a:custGeom>
              <a:avLst/>
              <a:gdLst>
                <a:gd name="connsiteX0" fmla="*/ 1643906 w 1687823"/>
                <a:gd name="connsiteY0" fmla="*/ 63 h 835165"/>
                <a:gd name="connsiteX1" fmla="*/ 0 w 1687823"/>
                <a:gd name="connsiteY1" fmla="*/ 763629 h 835165"/>
                <a:gd name="connsiteX2" fmla="*/ 16925 w 1687823"/>
                <a:gd name="connsiteY2" fmla="*/ 835166 h 835165"/>
                <a:gd name="connsiteX3" fmla="*/ 1687823 w 1687823"/>
                <a:gd name="connsiteY3" fmla="*/ 59016 h 835165"/>
                <a:gd name="connsiteX4" fmla="*/ 1643906 w 1687823"/>
                <a:gd name="connsiteY4" fmla="*/ 0 h 835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823" h="835165">
                  <a:moveTo>
                    <a:pt x="1643906" y="63"/>
                  </a:moveTo>
                  <a:lnTo>
                    <a:pt x="0" y="763629"/>
                  </a:lnTo>
                  <a:cubicBezTo>
                    <a:pt x="4719" y="787852"/>
                    <a:pt x="10381" y="811698"/>
                    <a:pt x="16925" y="835166"/>
                  </a:cubicBezTo>
                  <a:lnTo>
                    <a:pt x="1687823" y="59016"/>
                  </a:lnTo>
                  <a:cubicBezTo>
                    <a:pt x="1673981" y="38757"/>
                    <a:pt x="1659258" y="19127"/>
                    <a:pt x="1643906" y="0"/>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A883CD3D-E793-5318-7188-76F508678CFF}"/>
                </a:ext>
              </a:extLst>
            </p:cNvPr>
            <p:cNvSpPr/>
            <p:nvPr/>
          </p:nvSpPr>
          <p:spPr>
            <a:xfrm>
              <a:off x="9135471" y="2106161"/>
              <a:ext cx="1711605" cy="846365"/>
            </a:xfrm>
            <a:custGeom>
              <a:avLst/>
              <a:gdLst>
                <a:gd name="connsiteX0" fmla="*/ 1688830 w 1711605"/>
                <a:gd name="connsiteY0" fmla="*/ 63 h 846365"/>
                <a:gd name="connsiteX1" fmla="*/ 0 w 1711605"/>
                <a:gd name="connsiteY1" fmla="*/ 784517 h 846365"/>
                <a:gd name="connsiteX2" fmla="*/ 37750 w 1711605"/>
                <a:gd name="connsiteY2" fmla="*/ 846365 h 846365"/>
                <a:gd name="connsiteX3" fmla="*/ 1711606 w 1711605"/>
                <a:gd name="connsiteY3" fmla="*/ 68832 h 846365"/>
                <a:gd name="connsiteX4" fmla="*/ 1688767 w 1711605"/>
                <a:gd name="connsiteY4" fmla="*/ 0 h 84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605" h="846365">
                  <a:moveTo>
                    <a:pt x="1688830" y="63"/>
                  </a:moveTo>
                  <a:lnTo>
                    <a:pt x="0" y="784517"/>
                  </a:lnTo>
                  <a:cubicBezTo>
                    <a:pt x="11828" y="805658"/>
                    <a:pt x="24349" y="826295"/>
                    <a:pt x="37750" y="846365"/>
                  </a:cubicBezTo>
                  <a:lnTo>
                    <a:pt x="1711606" y="68832"/>
                  </a:lnTo>
                  <a:cubicBezTo>
                    <a:pt x="1704810" y="45489"/>
                    <a:pt x="1697261" y="22524"/>
                    <a:pt x="1688767" y="0"/>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C74CE6DF-68DC-CA1E-4FFA-9EB6BDF22602}"/>
                </a:ext>
              </a:extLst>
            </p:cNvPr>
            <p:cNvSpPr/>
            <p:nvPr/>
          </p:nvSpPr>
          <p:spPr>
            <a:xfrm>
              <a:off x="9322965" y="2401998"/>
              <a:ext cx="1561296" cy="775709"/>
            </a:xfrm>
            <a:custGeom>
              <a:avLst/>
              <a:gdLst>
                <a:gd name="connsiteX0" fmla="*/ 1561296 w 1561296"/>
                <a:gd name="connsiteY0" fmla="*/ 33598 h 775709"/>
                <a:gd name="connsiteX1" fmla="*/ 1560415 w 1561296"/>
                <a:gd name="connsiteY1" fmla="*/ 0 h 775709"/>
                <a:gd name="connsiteX2" fmla="*/ 0 w 1561296"/>
                <a:gd name="connsiteY2" fmla="*/ 724809 h 775709"/>
                <a:gd name="connsiteX3" fmla="*/ 61344 w 1561296"/>
                <a:gd name="connsiteY3" fmla="*/ 775709 h 775709"/>
                <a:gd name="connsiteX4" fmla="*/ 1560101 w 1561296"/>
                <a:gd name="connsiteY4" fmla="*/ 79528 h 775709"/>
                <a:gd name="connsiteX5" fmla="*/ 1561233 w 1561296"/>
                <a:gd name="connsiteY5" fmla="*/ 33598 h 77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296" h="775709">
                  <a:moveTo>
                    <a:pt x="1561296" y="33598"/>
                  </a:moveTo>
                  <a:cubicBezTo>
                    <a:pt x="1561296" y="22336"/>
                    <a:pt x="1560856" y="11137"/>
                    <a:pt x="1560415" y="0"/>
                  </a:cubicBezTo>
                  <a:lnTo>
                    <a:pt x="0" y="724809"/>
                  </a:lnTo>
                  <a:cubicBezTo>
                    <a:pt x="19630" y="742677"/>
                    <a:pt x="40204" y="759602"/>
                    <a:pt x="61344" y="775709"/>
                  </a:cubicBezTo>
                  <a:lnTo>
                    <a:pt x="1560101" y="79528"/>
                  </a:lnTo>
                  <a:cubicBezTo>
                    <a:pt x="1560856" y="64302"/>
                    <a:pt x="1561233" y="49013"/>
                    <a:pt x="1561233" y="33598"/>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10F2A81D-8500-6859-128A-5993BAE2DED4}"/>
                </a:ext>
              </a:extLst>
            </p:cNvPr>
            <p:cNvSpPr/>
            <p:nvPr/>
          </p:nvSpPr>
          <p:spPr>
            <a:xfrm>
              <a:off x="9623773" y="2749994"/>
              <a:ext cx="1206064" cy="591927"/>
            </a:xfrm>
            <a:custGeom>
              <a:avLst/>
              <a:gdLst>
                <a:gd name="connsiteX0" fmla="*/ 1164035 w 1206064"/>
                <a:gd name="connsiteY0" fmla="*/ 98969 h 591927"/>
                <a:gd name="connsiteX1" fmla="*/ 1206064 w 1206064"/>
                <a:gd name="connsiteY1" fmla="*/ 0 h 591927"/>
                <a:gd name="connsiteX2" fmla="*/ 0 w 1206064"/>
                <a:gd name="connsiteY2" fmla="*/ 560217 h 591927"/>
                <a:gd name="connsiteX3" fmla="*/ 102744 w 1206064"/>
                <a:gd name="connsiteY3" fmla="*/ 591927 h 591927"/>
                <a:gd name="connsiteX4" fmla="*/ 1164035 w 1206064"/>
                <a:gd name="connsiteY4" fmla="*/ 98969 h 591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064" h="591927">
                  <a:moveTo>
                    <a:pt x="1164035" y="98969"/>
                  </a:moveTo>
                  <a:cubicBezTo>
                    <a:pt x="1179891" y="66944"/>
                    <a:pt x="1193921" y="33976"/>
                    <a:pt x="1206064" y="0"/>
                  </a:cubicBezTo>
                  <a:lnTo>
                    <a:pt x="0" y="560217"/>
                  </a:lnTo>
                  <a:cubicBezTo>
                    <a:pt x="33409" y="572674"/>
                    <a:pt x="67699" y="583245"/>
                    <a:pt x="102744" y="591927"/>
                  </a:cubicBezTo>
                  <a:lnTo>
                    <a:pt x="1164035" y="98969"/>
                  </a:ln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AF5F077D-7C6A-1CEF-DF68-7F7C7842C91D}"/>
                </a:ext>
              </a:extLst>
            </p:cNvPr>
            <p:cNvSpPr/>
            <p:nvPr/>
          </p:nvSpPr>
          <p:spPr>
            <a:xfrm>
              <a:off x="9018948" y="0"/>
              <a:ext cx="345731" cy="160565"/>
            </a:xfrm>
            <a:custGeom>
              <a:avLst/>
              <a:gdLst>
                <a:gd name="connsiteX0" fmla="*/ 174722 w 345731"/>
                <a:gd name="connsiteY0" fmla="*/ 0 h 160565"/>
                <a:gd name="connsiteX1" fmla="*/ 8683 w 345731"/>
                <a:gd name="connsiteY1" fmla="*/ 77137 h 160565"/>
                <a:gd name="connsiteX2" fmla="*/ 0 w 345731"/>
                <a:gd name="connsiteY2" fmla="*/ 160565 h 160565"/>
                <a:gd name="connsiteX3" fmla="*/ 345731 w 345731"/>
                <a:gd name="connsiteY3" fmla="*/ 0 h 160565"/>
                <a:gd name="connsiteX4" fmla="*/ 174785 w 345731"/>
                <a:gd name="connsiteY4" fmla="*/ 0 h 160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731" h="160565">
                  <a:moveTo>
                    <a:pt x="174722" y="0"/>
                  </a:moveTo>
                  <a:lnTo>
                    <a:pt x="8683" y="77137"/>
                  </a:lnTo>
                  <a:cubicBezTo>
                    <a:pt x="4530" y="104569"/>
                    <a:pt x="1699" y="132441"/>
                    <a:pt x="0" y="160565"/>
                  </a:cubicBezTo>
                  <a:lnTo>
                    <a:pt x="345731" y="0"/>
                  </a:lnTo>
                  <a:lnTo>
                    <a:pt x="174785" y="0"/>
                  </a:ln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DD1DF0F8-36A2-CF7E-DB13-6E4962EC7308}"/>
                </a:ext>
              </a:extLst>
            </p:cNvPr>
            <p:cNvSpPr/>
            <p:nvPr/>
          </p:nvSpPr>
          <p:spPr>
            <a:xfrm>
              <a:off x="9034362" y="0"/>
              <a:ext cx="1026057" cy="468734"/>
            </a:xfrm>
            <a:custGeom>
              <a:avLst/>
              <a:gdLst>
                <a:gd name="connsiteX0" fmla="*/ 855111 w 1026057"/>
                <a:gd name="connsiteY0" fmla="*/ 0 h 468734"/>
                <a:gd name="connsiteX1" fmla="*/ 0 w 1026057"/>
                <a:gd name="connsiteY1" fmla="*/ 397198 h 468734"/>
                <a:gd name="connsiteX2" fmla="*/ 16925 w 1026057"/>
                <a:gd name="connsiteY2" fmla="*/ 468735 h 468734"/>
                <a:gd name="connsiteX3" fmla="*/ 1026058 w 1026057"/>
                <a:gd name="connsiteY3" fmla="*/ 0 h 468734"/>
                <a:gd name="connsiteX4" fmla="*/ 855111 w 1026057"/>
                <a:gd name="connsiteY4" fmla="*/ 0 h 468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057" h="468734">
                  <a:moveTo>
                    <a:pt x="855111" y="0"/>
                  </a:moveTo>
                  <a:lnTo>
                    <a:pt x="0" y="397198"/>
                  </a:lnTo>
                  <a:cubicBezTo>
                    <a:pt x="4719" y="421421"/>
                    <a:pt x="10381" y="445267"/>
                    <a:pt x="16925" y="468735"/>
                  </a:cubicBezTo>
                  <a:lnTo>
                    <a:pt x="1026058" y="0"/>
                  </a:lnTo>
                  <a:lnTo>
                    <a:pt x="855111" y="0"/>
                  </a:ln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D0F0B0C0-ACE2-BEA8-611C-A5B15611DEBE}"/>
                </a:ext>
              </a:extLst>
            </p:cNvPr>
            <p:cNvSpPr/>
            <p:nvPr/>
          </p:nvSpPr>
          <p:spPr>
            <a:xfrm>
              <a:off x="8972200" y="5900522"/>
              <a:ext cx="1938989" cy="957477"/>
            </a:xfrm>
            <a:custGeom>
              <a:avLst/>
              <a:gdLst>
                <a:gd name="connsiteX0" fmla="*/ 72041 w 1938989"/>
                <a:gd name="connsiteY0" fmla="*/ 957477 h 957477"/>
                <a:gd name="connsiteX1" fmla="*/ 969495 w 1938989"/>
                <a:gd name="connsiteY1" fmla="*/ 72041 h 957477"/>
                <a:gd name="connsiteX2" fmla="*/ 1866949 w 1938989"/>
                <a:gd name="connsiteY2" fmla="*/ 957477 h 957477"/>
                <a:gd name="connsiteX3" fmla="*/ 1938989 w 1938989"/>
                <a:gd name="connsiteY3" fmla="*/ 957477 h 957477"/>
                <a:gd name="connsiteX4" fmla="*/ 969495 w 1938989"/>
                <a:gd name="connsiteY4" fmla="*/ 0 h 957477"/>
                <a:gd name="connsiteX5" fmla="*/ 0 w 1938989"/>
                <a:gd name="connsiteY5" fmla="*/ 957477 h 957477"/>
                <a:gd name="connsiteX6" fmla="*/ 72041 w 1938989"/>
                <a:gd name="connsiteY6" fmla="*/ 957477 h 95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8989" h="957477">
                  <a:moveTo>
                    <a:pt x="72041" y="957477"/>
                  </a:moveTo>
                  <a:cubicBezTo>
                    <a:pt x="78584" y="468105"/>
                    <a:pt x="478613" y="72041"/>
                    <a:pt x="969495" y="72041"/>
                  </a:cubicBezTo>
                  <a:cubicBezTo>
                    <a:pt x="1460376" y="72041"/>
                    <a:pt x="1860406" y="468105"/>
                    <a:pt x="1866949" y="957477"/>
                  </a:cubicBezTo>
                  <a:lnTo>
                    <a:pt x="1938989" y="957477"/>
                  </a:lnTo>
                  <a:cubicBezTo>
                    <a:pt x="1932446" y="428405"/>
                    <a:pt x="1500140" y="0"/>
                    <a:pt x="969495" y="0"/>
                  </a:cubicBezTo>
                  <a:cubicBezTo>
                    <a:pt x="438849" y="0"/>
                    <a:pt x="6543" y="428405"/>
                    <a:pt x="0" y="957477"/>
                  </a:cubicBezTo>
                  <a:lnTo>
                    <a:pt x="72041" y="957477"/>
                  </a:ln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1ACA2BF5-9243-D6DE-0909-4D8F77121AAA}"/>
                </a:ext>
              </a:extLst>
            </p:cNvPr>
            <p:cNvSpPr/>
            <p:nvPr/>
          </p:nvSpPr>
          <p:spPr>
            <a:xfrm>
              <a:off x="9135534" y="0"/>
              <a:ext cx="1620627" cy="735190"/>
            </a:xfrm>
            <a:custGeom>
              <a:avLst/>
              <a:gdLst>
                <a:gd name="connsiteX0" fmla="*/ 1449681 w 1620627"/>
                <a:gd name="connsiteY0" fmla="*/ 0 h 735190"/>
                <a:gd name="connsiteX1" fmla="*/ 0 w 1620627"/>
                <a:gd name="connsiteY1" fmla="*/ 673342 h 735190"/>
                <a:gd name="connsiteX2" fmla="*/ 37750 w 1620627"/>
                <a:gd name="connsiteY2" fmla="*/ 735190 h 735190"/>
                <a:gd name="connsiteX3" fmla="*/ 1620627 w 1620627"/>
                <a:gd name="connsiteY3" fmla="*/ 0 h 735190"/>
                <a:gd name="connsiteX4" fmla="*/ 1449681 w 1620627"/>
                <a:gd name="connsiteY4" fmla="*/ 0 h 735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627" h="735190">
                  <a:moveTo>
                    <a:pt x="1449681" y="0"/>
                  </a:moveTo>
                  <a:lnTo>
                    <a:pt x="0" y="673342"/>
                  </a:lnTo>
                  <a:cubicBezTo>
                    <a:pt x="11829" y="694483"/>
                    <a:pt x="24349" y="715120"/>
                    <a:pt x="37750" y="735190"/>
                  </a:cubicBezTo>
                  <a:lnTo>
                    <a:pt x="1620627" y="0"/>
                  </a:lnTo>
                  <a:lnTo>
                    <a:pt x="1449681" y="0"/>
                  </a:ln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BA087A82-5EA9-204D-E413-C02728DB579E}"/>
                </a:ext>
              </a:extLst>
            </p:cNvPr>
            <p:cNvSpPr/>
            <p:nvPr/>
          </p:nvSpPr>
          <p:spPr>
            <a:xfrm>
              <a:off x="11218793" y="62"/>
              <a:ext cx="975220" cy="1192851"/>
            </a:xfrm>
            <a:custGeom>
              <a:avLst/>
              <a:gdLst>
                <a:gd name="connsiteX0" fmla="*/ 975220 w 975220"/>
                <a:gd name="connsiteY0" fmla="*/ 1120748 h 1192851"/>
                <a:gd name="connsiteX1" fmla="*/ 969620 w 975220"/>
                <a:gd name="connsiteY1" fmla="*/ 1120811 h 1192851"/>
                <a:gd name="connsiteX2" fmla="*/ 72041 w 975220"/>
                <a:gd name="connsiteY2" fmla="*/ 223231 h 1192851"/>
                <a:gd name="connsiteX3" fmla="*/ 99850 w 975220"/>
                <a:gd name="connsiteY3" fmla="*/ 0 h 1192851"/>
                <a:gd name="connsiteX4" fmla="*/ 25670 w 975220"/>
                <a:gd name="connsiteY4" fmla="*/ 0 h 1192851"/>
                <a:gd name="connsiteX5" fmla="*/ 0 w 975220"/>
                <a:gd name="connsiteY5" fmla="*/ 223231 h 1192851"/>
                <a:gd name="connsiteX6" fmla="*/ 969620 w 975220"/>
                <a:gd name="connsiteY6" fmla="*/ 1192852 h 1192851"/>
                <a:gd name="connsiteX7" fmla="*/ 969620 w 975220"/>
                <a:gd name="connsiteY7" fmla="*/ 1192852 h 1192851"/>
                <a:gd name="connsiteX8" fmla="*/ 975220 w 975220"/>
                <a:gd name="connsiteY8" fmla="*/ 1192789 h 1192851"/>
                <a:gd name="connsiteX9" fmla="*/ 975220 w 975220"/>
                <a:gd name="connsiteY9" fmla="*/ 1120748 h 119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5220" h="1192851">
                  <a:moveTo>
                    <a:pt x="975220" y="1120748"/>
                  </a:moveTo>
                  <a:cubicBezTo>
                    <a:pt x="973333" y="1120748"/>
                    <a:pt x="971508" y="1120811"/>
                    <a:pt x="969620" y="1120811"/>
                  </a:cubicBezTo>
                  <a:cubicBezTo>
                    <a:pt x="474712" y="1120811"/>
                    <a:pt x="72041" y="718140"/>
                    <a:pt x="72041" y="223231"/>
                  </a:cubicBezTo>
                  <a:cubicBezTo>
                    <a:pt x="72041" y="146661"/>
                    <a:pt x="81604" y="71852"/>
                    <a:pt x="99850" y="0"/>
                  </a:cubicBezTo>
                  <a:lnTo>
                    <a:pt x="25670" y="0"/>
                  </a:lnTo>
                  <a:cubicBezTo>
                    <a:pt x="8808" y="72103"/>
                    <a:pt x="0" y="146912"/>
                    <a:pt x="0" y="223231"/>
                  </a:cubicBezTo>
                  <a:cubicBezTo>
                    <a:pt x="0" y="757903"/>
                    <a:pt x="434948" y="1192852"/>
                    <a:pt x="969620" y="1192852"/>
                  </a:cubicBezTo>
                  <a:cubicBezTo>
                    <a:pt x="969620" y="1192852"/>
                    <a:pt x="969620" y="1192852"/>
                    <a:pt x="969620" y="1192852"/>
                  </a:cubicBezTo>
                  <a:cubicBezTo>
                    <a:pt x="971508" y="1192852"/>
                    <a:pt x="973333" y="1192852"/>
                    <a:pt x="975220" y="1192789"/>
                  </a:cubicBezTo>
                  <a:lnTo>
                    <a:pt x="975220" y="1120748"/>
                  </a:ln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8DA55310-5574-B893-C2A1-79757683F2A8}"/>
                </a:ext>
              </a:extLst>
            </p:cNvPr>
            <p:cNvSpPr/>
            <p:nvPr/>
          </p:nvSpPr>
          <p:spPr>
            <a:xfrm>
              <a:off x="11245784" y="1501964"/>
              <a:ext cx="948228" cy="1867263"/>
            </a:xfrm>
            <a:custGeom>
              <a:avLst/>
              <a:gdLst>
                <a:gd name="connsiteX0" fmla="*/ 948229 w 948228"/>
                <a:gd name="connsiteY0" fmla="*/ 189 h 1867263"/>
                <a:gd name="connsiteX1" fmla="*/ 933632 w 948228"/>
                <a:gd name="connsiteY1" fmla="*/ 0 h 1867263"/>
                <a:gd name="connsiteX2" fmla="*/ 0 w 948228"/>
                <a:gd name="connsiteY2" fmla="*/ 933632 h 1867263"/>
                <a:gd name="connsiteX3" fmla="*/ 933632 w 948228"/>
                <a:gd name="connsiteY3" fmla="*/ 1867264 h 1867263"/>
                <a:gd name="connsiteX4" fmla="*/ 948229 w 948228"/>
                <a:gd name="connsiteY4" fmla="*/ 1867075 h 1867263"/>
                <a:gd name="connsiteX5" fmla="*/ 948229 w 948228"/>
                <a:gd name="connsiteY5" fmla="*/ 189 h 186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228" h="1867263">
                  <a:moveTo>
                    <a:pt x="948229" y="189"/>
                  </a:moveTo>
                  <a:cubicBezTo>
                    <a:pt x="943384" y="126"/>
                    <a:pt x="938540" y="0"/>
                    <a:pt x="933632" y="0"/>
                  </a:cubicBezTo>
                  <a:cubicBezTo>
                    <a:pt x="418023" y="0"/>
                    <a:pt x="0" y="418023"/>
                    <a:pt x="0" y="933632"/>
                  </a:cubicBezTo>
                  <a:cubicBezTo>
                    <a:pt x="0" y="1449240"/>
                    <a:pt x="418023" y="1867264"/>
                    <a:pt x="933632" y="1867264"/>
                  </a:cubicBezTo>
                  <a:cubicBezTo>
                    <a:pt x="938540" y="1867264"/>
                    <a:pt x="943384" y="1867138"/>
                    <a:pt x="948229" y="1867075"/>
                  </a:cubicBezTo>
                  <a:lnTo>
                    <a:pt x="948229" y="189"/>
                  </a:ln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260A7136-3F65-E57F-E7EC-1451289090AF}"/>
                </a:ext>
              </a:extLst>
            </p:cNvPr>
            <p:cNvSpPr/>
            <p:nvPr/>
          </p:nvSpPr>
          <p:spPr>
            <a:xfrm>
              <a:off x="6806268" y="3719238"/>
              <a:ext cx="5387933" cy="1867263"/>
            </a:xfrm>
            <a:custGeom>
              <a:avLst/>
              <a:gdLst>
                <a:gd name="connsiteX0" fmla="*/ 5387746 w 5387933"/>
                <a:gd name="connsiteY0" fmla="*/ 252 h 1867263"/>
                <a:gd name="connsiteX1" fmla="*/ 5373149 w 5387933"/>
                <a:gd name="connsiteY1" fmla="*/ 0 h 1867263"/>
                <a:gd name="connsiteX2" fmla="*/ 4576929 w 5387933"/>
                <a:gd name="connsiteY2" fmla="*/ 445959 h 1867263"/>
                <a:gd name="connsiteX3" fmla="*/ 4263663 w 5387933"/>
                <a:gd name="connsiteY3" fmla="*/ 621561 h 1867263"/>
                <a:gd name="connsiteX4" fmla="*/ 4262782 w 5387933"/>
                <a:gd name="connsiteY4" fmla="*/ 621561 h 1867263"/>
                <a:gd name="connsiteX5" fmla="*/ 3949516 w 5387933"/>
                <a:gd name="connsiteY5" fmla="*/ 445959 h 1867263"/>
                <a:gd name="connsiteX6" fmla="*/ 3153296 w 5387933"/>
                <a:gd name="connsiteY6" fmla="*/ 0 h 1867263"/>
                <a:gd name="connsiteX7" fmla="*/ 2357076 w 5387933"/>
                <a:gd name="connsiteY7" fmla="*/ 445959 h 1867263"/>
                <a:gd name="connsiteX8" fmla="*/ 2043810 w 5387933"/>
                <a:gd name="connsiteY8" fmla="*/ 621561 h 1867263"/>
                <a:gd name="connsiteX9" fmla="*/ 2042992 w 5387933"/>
                <a:gd name="connsiteY9" fmla="*/ 621561 h 1867263"/>
                <a:gd name="connsiteX10" fmla="*/ 1728216 w 5387933"/>
                <a:gd name="connsiteY10" fmla="*/ 443631 h 1867263"/>
                <a:gd name="connsiteX11" fmla="*/ 928913 w 5387933"/>
                <a:gd name="connsiteY11" fmla="*/ 63 h 1867263"/>
                <a:gd name="connsiteX12" fmla="*/ 0 w 5387933"/>
                <a:gd name="connsiteY12" fmla="*/ 933632 h 1867263"/>
                <a:gd name="connsiteX13" fmla="*/ 933632 w 5387933"/>
                <a:gd name="connsiteY13" fmla="*/ 1867263 h 1867263"/>
                <a:gd name="connsiteX14" fmla="*/ 1729852 w 5387933"/>
                <a:gd name="connsiteY14" fmla="*/ 1421368 h 1867263"/>
                <a:gd name="connsiteX15" fmla="*/ 2043118 w 5387933"/>
                <a:gd name="connsiteY15" fmla="*/ 1245765 h 1867263"/>
                <a:gd name="connsiteX16" fmla="*/ 2043999 w 5387933"/>
                <a:gd name="connsiteY16" fmla="*/ 1245765 h 1867263"/>
                <a:gd name="connsiteX17" fmla="*/ 2357265 w 5387933"/>
                <a:gd name="connsiteY17" fmla="*/ 1421368 h 1867263"/>
                <a:gd name="connsiteX18" fmla="*/ 3153485 w 5387933"/>
                <a:gd name="connsiteY18" fmla="*/ 1867263 h 1867263"/>
                <a:gd name="connsiteX19" fmla="*/ 3949705 w 5387933"/>
                <a:gd name="connsiteY19" fmla="*/ 1421368 h 1867263"/>
                <a:gd name="connsiteX20" fmla="*/ 4262971 w 5387933"/>
                <a:gd name="connsiteY20" fmla="*/ 1245765 h 1867263"/>
                <a:gd name="connsiteX21" fmla="*/ 4263852 w 5387933"/>
                <a:gd name="connsiteY21" fmla="*/ 1245765 h 1867263"/>
                <a:gd name="connsiteX22" fmla="*/ 4577117 w 5387933"/>
                <a:gd name="connsiteY22" fmla="*/ 1421368 h 1867263"/>
                <a:gd name="connsiteX23" fmla="*/ 5373338 w 5387933"/>
                <a:gd name="connsiteY23" fmla="*/ 1867263 h 1867263"/>
                <a:gd name="connsiteX24" fmla="*/ 5387934 w 5387933"/>
                <a:gd name="connsiteY24" fmla="*/ 1867012 h 1867263"/>
                <a:gd name="connsiteX25" fmla="*/ 5387934 w 5387933"/>
                <a:gd name="connsiteY25" fmla="*/ 252 h 186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87933" h="1867263">
                  <a:moveTo>
                    <a:pt x="5387746" y="252"/>
                  </a:moveTo>
                  <a:cubicBezTo>
                    <a:pt x="5382901" y="189"/>
                    <a:pt x="5378057" y="0"/>
                    <a:pt x="5373149" y="0"/>
                  </a:cubicBezTo>
                  <a:cubicBezTo>
                    <a:pt x="5036289" y="0"/>
                    <a:pt x="4741143" y="178434"/>
                    <a:pt x="4576929" y="445959"/>
                  </a:cubicBezTo>
                  <a:cubicBezTo>
                    <a:pt x="4510048" y="554932"/>
                    <a:pt x="4391511" y="621561"/>
                    <a:pt x="4263663" y="621561"/>
                  </a:cubicBezTo>
                  <a:lnTo>
                    <a:pt x="4262782" y="621561"/>
                  </a:lnTo>
                  <a:cubicBezTo>
                    <a:pt x="4134934" y="621561"/>
                    <a:pt x="4016397" y="554932"/>
                    <a:pt x="3949516" y="445959"/>
                  </a:cubicBezTo>
                  <a:cubicBezTo>
                    <a:pt x="3785364" y="178434"/>
                    <a:pt x="3490219" y="0"/>
                    <a:pt x="3153296" y="0"/>
                  </a:cubicBezTo>
                  <a:cubicBezTo>
                    <a:pt x="2816373" y="0"/>
                    <a:pt x="2521290" y="178434"/>
                    <a:pt x="2357076" y="445959"/>
                  </a:cubicBezTo>
                  <a:cubicBezTo>
                    <a:pt x="2290195" y="554932"/>
                    <a:pt x="2171658" y="621561"/>
                    <a:pt x="2043810" y="621561"/>
                  </a:cubicBezTo>
                  <a:lnTo>
                    <a:pt x="2042992" y="621561"/>
                  </a:lnTo>
                  <a:cubicBezTo>
                    <a:pt x="1914137" y="621561"/>
                    <a:pt x="1795978" y="553233"/>
                    <a:pt x="1728216" y="443631"/>
                  </a:cubicBezTo>
                  <a:cubicBezTo>
                    <a:pt x="1562995" y="176232"/>
                    <a:pt x="1266654" y="-1573"/>
                    <a:pt x="928913" y="63"/>
                  </a:cubicBezTo>
                  <a:cubicBezTo>
                    <a:pt x="414563" y="2517"/>
                    <a:pt x="0" y="419156"/>
                    <a:pt x="0" y="933632"/>
                  </a:cubicBezTo>
                  <a:cubicBezTo>
                    <a:pt x="0" y="1449240"/>
                    <a:pt x="418023" y="1867263"/>
                    <a:pt x="933632" y="1867263"/>
                  </a:cubicBezTo>
                  <a:cubicBezTo>
                    <a:pt x="1270492" y="1867263"/>
                    <a:pt x="1565637" y="1688830"/>
                    <a:pt x="1729852" y="1421368"/>
                  </a:cubicBezTo>
                  <a:cubicBezTo>
                    <a:pt x="1796733" y="1312395"/>
                    <a:pt x="1915270" y="1245765"/>
                    <a:pt x="2043118" y="1245765"/>
                  </a:cubicBezTo>
                  <a:lnTo>
                    <a:pt x="2043999" y="1245765"/>
                  </a:lnTo>
                  <a:cubicBezTo>
                    <a:pt x="2171847" y="1245765"/>
                    <a:pt x="2290383" y="1312395"/>
                    <a:pt x="2357265" y="1421368"/>
                  </a:cubicBezTo>
                  <a:cubicBezTo>
                    <a:pt x="2521416" y="1688893"/>
                    <a:pt x="2816562" y="1867263"/>
                    <a:pt x="3153485" y="1867263"/>
                  </a:cubicBezTo>
                  <a:cubicBezTo>
                    <a:pt x="3490408" y="1867263"/>
                    <a:pt x="3785490" y="1688830"/>
                    <a:pt x="3949705" y="1421368"/>
                  </a:cubicBezTo>
                  <a:cubicBezTo>
                    <a:pt x="4016586" y="1312395"/>
                    <a:pt x="4135122" y="1245765"/>
                    <a:pt x="4262971" y="1245765"/>
                  </a:cubicBezTo>
                  <a:lnTo>
                    <a:pt x="4263852" y="1245765"/>
                  </a:lnTo>
                  <a:cubicBezTo>
                    <a:pt x="4391700" y="1245765"/>
                    <a:pt x="4510236" y="1312395"/>
                    <a:pt x="4577117" y="1421368"/>
                  </a:cubicBezTo>
                  <a:cubicBezTo>
                    <a:pt x="4741269" y="1688893"/>
                    <a:pt x="5036415" y="1867263"/>
                    <a:pt x="5373338" y="1867263"/>
                  </a:cubicBezTo>
                  <a:cubicBezTo>
                    <a:pt x="5378245" y="1867263"/>
                    <a:pt x="5383090" y="1867075"/>
                    <a:pt x="5387934" y="1867012"/>
                  </a:cubicBezTo>
                  <a:lnTo>
                    <a:pt x="5387934" y="252"/>
                  </a:ln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AA74D4E6-CA82-37A5-5712-39A3604FF520}"/>
                </a:ext>
              </a:extLst>
            </p:cNvPr>
            <p:cNvSpPr/>
            <p:nvPr/>
          </p:nvSpPr>
          <p:spPr>
            <a:xfrm>
              <a:off x="11191927" y="5900522"/>
              <a:ext cx="1002086" cy="957477"/>
            </a:xfrm>
            <a:custGeom>
              <a:avLst/>
              <a:gdLst>
                <a:gd name="connsiteX0" fmla="*/ 1002086 w 1002086"/>
                <a:gd name="connsiteY0" fmla="*/ 629 h 957477"/>
                <a:gd name="connsiteX1" fmla="*/ 969495 w 1002086"/>
                <a:gd name="connsiteY1" fmla="*/ 0 h 957477"/>
                <a:gd name="connsiteX2" fmla="*/ 0 w 1002086"/>
                <a:gd name="connsiteY2" fmla="*/ 957477 h 957477"/>
                <a:gd name="connsiteX3" fmla="*/ 72041 w 1002086"/>
                <a:gd name="connsiteY3" fmla="*/ 957477 h 957477"/>
                <a:gd name="connsiteX4" fmla="*/ 969495 w 1002086"/>
                <a:gd name="connsiteY4" fmla="*/ 72041 h 957477"/>
                <a:gd name="connsiteX5" fmla="*/ 1002086 w 1002086"/>
                <a:gd name="connsiteY5" fmla="*/ 72670 h 957477"/>
                <a:gd name="connsiteX6" fmla="*/ 1002086 w 1002086"/>
                <a:gd name="connsiteY6" fmla="*/ 629 h 95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086" h="957477">
                  <a:moveTo>
                    <a:pt x="1002086" y="629"/>
                  </a:moveTo>
                  <a:cubicBezTo>
                    <a:pt x="991264" y="252"/>
                    <a:pt x="980379" y="0"/>
                    <a:pt x="969495" y="0"/>
                  </a:cubicBezTo>
                  <a:cubicBezTo>
                    <a:pt x="438912" y="0"/>
                    <a:pt x="6544" y="428405"/>
                    <a:pt x="0" y="957477"/>
                  </a:cubicBezTo>
                  <a:lnTo>
                    <a:pt x="72041" y="957477"/>
                  </a:lnTo>
                  <a:cubicBezTo>
                    <a:pt x="78584" y="468105"/>
                    <a:pt x="478613" y="72041"/>
                    <a:pt x="969495" y="72041"/>
                  </a:cubicBezTo>
                  <a:cubicBezTo>
                    <a:pt x="980379" y="72041"/>
                    <a:pt x="991264" y="72292"/>
                    <a:pt x="1002086" y="72670"/>
                  </a:cubicBezTo>
                  <a:lnTo>
                    <a:pt x="1002086" y="629"/>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28565735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5_Mönster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895799" y="1031048"/>
            <a:ext cx="7239208"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895799" y="2523796"/>
            <a:ext cx="7239208"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ruta 4">
            <a:extLst>
              <a:ext uri="{FF2B5EF4-FFF2-40B4-BE49-F238E27FC236}">
                <a16:creationId xmlns:a16="http://schemas.microsoft.com/office/drawing/2014/main" id="{E321CA30-00B9-E5D3-0D2B-A095164FAA6D}"/>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sp>
        <p:nvSpPr>
          <p:cNvPr id="8" name="Platshållare för bildnummer 7">
            <a:extLst>
              <a:ext uri="{FF2B5EF4-FFF2-40B4-BE49-F238E27FC236}">
                <a16:creationId xmlns:a16="http://schemas.microsoft.com/office/drawing/2014/main" id="{0205FDC4-F69D-9634-747E-CC2421546614}"/>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grpSp>
        <p:nvGrpSpPr>
          <p:cNvPr id="7" name="Grupp 6">
            <a:extLst>
              <a:ext uri="{FF2B5EF4-FFF2-40B4-BE49-F238E27FC236}">
                <a16:creationId xmlns:a16="http://schemas.microsoft.com/office/drawing/2014/main" id="{73FE03EC-9804-2043-6C66-2E83504E14C8}"/>
              </a:ext>
            </a:extLst>
          </p:cNvPr>
          <p:cNvGrpSpPr/>
          <p:nvPr userDrawn="1"/>
        </p:nvGrpSpPr>
        <p:grpSpPr>
          <a:xfrm>
            <a:off x="8780960" y="0"/>
            <a:ext cx="3411040" cy="2155912"/>
            <a:chOff x="8780960" y="0"/>
            <a:chExt cx="3411040" cy="2155912"/>
          </a:xfrm>
          <a:solidFill>
            <a:schemeClr val="bg2"/>
          </a:solidFill>
        </p:grpSpPr>
        <p:sp>
          <p:nvSpPr>
            <p:cNvPr id="9" name="Frihandsfigur: Form 8">
              <a:extLst>
                <a:ext uri="{FF2B5EF4-FFF2-40B4-BE49-F238E27FC236}">
                  <a16:creationId xmlns:a16="http://schemas.microsoft.com/office/drawing/2014/main" id="{A8A8A4DC-2EA7-72ED-CE5D-0254605E9ADC}"/>
                </a:ext>
              </a:extLst>
            </p:cNvPr>
            <p:cNvSpPr/>
            <p:nvPr/>
          </p:nvSpPr>
          <p:spPr>
            <a:xfrm>
              <a:off x="8780960" y="394347"/>
              <a:ext cx="2381680" cy="521590"/>
            </a:xfrm>
            <a:custGeom>
              <a:avLst/>
              <a:gdLst>
                <a:gd name="connsiteX0" fmla="*/ 2122185 w 2381680"/>
                <a:gd name="connsiteY0" fmla="*/ 63 h 521590"/>
                <a:gd name="connsiteX1" fmla="*/ 1898954 w 2381680"/>
                <a:gd name="connsiteY1" fmla="*/ 123947 h 521590"/>
                <a:gd name="connsiteX2" fmla="*/ 1811018 w 2381680"/>
                <a:gd name="connsiteY2" fmla="*/ 173652 h 521590"/>
                <a:gd name="connsiteX3" fmla="*/ 1810764 w 2381680"/>
                <a:gd name="connsiteY3" fmla="*/ 173652 h 521590"/>
                <a:gd name="connsiteX4" fmla="*/ 1723272 w 2381680"/>
                <a:gd name="connsiteY4" fmla="*/ 124581 h 521590"/>
                <a:gd name="connsiteX5" fmla="*/ 1500866 w 2381680"/>
                <a:gd name="connsiteY5" fmla="*/ 0 h 521590"/>
                <a:gd name="connsiteX6" fmla="*/ 1278459 w 2381680"/>
                <a:gd name="connsiteY6" fmla="*/ 124581 h 521590"/>
                <a:gd name="connsiteX7" fmla="*/ 1190967 w 2381680"/>
                <a:gd name="connsiteY7" fmla="*/ 173652 h 521590"/>
                <a:gd name="connsiteX8" fmla="*/ 1190713 w 2381680"/>
                <a:gd name="connsiteY8" fmla="*/ 173652 h 521590"/>
                <a:gd name="connsiteX9" fmla="*/ 1103222 w 2381680"/>
                <a:gd name="connsiteY9" fmla="*/ 124581 h 521590"/>
                <a:gd name="connsiteX10" fmla="*/ 880815 w 2381680"/>
                <a:gd name="connsiteY10" fmla="*/ 0 h 521590"/>
                <a:gd name="connsiteX11" fmla="*/ 658408 w 2381680"/>
                <a:gd name="connsiteY11" fmla="*/ 124581 h 521590"/>
                <a:gd name="connsiteX12" fmla="*/ 570916 w 2381680"/>
                <a:gd name="connsiteY12" fmla="*/ 173652 h 521590"/>
                <a:gd name="connsiteX13" fmla="*/ 570662 w 2381680"/>
                <a:gd name="connsiteY13" fmla="*/ 173652 h 521590"/>
                <a:gd name="connsiteX14" fmla="*/ 482727 w 2381680"/>
                <a:gd name="connsiteY14" fmla="*/ 123947 h 521590"/>
                <a:gd name="connsiteX15" fmla="*/ 259496 w 2381680"/>
                <a:gd name="connsiteY15" fmla="*/ 63 h 521590"/>
                <a:gd name="connsiteX16" fmla="*/ 0 w 2381680"/>
                <a:gd name="connsiteY16" fmla="*/ 260827 h 521590"/>
                <a:gd name="connsiteX17" fmla="*/ 260764 w 2381680"/>
                <a:gd name="connsiteY17" fmla="*/ 521591 h 521590"/>
                <a:gd name="connsiteX18" fmla="*/ 483171 w 2381680"/>
                <a:gd name="connsiteY18" fmla="*/ 397010 h 521590"/>
                <a:gd name="connsiteX19" fmla="*/ 570662 w 2381680"/>
                <a:gd name="connsiteY19" fmla="*/ 347939 h 521590"/>
                <a:gd name="connsiteX20" fmla="*/ 570916 w 2381680"/>
                <a:gd name="connsiteY20" fmla="*/ 347939 h 521590"/>
                <a:gd name="connsiteX21" fmla="*/ 658408 w 2381680"/>
                <a:gd name="connsiteY21" fmla="*/ 397010 h 521590"/>
                <a:gd name="connsiteX22" fmla="*/ 880815 w 2381680"/>
                <a:gd name="connsiteY22" fmla="*/ 521591 h 521590"/>
                <a:gd name="connsiteX23" fmla="*/ 1103222 w 2381680"/>
                <a:gd name="connsiteY23" fmla="*/ 397010 h 521590"/>
                <a:gd name="connsiteX24" fmla="*/ 1190713 w 2381680"/>
                <a:gd name="connsiteY24" fmla="*/ 347939 h 521590"/>
                <a:gd name="connsiteX25" fmla="*/ 1190967 w 2381680"/>
                <a:gd name="connsiteY25" fmla="*/ 347939 h 521590"/>
                <a:gd name="connsiteX26" fmla="*/ 1278459 w 2381680"/>
                <a:gd name="connsiteY26" fmla="*/ 397010 h 521590"/>
                <a:gd name="connsiteX27" fmla="*/ 1500866 w 2381680"/>
                <a:gd name="connsiteY27" fmla="*/ 521591 h 521590"/>
                <a:gd name="connsiteX28" fmla="*/ 1723272 w 2381680"/>
                <a:gd name="connsiteY28" fmla="*/ 397010 h 521590"/>
                <a:gd name="connsiteX29" fmla="*/ 1810764 w 2381680"/>
                <a:gd name="connsiteY29" fmla="*/ 347939 h 521590"/>
                <a:gd name="connsiteX30" fmla="*/ 1811018 w 2381680"/>
                <a:gd name="connsiteY30" fmla="*/ 347939 h 521590"/>
                <a:gd name="connsiteX31" fmla="*/ 1898510 w 2381680"/>
                <a:gd name="connsiteY31" fmla="*/ 397010 h 521590"/>
                <a:gd name="connsiteX32" fmla="*/ 2120917 w 2381680"/>
                <a:gd name="connsiteY32" fmla="*/ 521591 h 521590"/>
                <a:gd name="connsiteX33" fmla="*/ 2381680 w 2381680"/>
                <a:gd name="connsiteY33" fmla="*/ 260827 h 521590"/>
                <a:gd name="connsiteX34" fmla="*/ 2122185 w 2381680"/>
                <a:gd name="connsiteY34" fmla="*/ 63 h 52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81680" h="521590">
                  <a:moveTo>
                    <a:pt x="2122185" y="63"/>
                  </a:moveTo>
                  <a:cubicBezTo>
                    <a:pt x="2027845" y="-380"/>
                    <a:pt x="1945045" y="49262"/>
                    <a:pt x="1898954" y="123947"/>
                  </a:cubicBezTo>
                  <a:cubicBezTo>
                    <a:pt x="1880060" y="154569"/>
                    <a:pt x="1847029" y="173652"/>
                    <a:pt x="1811018" y="173652"/>
                  </a:cubicBezTo>
                  <a:lnTo>
                    <a:pt x="1810764" y="173652"/>
                  </a:lnTo>
                  <a:cubicBezTo>
                    <a:pt x="1775070" y="173652"/>
                    <a:pt x="1741975" y="155076"/>
                    <a:pt x="1723272" y="124581"/>
                  </a:cubicBezTo>
                  <a:cubicBezTo>
                    <a:pt x="1677434" y="49896"/>
                    <a:pt x="1594951" y="0"/>
                    <a:pt x="1500866" y="0"/>
                  </a:cubicBezTo>
                  <a:cubicBezTo>
                    <a:pt x="1406780" y="0"/>
                    <a:pt x="1324360" y="49832"/>
                    <a:pt x="1278459" y="124581"/>
                  </a:cubicBezTo>
                  <a:cubicBezTo>
                    <a:pt x="1259756" y="155013"/>
                    <a:pt x="1226661" y="173652"/>
                    <a:pt x="1190967" y="173652"/>
                  </a:cubicBezTo>
                  <a:lnTo>
                    <a:pt x="1190713" y="173652"/>
                  </a:lnTo>
                  <a:cubicBezTo>
                    <a:pt x="1155019" y="173652"/>
                    <a:pt x="1121925" y="155076"/>
                    <a:pt x="1103222" y="124581"/>
                  </a:cubicBezTo>
                  <a:cubicBezTo>
                    <a:pt x="1057383" y="49896"/>
                    <a:pt x="974900" y="0"/>
                    <a:pt x="880815" y="0"/>
                  </a:cubicBezTo>
                  <a:cubicBezTo>
                    <a:pt x="786729" y="0"/>
                    <a:pt x="704309" y="49832"/>
                    <a:pt x="658408" y="124581"/>
                  </a:cubicBezTo>
                  <a:cubicBezTo>
                    <a:pt x="639705" y="155013"/>
                    <a:pt x="606610" y="173652"/>
                    <a:pt x="570916" y="173652"/>
                  </a:cubicBezTo>
                  <a:lnTo>
                    <a:pt x="570662" y="173652"/>
                  </a:lnTo>
                  <a:cubicBezTo>
                    <a:pt x="534651" y="173652"/>
                    <a:pt x="501683" y="154569"/>
                    <a:pt x="482727" y="123947"/>
                  </a:cubicBezTo>
                  <a:cubicBezTo>
                    <a:pt x="436572" y="49262"/>
                    <a:pt x="353835" y="-380"/>
                    <a:pt x="259496" y="63"/>
                  </a:cubicBezTo>
                  <a:cubicBezTo>
                    <a:pt x="115768" y="761"/>
                    <a:pt x="0" y="117100"/>
                    <a:pt x="0" y="260827"/>
                  </a:cubicBezTo>
                  <a:cubicBezTo>
                    <a:pt x="0" y="404555"/>
                    <a:pt x="116719" y="521591"/>
                    <a:pt x="260764" y="521591"/>
                  </a:cubicBezTo>
                  <a:cubicBezTo>
                    <a:pt x="354849" y="521591"/>
                    <a:pt x="437269" y="471759"/>
                    <a:pt x="483171" y="397010"/>
                  </a:cubicBezTo>
                  <a:cubicBezTo>
                    <a:pt x="501874" y="366578"/>
                    <a:pt x="534968" y="347939"/>
                    <a:pt x="570662" y="347939"/>
                  </a:cubicBezTo>
                  <a:lnTo>
                    <a:pt x="570916" y="347939"/>
                  </a:lnTo>
                  <a:cubicBezTo>
                    <a:pt x="606610" y="347939"/>
                    <a:pt x="639705" y="366515"/>
                    <a:pt x="658408" y="397010"/>
                  </a:cubicBezTo>
                  <a:cubicBezTo>
                    <a:pt x="704246" y="471695"/>
                    <a:pt x="786729" y="521591"/>
                    <a:pt x="880815" y="521591"/>
                  </a:cubicBezTo>
                  <a:cubicBezTo>
                    <a:pt x="974900" y="521591"/>
                    <a:pt x="1057320" y="471759"/>
                    <a:pt x="1103222" y="397010"/>
                  </a:cubicBezTo>
                  <a:cubicBezTo>
                    <a:pt x="1121925" y="366578"/>
                    <a:pt x="1155019" y="347939"/>
                    <a:pt x="1190713" y="347939"/>
                  </a:cubicBezTo>
                  <a:lnTo>
                    <a:pt x="1190967" y="347939"/>
                  </a:lnTo>
                  <a:cubicBezTo>
                    <a:pt x="1226661" y="347939"/>
                    <a:pt x="1259756" y="366515"/>
                    <a:pt x="1278459" y="397010"/>
                  </a:cubicBezTo>
                  <a:cubicBezTo>
                    <a:pt x="1324297" y="471695"/>
                    <a:pt x="1406780" y="521591"/>
                    <a:pt x="1500866" y="521591"/>
                  </a:cubicBezTo>
                  <a:cubicBezTo>
                    <a:pt x="1594951" y="521591"/>
                    <a:pt x="1677371" y="471759"/>
                    <a:pt x="1723272" y="397010"/>
                  </a:cubicBezTo>
                  <a:cubicBezTo>
                    <a:pt x="1741975" y="366578"/>
                    <a:pt x="1775070" y="347939"/>
                    <a:pt x="1810764" y="347939"/>
                  </a:cubicBezTo>
                  <a:lnTo>
                    <a:pt x="1811018" y="347939"/>
                  </a:lnTo>
                  <a:cubicBezTo>
                    <a:pt x="1846712" y="347939"/>
                    <a:pt x="1879807" y="366515"/>
                    <a:pt x="1898510" y="397010"/>
                  </a:cubicBezTo>
                  <a:cubicBezTo>
                    <a:pt x="1944348" y="471695"/>
                    <a:pt x="2026831" y="521591"/>
                    <a:pt x="2120917" y="521591"/>
                  </a:cubicBezTo>
                  <a:cubicBezTo>
                    <a:pt x="2264961" y="521591"/>
                    <a:pt x="2381680" y="404872"/>
                    <a:pt x="2381680" y="260827"/>
                  </a:cubicBezTo>
                  <a:cubicBezTo>
                    <a:pt x="2381680" y="117100"/>
                    <a:pt x="2265912" y="761"/>
                    <a:pt x="2122185" y="63"/>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AB6770B2-576A-2EE0-04B1-BF257B517688}"/>
                </a:ext>
              </a:extLst>
            </p:cNvPr>
            <p:cNvSpPr/>
            <p:nvPr/>
          </p:nvSpPr>
          <p:spPr>
            <a:xfrm>
              <a:off x="11245947" y="384393"/>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7 h 541688"/>
                <a:gd name="connsiteX6" fmla="*/ 20161 w 541688"/>
                <a:gd name="connsiteY6" fmla="*/ 270844 h 541688"/>
                <a:gd name="connsiteX7" fmla="*/ 270844 w 541688"/>
                <a:gd name="connsiteY7" fmla="*/ 20161 h 541688"/>
                <a:gd name="connsiteX8" fmla="*/ 521528 w 541688"/>
                <a:gd name="connsiteY8" fmla="*/ 270844 h 541688"/>
                <a:gd name="connsiteX9" fmla="*/ 270844 w 541688"/>
                <a:gd name="connsiteY9" fmla="*/ 521527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4" y="541689"/>
                    <a:pt x="541689" y="420214"/>
                    <a:pt x="541689" y="270844"/>
                  </a:cubicBezTo>
                  <a:cubicBezTo>
                    <a:pt x="541689" y="121474"/>
                    <a:pt x="420214" y="0"/>
                    <a:pt x="270844" y="0"/>
                  </a:cubicBezTo>
                  <a:close/>
                  <a:moveTo>
                    <a:pt x="270844" y="521527"/>
                  </a:moveTo>
                  <a:cubicBezTo>
                    <a:pt x="132633" y="521527"/>
                    <a:pt x="20161" y="409056"/>
                    <a:pt x="20161" y="270844"/>
                  </a:cubicBezTo>
                  <a:cubicBezTo>
                    <a:pt x="20161" y="132633"/>
                    <a:pt x="132633" y="20161"/>
                    <a:pt x="270844" y="20161"/>
                  </a:cubicBezTo>
                  <a:cubicBezTo>
                    <a:pt x="409056" y="20161"/>
                    <a:pt x="521528" y="132633"/>
                    <a:pt x="521528" y="270844"/>
                  </a:cubicBezTo>
                  <a:cubicBezTo>
                    <a:pt x="521528" y="409056"/>
                    <a:pt x="409056" y="521527"/>
                    <a:pt x="270844" y="521527"/>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4268EF38-339C-E86C-D966-C823019A05F5}"/>
                </a:ext>
              </a:extLst>
            </p:cNvPr>
            <p:cNvSpPr/>
            <p:nvPr/>
          </p:nvSpPr>
          <p:spPr>
            <a:xfrm>
              <a:off x="9385985" y="1003683"/>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8 h 541688"/>
                <a:gd name="connsiteX6" fmla="*/ 20161 w 541688"/>
                <a:gd name="connsiteY6" fmla="*/ 270844 h 541688"/>
                <a:gd name="connsiteX7" fmla="*/ 270844 w 541688"/>
                <a:gd name="connsiteY7" fmla="*/ 20161 h 541688"/>
                <a:gd name="connsiteX8" fmla="*/ 521527 w 541688"/>
                <a:gd name="connsiteY8" fmla="*/ 270844 h 541688"/>
                <a:gd name="connsiteX9" fmla="*/ 270844 w 541688"/>
                <a:gd name="connsiteY9" fmla="*/ 521528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4" y="541689"/>
                    <a:pt x="541689" y="420214"/>
                    <a:pt x="541689" y="270844"/>
                  </a:cubicBezTo>
                  <a:cubicBezTo>
                    <a:pt x="541689" y="121474"/>
                    <a:pt x="420214" y="0"/>
                    <a:pt x="270844" y="0"/>
                  </a:cubicBezTo>
                  <a:close/>
                  <a:moveTo>
                    <a:pt x="270844" y="521528"/>
                  </a:moveTo>
                  <a:cubicBezTo>
                    <a:pt x="132633" y="521528"/>
                    <a:pt x="20161" y="409056"/>
                    <a:pt x="20161" y="270844"/>
                  </a:cubicBezTo>
                  <a:cubicBezTo>
                    <a:pt x="20161" y="132633"/>
                    <a:pt x="132633" y="20161"/>
                    <a:pt x="270844" y="20161"/>
                  </a:cubicBezTo>
                  <a:cubicBezTo>
                    <a:pt x="409056" y="20161"/>
                    <a:pt x="521527" y="132633"/>
                    <a:pt x="521527" y="270844"/>
                  </a:cubicBezTo>
                  <a:cubicBezTo>
                    <a:pt x="521527" y="409056"/>
                    <a:pt x="409056" y="521528"/>
                    <a:pt x="270844" y="521528"/>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889BB1AD-4630-72F4-66E4-DF471934A22A}"/>
                </a:ext>
              </a:extLst>
            </p:cNvPr>
            <p:cNvSpPr/>
            <p:nvPr/>
          </p:nvSpPr>
          <p:spPr>
            <a:xfrm>
              <a:off x="10005972" y="1003683"/>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8 h 541688"/>
                <a:gd name="connsiteX6" fmla="*/ 20161 w 541688"/>
                <a:gd name="connsiteY6" fmla="*/ 270844 h 541688"/>
                <a:gd name="connsiteX7" fmla="*/ 270844 w 541688"/>
                <a:gd name="connsiteY7" fmla="*/ 20161 h 541688"/>
                <a:gd name="connsiteX8" fmla="*/ 521527 w 541688"/>
                <a:gd name="connsiteY8" fmla="*/ 270844 h 541688"/>
                <a:gd name="connsiteX9" fmla="*/ 270844 w 541688"/>
                <a:gd name="connsiteY9" fmla="*/ 521528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5" y="541689"/>
                    <a:pt x="541689" y="420214"/>
                    <a:pt x="541689" y="270844"/>
                  </a:cubicBezTo>
                  <a:cubicBezTo>
                    <a:pt x="541689" y="121474"/>
                    <a:pt x="420215" y="0"/>
                    <a:pt x="270844" y="0"/>
                  </a:cubicBezTo>
                  <a:close/>
                  <a:moveTo>
                    <a:pt x="270844" y="521528"/>
                  </a:moveTo>
                  <a:cubicBezTo>
                    <a:pt x="132633" y="521528"/>
                    <a:pt x="20161" y="409056"/>
                    <a:pt x="20161" y="270844"/>
                  </a:cubicBezTo>
                  <a:cubicBezTo>
                    <a:pt x="20161" y="132633"/>
                    <a:pt x="132633" y="20161"/>
                    <a:pt x="270844" y="20161"/>
                  </a:cubicBezTo>
                  <a:cubicBezTo>
                    <a:pt x="409056" y="20161"/>
                    <a:pt x="521527" y="132633"/>
                    <a:pt x="521527" y="270844"/>
                  </a:cubicBezTo>
                  <a:cubicBezTo>
                    <a:pt x="521527" y="409056"/>
                    <a:pt x="409056" y="521528"/>
                    <a:pt x="270844" y="521528"/>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B73049A2-A79A-5C3F-77BD-F7A935E4D65F}"/>
                </a:ext>
              </a:extLst>
            </p:cNvPr>
            <p:cNvSpPr/>
            <p:nvPr/>
          </p:nvSpPr>
          <p:spPr>
            <a:xfrm>
              <a:off x="10636040" y="1013700"/>
              <a:ext cx="521527" cy="521527"/>
            </a:xfrm>
            <a:custGeom>
              <a:avLst/>
              <a:gdLst>
                <a:gd name="connsiteX0" fmla="*/ 521527 w 521527"/>
                <a:gd name="connsiteY0" fmla="*/ 260764 h 521527"/>
                <a:gd name="connsiteX1" fmla="*/ 260764 w 521527"/>
                <a:gd name="connsiteY1" fmla="*/ 521528 h 521527"/>
                <a:gd name="connsiteX2" fmla="*/ 0 w 521527"/>
                <a:gd name="connsiteY2" fmla="*/ 260764 h 521527"/>
                <a:gd name="connsiteX3" fmla="*/ 260764 w 521527"/>
                <a:gd name="connsiteY3" fmla="*/ 0 h 521527"/>
                <a:gd name="connsiteX4" fmla="*/ 521527 w 521527"/>
                <a:gd name="connsiteY4" fmla="*/ 260764 h 52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27" h="521527">
                  <a:moveTo>
                    <a:pt x="521527" y="260764"/>
                  </a:moveTo>
                  <a:cubicBezTo>
                    <a:pt x="521527" y="404780"/>
                    <a:pt x="404780" y="521528"/>
                    <a:pt x="260764" y="521528"/>
                  </a:cubicBezTo>
                  <a:cubicBezTo>
                    <a:pt x="116748" y="521528"/>
                    <a:pt x="0" y="404780"/>
                    <a:pt x="0" y="260764"/>
                  </a:cubicBezTo>
                  <a:cubicBezTo>
                    <a:pt x="0" y="116748"/>
                    <a:pt x="116748" y="0"/>
                    <a:pt x="260764" y="0"/>
                  </a:cubicBezTo>
                  <a:cubicBezTo>
                    <a:pt x="404780" y="0"/>
                    <a:pt x="521527" y="116748"/>
                    <a:pt x="521527" y="260764"/>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A189C8D6-189C-147F-CC8E-025650F4F8AC}"/>
                </a:ext>
              </a:extLst>
            </p:cNvPr>
            <p:cNvSpPr/>
            <p:nvPr/>
          </p:nvSpPr>
          <p:spPr>
            <a:xfrm>
              <a:off x="11256028" y="1013700"/>
              <a:ext cx="521527" cy="521527"/>
            </a:xfrm>
            <a:custGeom>
              <a:avLst/>
              <a:gdLst>
                <a:gd name="connsiteX0" fmla="*/ 521528 w 521527"/>
                <a:gd name="connsiteY0" fmla="*/ 260764 h 521527"/>
                <a:gd name="connsiteX1" fmla="*/ 260764 w 521527"/>
                <a:gd name="connsiteY1" fmla="*/ 521528 h 521527"/>
                <a:gd name="connsiteX2" fmla="*/ 0 w 521527"/>
                <a:gd name="connsiteY2" fmla="*/ 260764 h 521527"/>
                <a:gd name="connsiteX3" fmla="*/ 260764 w 521527"/>
                <a:gd name="connsiteY3" fmla="*/ 0 h 521527"/>
                <a:gd name="connsiteX4" fmla="*/ 521528 w 521527"/>
                <a:gd name="connsiteY4" fmla="*/ 260764 h 52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27" h="521527">
                  <a:moveTo>
                    <a:pt x="521528" y="260764"/>
                  </a:moveTo>
                  <a:cubicBezTo>
                    <a:pt x="521528" y="404780"/>
                    <a:pt x="404780" y="521528"/>
                    <a:pt x="260764" y="521528"/>
                  </a:cubicBezTo>
                  <a:cubicBezTo>
                    <a:pt x="116748" y="521528"/>
                    <a:pt x="0" y="404780"/>
                    <a:pt x="0" y="260764"/>
                  </a:cubicBezTo>
                  <a:cubicBezTo>
                    <a:pt x="0" y="116748"/>
                    <a:pt x="116748" y="0"/>
                    <a:pt x="260764" y="0"/>
                  </a:cubicBezTo>
                  <a:cubicBezTo>
                    <a:pt x="404780" y="0"/>
                    <a:pt x="521528" y="116748"/>
                    <a:pt x="521528" y="260764"/>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60ECE153-1E08-33BB-9C73-7B38D55C8E59}"/>
                </a:ext>
              </a:extLst>
            </p:cNvPr>
            <p:cNvSpPr/>
            <p:nvPr/>
          </p:nvSpPr>
          <p:spPr>
            <a:xfrm>
              <a:off x="9484001" y="26501"/>
              <a:ext cx="436064" cy="216637"/>
            </a:xfrm>
            <a:custGeom>
              <a:avLst/>
              <a:gdLst>
                <a:gd name="connsiteX0" fmla="*/ 17181 w 436064"/>
                <a:gd name="connsiteY0" fmla="*/ 216637 h 216637"/>
                <a:gd name="connsiteX1" fmla="*/ 435747 w 436064"/>
                <a:gd name="connsiteY1" fmla="*/ 22190 h 216637"/>
                <a:gd name="connsiteX2" fmla="*/ 436064 w 436064"/>
                <a:gd name="connsiteY2" fmla="*/ 9383 h 216637"/>
                <a:gd name="connsiteX3" fmla="*/ 435811 w 436064"/>
                <a:gd name="connsiteY3" fmla="*/ 0 h 216637"/>
                <a:gd name="connsiteX4" fmla="*/ 0 w 436064"/>
                <a:gd name="connsiteY4" fmla="*/ 202436 h 216637"/>
                <a:gd name="connsiteX5" fmla="*/ 17118 w 436064"/>
                <a:gd name="connsiteY5" fmla="*/ 216637 h 21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064" h="216637">
                  <a:moveTo>
                    <a:pt x="17181" y="216637"/>
                  </a:moveTo>
                  <a:lnTo>
                    <a:pt x="435747" y="22190"/>
                  </a:lnTo>
                  <a:cubicBezTo>
                    <a:pt x="435938" y="17942"/>
                    <a:pt x="436064" y="13694"/>
                    <a:pt x="436064" y="9383"/>
                  </a:cubicBezTo>
                  <a:cubicBezTo>
                    <a:pt x="436064" y="6213"/>
                    <a:pt x="435938" y="3107"/>
                    <a:pt x="435811" y="0"/>
                  </a:cubicBezTo>
                  <a:lnTo>
                    <a:pt x="0" y="202436"/>
                  </a:lnTo>
                  <a:cubicBezTo>
                    <a:pt x="5516" y="207444"/>
                    <a:pt x="11222" y="212136"/>
                    <a:pt x="17118" y="216637"/>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F3384411-D534-CD3A-8B13-1E0DE9A28721}"/>
                </a:ext>
              </a:extLst>
            </p:cNvPr>
            <p:cNvSpPr/>
            <p:nvPr/>
          </p:nvSpPr>
          <p:spPr>
            <a:xfrm>
              <a:off x="9568006" y="123693"/>
              <a:ext cx="336843" cy="165346"/>
            </a:xfrm>
            <a:custGeom>
              <a:avLst/>
              <a:gdLst>
                <a:gd name="connsiteX0" fmla="*/ 325115 w 336843"/>
                <a:gd name="connsiteY0" fmla="*/ 27642 h 165346"/>
                <a:gd name="connsiteX1" fmla="*/ 336844 w 336843"/>
                <a:gd name="connsiteY1" fmla="*/ 0 h 165346"/>
                <a:gd name="connsiteX2" fmla="*/ 0 w 336843"/>
                <a:gd name="connsiteY2" fmla="*/ 156471 h 165346"/>
                <a:gd name="connsiteX3" fmla="*/ 28720 w 336843"/>
                <a:gd name="connsiteY3" fmla="*/ 165347 h 165346"/>
                <a:gd name="connsiteX4" fmla="*/ 325115 w 336843"/>
                <a:gd name="connsiteY4" fmla="*/ 27642 h 165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843" h="165346">
                  <a:moveTo>
                    <a:pt x="325115" y="27642"/>
                  </a:moveTo>
                  <a:cubicBezTo>
                    <a:pt x="329553" y="18703"/>
                    <a:pt x="333483" y="9510"/>
                    <a:pt x="336844" y="0"/>
                  </a:cubicBezTo>
                  <a:lnTo>
                    <a:pt x="0" y="156471"/>
                  </a:lnTo>
                  <a:cubicBezTo>
                    <a:pt x="9320" y="159958"/>
                    <a:pt x="18893" y="162938"/>
                    <a:pt x="28720" y="165347"/>
                  </a:cubicBezTo>
                  <a:lnTo>
                    <a:pt x="325115" y="27642"/>
                  </a:ln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916CE104-3B6C-940E-B587-DAD776F9DC27}"/>
                </a:ext>
              </a:extLst>
            </p:cNvPr>
            <p:cNvSpPr/>
            <p:nvPr/>
          </p:nvSpPr>
          <p:spPr>
            <a:xfrm>
              <a:off x="9403420" y="0"/>
              <a:ext cx="232550" cy="105814"/>
            </a:xfrm>
            <a:custGeom>
              <a:avLst/>
              <a:gdLst>
                <a:gd name="connsiteX0" fmla="*/ 184811 w 232550"/>
                <a:gd name="connsiteY0" fmla="*/ 0 h 105814"/>
                <a:gd name="connsiteX1" fmla="*/ 0 w 232550"/>
                <a:gd name="connsiteY1" fmla="*/ 85843 h 105814"/>
                <a:gd name="connsiteX2" fmla="*/ 4755 w 232550"/>
                <a:gd name="connsiteY2" fmla="*/ 105814 h 105814"/>
                <a:gd name="connsiteX3" fmla="*/ 232551 w 232550"/>
                <a:gd name="connsiteY3" fmla="*/ 0 h 105814"/>
                <a:gd name="connsiteX4" fmla="*/ 184811 w 232550"/>
                <a:gd name="connsiteY4" fmla="*/ 0 h 10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550" h="105814">
                  <a:moveTo>
                    <a:pt x="184811" y="0"/>
                  </a:moveTo>
                  <a:lnTo>
                    <a:pt x="0" y="85843"/>
                  </a:lnTo>
                  <a:cubicBezTo>
                    <a:pt x="1331" y="92627"/>
                    <a:pt x="2916" y="99284"/>
                    <a:pt x="4755" y="105814"/>
                  </a:cubicBezTo>
                  <a:lnTo>
                    <a:pt x="232551" y="0"/>
                  </a:lnTo>
                  <a:lnTo>
                    <a:pt x="184811" y="0"/>
                  </a:ln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493C4F38-CECA-92BD-A6C5-87422D9BDD7B}"/>
                </a:ext>
              </a:extLst>
            </p:cNvPr>
            <p:cNvSpPr/>
            <p:nvPr/>
          </p:nvSpPr>
          <p:spPr>
            <a:xfrm>
              <a:off x="9431633" y="0"/>
              <a:ext cx="398721" cy="180309"/>
            </a:xfrm>
            <a:custGeom>
              <a:avLst/>
              <a:gdLst>
                <a:gd name="connsiteX0" fmla="*/ 350918 w 398721"/>
                <a:gd name="connsiteY0" fmla="*/ 0 h 180309"/>
                <a:gd name="connsiteX1" fmla="*/ 0 w 398721"/>
                <a:gd name="connsiteY1" fmla="*/ 163001 h 180309"/>
                <a:gd name="connsiteX2" fmla="*/ 10524 w 398721"/>
                <a:gd name="connsiteY2" fmla="*/ 180309 h 180309"/>
                <a:gd name="connsiteX3" fmla="*/ 398722 w 398721"/>
                <a:gd name="connsiteY3" fmla="*/ 0 h 180309"/>
                <a:gd name="connsiteX4" fmla="*/ 350982 w 398721"/>
                <a:gd name="connsiteY4" fmla="*/ 0 h 1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721" h="180309">
                  <a:moveTo>
                    <a:pt x="350918" y="0"/>
                  </a:moveTo>
                  <a:lnTo>
                    <a:pt x="0" y="163001"/>
                  </a:lnTo>
                  <a:cubicBezTo>
                    <a:pt x="3297" y="168897"/>
                    <a:pt x="6784" y="174667"/>
                    <a:pt x="10524" y="180309"/>
                  </a:cubicBezTo>
                  <a:lnTo>
                    <a:pt x="398722" y="0"/>
                  </a:lnTo>
                  <a:lnTo>
                    <a:pt x="350982" y="0"/>
                  </a:ln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F24A1942-C508-57D2-3B99-6E7D3DCD437E}"/>
                </a:ext>
              </a:extLst>
            </p:cNvPr>
            <p:cNvSpPr/>
            <p:nvPr/>
          </p:nvSpPr>
          <p:spPr>
            <a:xfrm>
              <a:off x="9399109" y="0"/>
              <a:ext cx="42541" cy="19780"/>
            </a:xfrm>
            <a:custGeom>
              <a:avLst/>
              <a:gdLst>
                <a:gd name="connsiteX0" fmla="*/ 1965 w 42541"/>
                <a:gd name="connsiteY0" fmla="*/ 0 h 19780"/>
                <a:gd name="connsiteX1" fmla="*/ 0 w 42541"/>
                <a:gd name="connsiteY1" fmla="*/ 19781 h 19780"/>
                <a:gd name="connsiteX2" fmla="*/ 42541 w 42541"/>
                <a:gd name="connsiteY2" fmla="*/ 0 h 19780"/>
                <a:gd name="connsiteX3" fmla="*/ 1965 w 42541"/>
                <a:gd name="connsiteY3" fmla="*/ 0 h 19780"/>
              </a:gdLst>
              <a:ahLst/>
              <a:cxnLst>
                <a:cxn ang="0">
                  <a:pos x="connsiteX0" y="connsiteY0"/>
                </a:cxn>
                <a:cxn ang="0">
                  <a:pos x="connsiteX1" y="connsiteY1"/>
                </a:cxn>
                <a:cxn ang="0">
                  <a:pos x="connsiteX2" y="connsiteY2"/>
                </a:cxn>
                <a:cxn ang="0">
                  <a:pos x="connsiteX3" y="connsiteY3"/>
                </a:cxn>
              </a:cxnLst>
              <a:rect l="l" t="t" r="r" b="b"/>
              <a:pathLst>
                <a:path w="42541" h="19780">
                  <a:moveTo>
                    <a:pt x="1965" y="0"/>
                  </a:moveTo>
                  <a:cubicBezTo>
                    <a:pt x="1078" y="6530"/>
                    <a:pt x="380" y="13124"/>
                    <a:pt x="0" y="19781"/>
                  </a:cubicBezTo>
                  <a:lnTo>
                    <a:pt x="42541" y="0"/>
                  </a:lnTo>
                  <a:lnTo>
                    <a:pt x="1965" y="0"/>
                  </a:ln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0B6F0EDB-365F-2E21-AE28-1E4967A7E9A0}"/>
                </a:ext>
              </a:extLst>
            </p:cNvPr>
            <p:cNvSpPr/>
            <p:nvPr/>
          </p:nvSpPr>
          <p:spPr>
            <a:xfrm>
              <a:off x="10021062" y="0"/>
              <a:ext cx="521527" cy="296648"/>
            </a:xfrm>
            <a:custGeom>
              <a:avLst/>
              <a:gdLst>
                <a:gd name="connsiteX0" fmla="*/ 2536 w 521527"/>
                <a:gd name="connsiteY0" fmla="*/ 0 h 296648"/>
                <a:gd name="connsiteX1" fmla="*/ 0 w 521527"/>
                <a:gd name="connsiteY1" fmla="*/ 35884 h 296648"/>
                <a:gd name="connsiteX2" fmla="*/ 260764 w 521527"/>
                <a:gd name="connsiteY2" fmla="*/ 296648 h 296648"/>
                <a:gd name="connsiteX3" fmla="*/ 521527 w 521527"/>
                <a:gd name="connsiteY3" fmla="*/ 35884 h 296648"/>
                <a:gd name="connsiteX4" fmla="*/ 518992 w 521527"/>
                <a:gd name="connsiteY4" fmla="*/ 0 h 296648"/>
                <a:gd name="connsiteX5" fmla="*/ 2536 w 521527"/>
                <a:gd name="connsiteY5" fmla="*/ 0 h 2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527" h="296648">
                  <a:moveTo>
                    <a:pt x="2536" y="0"/>
                  </a:moveTo>
                  <a:cubicBezTo>
                    <a:pt x="888" y="11729"/>
                    <a:pt x="0" y="23712"/>
                    <a:pt x="0" y="35884"/>
                  </a:cubicBezTo>
                  <a:cubicBezTo>
                    <a:pt x="0" y="179929"/>
                    <a:pt x="116719" y="296648"/>
                    <a:pt x="260764" y="296648"/>
                  </a:cubicBezTo>
                  <a:cubicBezTo>
                    <a:pt x="404808" y="296648"/>
                    <a:pt x="521527" y="179929"/>
                    <a:pt x="521527" y="35884"/>
                  </a:cubicBezTo>
                  <a:cubicBezTo>
                    <a:pt x="521527" y="23712"/>
                    <a:pt x="520640" y="11729"/>
                    <a:pt x="518992" y="0"/>
                  </a:cubicBezTo>
                  <a:lnTo>
                    <a:pt x="2536" y="0"/>
                  </a:ln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DCA3533A-B1B2-A39E-1675-5F4B17E3413E}"/>
                </a:ext>
              </a:extLst>
            </p:cNvPr>
            <p:cNvSpPr/>
            <p:nvPr/>
          </p:nvSpPr>
          <p:spPr>
            <a:xfrm>
              <a:off x="10631032" y="0"/>
              <a:ext cx="541688" cy="306728"/>
            </a:xfrm>
            <a:custGeom>
              <a:avLst/>
              <a:gdLst>
                <a:gd name="connsiteX0" fmla="*/ 518928 w 541688"/>
                <a:gd name="connsiteY0" fmla="*/ 0 h 306728"/>
                <a:gd name="connsiteX1" fmla="*/ 521527 w 541688"/>
                <a:gd name="connsiteY1" fmla="*/ 35884 h 306728"/>
                <a:gd name="connsiteX2" fmla="*/ 270844 w 541688"/>
                <a:gd name="connsiteY2" fmla="*/ 286567 h 306728"/>
                <a:gd name="connsiteX3" fmla="*/ 20161 w 541688"/>
                <a:gd name="connsiteY3" fmla="*/ 35884 h 306728"/>
                <a:gd name="connsiteX4" fmla="*/ 22761 w 541688"/>
                <a:gd name="connsiteY4" fmla="*/ 0 h 306728"/>
                <a:gd name="connsiteX5" fmla="*/ 2472 w 541688"/>
                <a:gd name="connsiteY5" fmla="*/ 0 h 306728"/>
                <a:gd name="connsiteX6" fmla="*/ 0 w 541688"/>
                <a:gd name="connsiteY6" fmla="*/ 35884 h 306728"/>
                <a:gd name="connsiteX7" fmla="*/ 270844 w 541688"/>
                <a:gd name="connsiteY7" fmla="*/ 306729 h 306728"/>
                <a:gd name="connsiteX8" fmla="*/ 541689 w 541688"/>
                <a:gd name="connsiteY8" fmla="*/ 35884 h 306728"/>
                <a:gd name="connsiteX9" fmla="*/ 539216 w 541688"/>
                <a:gd name="connsiteY9" fmla="*/ 0 h 306728"/>
                <a:gd name="connsiteX10" fmla="*/ 518928 w 541688"/>
                <a:gd name="connsiteY10" fmla="*/ 0 h 30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688" h="306728">
                  <a:moveTo>
                    <a:pt x="518928" y="0"/>
                  </a:moveTo>
                  <a:cubicBezTo>
                    <a:pt x="520640" y="11729"/>
                    <a:pt x="521527" y="23712"/>
                    <a:pt x="521527" y="35884"/>
                  </a:cubicBezTo>
                  <a:cubicBezTo>
                    <a:pt x="521527" y="174096"/>
                    <a:pt x="409056" y="286567"/>
                    <a:pt x="270844" y="286567"/>
                  </a:cubicBezTo>
                  <a:cubicBezTo>
                    <a:pt x="132632" y="286567"/>
                    <a:pt x="20161" y="174096"/>
                    <a:pt x="20161" y="35884"/>
                  </a:cubicBezTo>
                  <a:cubicBezTo>
                    <a:pt x="20161" y="23712"/>
                    <a:pt x="21112" y="11729"/>
                    <a:pt x="22761" y="0"/>
                  </a:cubicBezTo>
                  <a:lnTo>
                    <a:pt x="2472" y="0"/>
                  </a:lnTo>
                  <a:cubicBezTo>
                    <a:pt x="887" y="11729"/>
                    <a:pt x="0" y="23712"/>
                    <a:pt x="0" y="35884"/>
                  </a:cubicBezTo>
                  <a:cubicBezTo>
                    <a:pt x="0" y="185191"/>
                    <a:pt x="121474" y="306729"/>
                    <a:pt x="270844" y="306729"/>
                  </a:cubicBezTo>
                  <a:cubicBezTo>
                    <a:pt x="420214" y="306729"/>
                    <a:pt x="541689" y="185254"/>
                    <a:pt x="541689" y="35884"/>
                  </a:cubicBezTo>
                  <a:cubicBezTo>
                    <a:pt x="541689" y="23712"/>
                    <a:pt x="540801" y="11729"/>
                    <a:pt x="539216" y="0"/>
                  </a:cubicBezTo>
                  <a:lnTo>
                    <a:pt x="518928" y="0"/>
                  </a:ln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7FAA85D7-0606-DDAF-9969-535297581E7D}"/>
                </a:ext>
              </a:extLst>
            </p:cNvPr>
            <p:cNvSpPr/>
            <p:nvPr/>
          </p:nvSpPr>
          <p:spPr>
            <a:xfrm>
              <a:off x="11261037" y="0"/>
              <a:ext cx="930900" cy="296648"/>
            </a:xfrm>
            <a:custGeom>
              <a:avLst/>
              <a:gdLst>
                <a:gd name="connsiteX0" fmla="*/ 930901 w 930900"/>
                <a:gd name="connsiteY0" fmla="*/ 0 h 296648"/>
                <a:gd name="connsiteX1" fmla="*/ 2536 w 930900"/>
                <a:gd name="connsiteY1" fmla="*/ 0 h 296648"/>
                <a:gd name="connsiteX2" fmla="*/ 0 w 930900"/>
                <a:gd name="connsiteY2" fmla="*/ 35884 h 296648"/>
                <a:gd name="connsiteX3" fmla="*/ 260764 w 930900"/>
                <a:gd name="connsiteY3" fmla="*/ 296648 h 296648"/>
                <a:gd name="connsiteX4" fmla="*/ 484312 w 930900"/>
                <a:gd name="connsiteY4" fmla="*/ 170229 h 296648"/>
                <a:gd name="connsiteX5" fmla="*/ 568443 w 930900"/>
                <a:gd name="connsiteY5" fmla="*/ 123059 h 296648"/>
                <a:gd name="connsiteX6" fmla="*/ 573135 w 930900"/>
                <a:gd name="connsiteY6" fmla="*/ 123059 h 296648"/>
                <a:gd name="connsiteX7" fmla="*/ 657267 w 930900"/>
                <a:gd name="connsiteY7" fmla="*/ 170229 h 296648"/>
                <a:gd name="connsiteX8" fmla="*/ 880815 w 930900"/>
                <a:gd name="connsiteY8" fmla="*/ 296648 h 296648"/>
                <a:gd name="connsiteX9" fmla="*/ 930901 w 930900"/>
                <a:gd name="connsiteY9" fmla="*/ 291766 h 296648"/>
                <a:gd name="connsiteX10" fmla="*/ 930901 w 930900"/>
                <a:gd name="connsiteY10" fmla="*/ 0 h 2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0900" h="296648">
                  <a:moveTo>
                    <a:pt x="930901" y="0"/>
                  </a:moveTo>
                  <a:lnTo>
                    <a:pt x="2536" y="0"/>
                  </a:lnTo>
                  <a:cubicBezTo>
                    <a:pt x="951" y="11729"/>
                    <a:pt x="0" y="23712"/>
                    <a:pt x="0" y="35884"/>
                  </a:cubicBezTo>
                  <a:cubicBezTo>
                    <a:pt x="0" y="179929"/>
                    <a:pt x="116719" y="296648"/>
                    <a:pt x="260764" y="296648"/>
                  </a:cubicBezTo>
                  <a:cubicBezTo>
                    <a:pt x="355673" y="296648"/>
                    <a:pt x="438664" y="245992"/>
                    <a:pt x="484312" y="170229"/>
                  </a:cubicBezTo>
                  <a:cubicBezTo>
                    <a:pt x="502000" y="140811"/>
                    <a:pt x="534081" y="123059"/>
                    <a:pt x="568443" y="123059"/>
                  </a:cubicBezTo>
                  <a:lnTo>
                    <a:pt x="573135" y="123059"/>
                  </a:lnTo>
                  <a:cubicBezTo>
                    <a:pt x="607498" y="123059"/>
                    <a:pt x="639578" y="140811"/>
                    <a:pt x="657267" y="170229"/>
                  </a:cubicBezTo>
                  <a:cubicBezTo>
                    <a:pt x="702915" y="245992"/>
                    <a:pt x="785905" y="296648"/>
                    <a:pt x="880815" y="296648"/>
                  </a:cubicBezTo>
                  <a:cubicBezTo>
                    <a:pt x="897932" y="296648"/>
                    <a:pt x="914670" y="294936"/>
                    <a:pt x="930901" y="291766"/>
                  </a:cubicBezTo>
                  <a:lnTo>
                    <a:pt x="930901" y="0"/>
                  </a:ln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F5B5C0DE-E453-60D4-4679-615CCAF6152D}"/>
                </a:ext>
              </a:extLst>
            </p:cNvPr>
            <p:cNvSpPr/>
            <p:nvPr/>
          </p:nvSpPr>
          <p:spPr>
            <a:xfrm>
              <a:off x="11898966" y="401955"/>
              <a:ext cx="292970" cy="158246"/>
            </a:xfrm>
            <a:custGeom>
              <a:avLst/>
              <a:gdLst>
                <a:gd name="connsiteX0" fmla="*/ 292971 w 292970"/>
                <a:gd name="connsiteY0" fmla="*/ 0 h 158246"/>
                <a:gd name="connsiteX1" fmla="*/ 12997 w 292970"/>
                <a:gd name="connsiteY1" fmla="*/ 130033 h 158246"/>
                <a:gd name="connsiteX2" fmla="*/ 0 w 292970"/>
                <a:gd name="connsiteY2" fmla="*/ 158246 h 158246"/>
                <a:gd name="connsiteX3" fmla="*/ 292907 w 292970"/>
                <a:gd name="connsiteY3" fmla="*/ 22190 h 158246"/>
                <a:gd name="connsiteX4" fmla="*/ 292907 w 292970"/>
                <a:gd name="connsiteY4" fmla="*/ 0 h 15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970" h="158246">
                  <a:moveTo>
                    <a:pt x="292971" y="0"/>
                  </a:moveTo>
                  <a:lnTo>
                    <a:pt x="12997" y="130033"/>
                  </a:lnTo>
                  <a:cubicBezTo>
                    <a:pt x="8115" y="139099"/>
                    <a:pt x="3804" y="148546"/>
                    <a:pt x="0" y="158246"/>
                  </a:cubicBezTo>
                  <a:lnTo>
                    <a:pt x="292907" y="22190"/>
                  </a:lnTo>
                  <a:lnTo>
                    <a:pt x="292907" y="0"/>
                  </a:ln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2662FC72-890A-C4E5-4804-CC755795F63D}"/>
                </a:ext>
              </a:extLst>
            </p:cNvPr>
            <p:cNvSpPr/>
            <p:nvPr/>
          </p:nvSpPr>
          <p:spPr>
            <a:xfrm>
              <a:off x="11881087" y="492173"/>
              <a:ext cx="310849" cy="166551"/>
            </a:xfrm>
            <a:custGeom>
              <a:avLst/>
              <a:gdLst>
                <a:gd name="connsiteX0" fmla="*/ 310850 w 310849"/>
                <a:gd name="connsiteY0" fmla="*/ 63 h 166551"/>
                <a:gd name="connsiteX1" fmla="*/ 761 w 310849"/>
                <a:gd name="connsiteY1" fmla="*/ 144108 h 166551"/>
                <a:gd name="connsiteX2" fmla="*/ 0 w 310849"/>
                <a:gd name="connsiteY2" fmla="*/ 163001 h 166551"/>
                <a:gd name="connsiteX3" fmla="*/ 0 w 310849"/>
                <a:gd name="connsiteY3" fmla="*/ 166552 h 166551"/>
                <a:gd name="connsiteX4" fmla="*/ 310786 w 310849"/>
                <a:gd name="connsiteY4" fmla="*/ 22190 h 166551"/>
                <a:gd name="connsiteX5" fmla="*/ 310786 w 310849"/>
                <a:gd name="connsiteY5" fmla="*/ 0 h 16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49" h="166551">
                  <a:moveTo>
                    <a:pt x="310850" y="63"/>
                  </a:moveTo>
                  <a:lnTo>
                    <a:pt x="761" y="144108"/>
                  </a:lnTo>
                  <a:cubicBezTo>
                    <a:pt x="317" y="150385"/>
                    <a:pt x="0" y="156661"/>
                    <a:pt x="0" y="163001"/>
                  </a:cubicBezTo>
                  <a:cubicBezTo>
                    <a:pt x="0" y="164206"/>
                    <a:pt x="0" y="165410"/>
                    <a:pt x="0" y="166552"/>
                  </a:cubicBezTo>
                  <a:lnTo>
                    <a:pt x="310786" y="22190"/>
                  </a:lnTo>
                  <a:lnTo>
                    <a:pt x="310786" y="0"/>
                  </a:ln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077CF64A-BD66-1747-BAFA-D5EFD129E821}"/>
                </a:ext>
              </a:extLst>
            </p:cNvPr>
            <p:cNvSpPr/>
            <p:nvPr/>
          </p:nvSpPr>
          <p:spPr>
            <a:xfrm>
              <a:off x="11889900" y="582518"/>
              <a:ext cx="302036" cy="159704"/>
            </a:xfrm>
            <a:custGeom>
              <a:avLst/>
              <a:gdLst>
                <a:gd name="connsiteX0" fmla="*/ 302037 w 302036"/>
                <a:gd name="connsiteY0" fmla="*/ 0 h 159704"/>
                <a:gd name="connsiteX1" fmla="*/ 0 w 302036"/>
                <a:gd name="connsiteY1" fmla="*/ 140304 h 159704"/>
                <a:gd name="connsiteX2" fmla="*/ 6023 w 302036"/>
                <a:gd name="connsiteY2" fmla="*/ 159704 h 159704"/>
                <a:gd name="connsiteX3" fmla="*/ 301974 w 302036"/>
                <a:gd name="connsiteY3" fmla="*/ 22253 h 159704"/>
                <a:gd name="connsiteX4" fmla="*/ 301974 w 302036"/>
                <a:gd name="connsiteY4" fmla="*/ 63 h 159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036" h="159704">
                  <a:moveTo>
                    <a:pt x="302037" y="0"/>
                  </a:moveTo>
                  <a:lnTo>
                    <a:pt x="0" y="140304"/>
                  </a:lnTo>
                  <a:cubicBezTo>
                    <a:pt x="1775" y="146898"/>
                    <a:pt x="3804" y="153301"/>
                    <a:pt x="6023" y="159704"/>
                  </a:cubicBezTo>
                  <a:lnTo>
                    <a:pt x="301974" y="22253"/>
                  </a:lnTo>
                  <a:lnTo>
                    <a:pt x="301974" y="63"/>
                  </a:ln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C273831E-EC12-3EA5-7229-3FB9AD91E755}"/>
                </a:ext>
              </a:extLst>
            </p:cNvPr>
            <p:cNvSpPr/>
            <p:nvPr/>
          </p:nvSpPr>
          <p:spPr>
            <a:xfrm>
              <a:off x="11923312" y="672736"/>
              <a:ext cx="268625" cy="141445"/>
            </a:xfrm>
            <a:custGeom>
              <a:avLst/>
              <a:gdLst>
                <a:gd name="connsiteX0" fmla="*/ 268625 w 268625"/>
                <a:gd name="connsiteY0" fmla="*/ 0 h 141445"/>
                <a:gd name="connsiteX1" fmla="*/ 0 w 268625"/>
                <a:gd name="connsiteY1" fmla="*/ 124771 h 141445"/>
                <a:gd name="connsiteX2" fmla="*/ 11856 w 268625"/>
                <a:gd name="connsiteY2" fmla="*/ 141445 h 141445"/>
                <a:gd name="connsiteX3" fmla="*/ 268625 w 268625"/>
                <a:gd name="connsiteY3" fmla="*/ 22190 h 141445"/>
                <a:gd name="connsiteX4" fmla="*/ 268625 w 268625"/>
                <a:gd name="connsiteY4" fmla="*/ 0 h 141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5" h="141445">
                  <a:moveTo>
                    <a:pt x="268625" y="0"/>
                  </a:moveTo>
                  <a:lnTo>
                    <a:pt x="0" y="124771"/>
                  </a:lnTo>
                  <a:cubicBezTo>
                    <a:pt x="3741" y="130477"/>
                    <a:pt x="7671" y="136056"/>
                    <a:pt x="11856" y="141445"/>
                  </a:cubicBezTo>
                  <a:lnTo>
                    <a:pt x="268625" y="22190"/>
                  </a:lnTo>
                  <a:lnTo>
                    <a:pt x="268625" y="0"/>
                  </a:ln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872C88AD-0CA6-DA0A-2824-F136AB21C170}"/>
                </a:ext>
              </a:extLst>
            </p:cNvPr>
            <p:cNvSpPr/>
            <p:nvPr/>
          </p:nvSpPr>
          <p:spPr>
            <a:xfrm>
              <a:off x="11981513" y="763017"/>
              <a:ext cx="210424" cy="111203"/>
            </a:xfrm>
            <a:custGeom>
              <a:avLst/>
              <a:gdLst>
                <a:gd name="connsiteX0" fmla="*/ 210424 w 210424"/>
                <a:gd name="connsiteY0" fmla="*/ 0 h 111203"/>
                <a:gd name="connsiteX1" fmla="*/ 0 w 210424"/>
                <a:gd name="connsiteY1" fmla="*/ 97763 h 111203"/>
                <a:gd name="connsiteX2" fmla="*/ 18830 w 210424"/>
                <a:gd name="connsiteY2" fmla="*/ 111203 h 111203"/>
                <a:gd name="connsiteX3" fmla="*/ 210424 w 210424"/>
                <a:gd name="connsiteY3" fmla="*/ 22190 h 111203"/>
                <a:gd name="connsiteX4" fmla="*/ 210424 w 210424"/>
                <a:gd name="connsiteY4" fmla="*/ 0 h 111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24" h="111203">
                  <a:moveTo>
                    <a:pt x="210424" y="0"/>
                  </a:moveTo>
                  <a:lnTo>
                    <a:pt x="0" y="97763"/>
                  </a:lnTo>
                  <a:cubicBezTo>
                    <a:pt x="6087" y="102518"/>
                    <a:pt x="12363" y="107019"/>
                    <a:pt x="18830" y="111203"/>
                  </a:cubicBezTo>
                  <a:lnTo>
                    <a:pt x="210424" y="22190"/>
                  </a:lnTo>
                  <a:lnTo>
                    <a:pt x="210424" y="0"/>
                  </a:ln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C1C24A95-768B-59E9-515B-3D3F94CC92CF}"/>
                </a:ext>
              </a:extLst>
            </p:cNvPr>
            <p:cNvSpPr/>
            <p:nvPr/>
          </p:nvSpPr>
          <p:spPr>
            <a:xfrm>
              <a:off x="12044976" y="853298"/>
              <a:ext cx="146960" cy="87365"/>
            </a:xfrm>
            <a:custGeom>
              <a:avLst/>
              <a:gdLst>
                <a:gd name="connsiteX0" fmla="*/ 146961 w 146960"/>
                <a:gd name="connsiteY0" fmla="*/ 0 h 87365"/>
                <a:gd name="connsiteX1" fmla="*/ 0 w 146960"/>
                <a:gd name="connsiteY1" fmla="*/ 68282 h 87365"/>
                <a:gd name="connsiteX2" fmla="*/ 6720 w 146960"/>
                <a:gd name="connsiteY2" fmla="*/ 87365 h 87365"/>
                <a:gd name="connsiteX3" fmla="*/ 146961 w 146960"/>
                <a:gd name="connsiteY3" fmla="*/ 22190 h 87365"/>
                <a:gd name="connsiteX4" fmla="*/ 146961 w 146960"/>
                <a:gd name="connsiteY4" fmla="*/ 0 h 87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60" h="87365">
                  <a:moveTo>
                    <a:pt x="146961" y="0"/>
                  </a:moveTo>
                  <a:lnTo>
                    <a:pt x="0" y="68282"/>
                  </a:lnTo>
                  <a:cubicBezTo>
                    <a:pt x="2853" y="74368"/>
                    <a:pt x="5135" y="80771"/>
                    <a:pt x="6720" y="87365"/>
                  </a:cubicBezTo>
                  <a:lnTo>
                    <a:pt x="146961" y="22190"/>
                  </a:lnTo>
                  <a:lnTo>
                    <a:pt x="146961" y="0"/>
                  </a:ln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A5D501F9-E020-6E9B-6EA5-C0DA4C5FC520}"/>
                </a:ext>
              </a:extLst>
            </p:cNvPr>
            <p:cNvSpPr/>
            <p:nvPr/>
          </p:nvSpPr>
          <p:spPr>
            <a:xfrm>
              <a:off x="12008331" y="943517"/>
              <a:ext cx="183606" cy="107462"/>
            </a:xfrm>
            <a:custGeom>
              <a:avLst/>
              <a:gdLst>
                <a:gd name="connsiteX0" fmla="*/ 183606 w 183606"/>
                <a:gd name="connsiteY0" fmla="*/ 63 h 107462"/>
                <a:gd name="connsiteX1" fmla="*/ 34616 w 183606"/>
                <a:gd name="connsiteY1" fmla="*/ 69233 h 107462"/>
                <a:gd name="connsiteX2" fmla="*/ 0 w 183606"/>
                <a:gd name="connsiteY2" fmla="*/ 107463 h 107462"/>
                <a:gd name="connsiteX3" fmla="*/ 183543 w 183606"/>
                <a:gd name="connsiteY3" fmla="*/ 22190 h 107462"/>
                <a:gd name="connsiteX4" fmla="*/ 183543 w 183606"/>
                <a:gd name="connsiteY4" fmla="*/ 0 h 107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6" h="107462">
                  <a:moveTo>
                    <a:pt x="183606" y="63"/>
                  </a:moveTo>
                  <a:lnTo>
                    <a:pt x="34616" y="69233"/>
                  </a:lnTo>
                  <a:cubicBezTo>
                    <a:pt x="26628" y="84512"/>
                    <a:pt x="14836" y="97763"/>
                    <a:pt x="0" y="107463"/>
                  </a:cubicBezTo>
                  <a:lnTo>
                    <a:pt x="183543" y="22190"/>
                  </a:lnTo>
                  <a:lnTo>
                    <a:pt x="183543" y="0"/>
                  </a:ln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46B9FBC1-9B55-6B02-CF1D-D0E178D70905}"/>
                </a:ext>
              </a:extLst>
            </p:cNvPr>
            <p:cNvSpPr/>
            <p:nvPr/>
          </p:nvSpPr>
          <p:spPr>
            <a:xfrm>
              <a:off x="11893894" y="1033798"/>
              <a:ext cx="298106" cy="160655"/>
            </a:xfrm>
            <a:custGeom>
              <a:avLst/>
              <a:gdLst>
                <a:gd name="connsiteX0" fmla="*/ 298043 w 298106"/>
                <a:gd name="connsiteY0" fmla="*/ 0 h 160655"/>
                <a:gd name="connsiteX1" fmla="*/ 10461 w 298106"/>
                <a:gd name="connsiteY1" fmla="*/ 133584 h 160655"/>
                <a:gd name="connsiteX2" fmla="*/ 0 w 298106"/>
                <a:gd name="connsiteY2" fmla="*/ 160655 h 160655"/>
                <a:gd name="connsiteX3" fmla="*/ 298106 w 298106"/>
                <a:gd name="connsiteY3" fmla="*/ 22190 h 160655"/>
                <a:gd name="connsiteX4" fmla="*/ 298106 w 298106"/>
                <a:gd name="connsiteY4" fmla="*/ 0 h 16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106" h="160655">
                  <a:moveTo>
                    <a:pt x="298043" y="0"/>
                  </a:moveTo>
                  <a:lnTo>
                    <a:pt x="10461" y="133584"/>
                  </a:lnTo>
                  <a:cubicBezTo>
                    <a:pt x="6467" y="142333"/>
                    <a:pt x="2980" y="151399"/>
                    <a:pt x="0" y="160655"/>
                  </a:cubicBezTo>
                  <a:lnTo>
                    <a:pt x="298106" y="22190"/>
                  </a:lnTo>
                  <a:lnTo>
                    <a:pt x="298106" y="0"/>
                  </a:ln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0FCFB930-0A5F-5865-7805-62A66D027C0C}"/>
                </a:ext>
              </a:extLst>
            </p:cNvPr>
            <p:cNvSpPr/>
            <p:nvPr/>
          </p:nvSpPr>
          <p:spPr>
            <a:xfrm>
              <a:off x="11881087" y="1124079"/>
              <a:ext cx="310849" cy="166424"/>
            </a:xfrm>
            <a:custGeom>
              <a:avLst/>
              <a:gdLst>
                <a:gd name="connsiteX0" fmla="*/ 310850 w 310849"/>
                <a:gd name="connsiteY0" fmla="*/ 0 h 166424"/>
                <a:gd name="connsiteX1" fmla="*/ 127 w 310849"/>
                <a:gd name="connsiteY1" fmla="*/ 144362 h 166424"/>
                <a:gd name="connsiteX2" fmla="*/ 0 w 310849"/>
                <a:gd name="connsiteY2" fmla="*/ 151145 h 166424"/>
                <a:gd name="connsiteX3" fmla="*/ 444 w 310849"/>
                <a:gd name="connsiteY3" fmla="*/ 166425 h 166424"/>
                <a:gd name="connsiteX4" fmla="*/ 310850 w 310849"/>
                <a:gd name="connsiteY4" fmla="*/ 22253 h 166424"/>
                <a:gd name="connsiteX5" fmla="*/ 310850 w 310849"/>
                <a:gd name="connsiteY5" fmla="*/ 63 h 16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49" h="166424">
                  <a:moveTo>
                    <a:pt x="310850" y="0"/>
                  </a:moveTo>
                  <a:lnTo>
                    <a:pt x="127" y="144362"/>
                  </a:lnTo>
                  <a:cubicBezTo>
                    <a:pt x="127" y="146581"/>
                    <a:pt x="0" y="148863"/>
                    <a:pt x="0" y="151145"/>
                  </a:cubicBezTo>
                  <a:cubicBezTo>
                    <a:pt x="0" y="156281"/>
                    <a:pt x="190" y="161353"/>
                    <a:pt x="444" y="166425"/>
                  </a:cubicBezTo>
                  <a:lnTo>
                    <a:pt x="310850" y="22253"/>
                  </a:lnTo>
                  <a:lnTo>
                    <a:pt x="310850" y="63"/>
                  </a:ln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AEEF11F1-2957-9248-FF3A-19A451440C8A}"/>
                </a:ext>
              </a:extLst>
            </p:cNvPr>
            <p:cNvSpPr/>
            <p:nvPr/>
          </p:nvSpPr>
          <p:spPr>
            <a:xfrm>
              <a:off x="11893007" y="1214297"/>
              <a:ext cx="298930" cy="157929"/>
            </a:xfrm>
            <a:custGeom>
              <a:avLst/>
              <a:gdLst>
                <a:gd name="connsiteX0" fmla="*/ 298930 w 298930"/>
                <a:gd name="connsiteY0" fmla="*/ 63 h 157929"/>
                <a:gd name="connsiteX1" fmla="*/ 0 w 298930"/>
                <a:gd name="connsiteY1" fmla="*/ 138909 h 157929"/>
                <a:gd name="connsiteX2" fmla="*/ 6784 w 298930"/>
                <a:gd name="connsiteY2" fmla="*/ 157929 h 157929"/>
                <a:gd name="connsiteX3" fmla="*/ 298930 w 298930"/>
                <a:gd name="connsiteY3" fmla="*/ 22190 h 157929"/>
                <a:gd name="connsiteX4" fmla="*/ 298930 w 298930"/>
                <a:gd name="connsiteY4" fmla="*/ 0 h 157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30" h="157929">
                  <a:moveTo>
                    <a:pt x="298930" y="63"/>
                  </a:moveTo>
                  <a:lnTo>
                    <a:pt x="0" y="138909"/>
                  </a:lnTo>
                  <a:cubicBezTo>
                    <a:pt x="2029" y="145376"/>
                    <a:pt x="4311" y="151716"/>
                    <a:pt x="6784" y="157929"/>
                  </a:cubicBezTo>
                  <a:lnTo>
                    <a:pt x="298930" y="22190"/>
                  </a:lnTo>
                  <a:lnTo>
                    <a:pt x="298930" y="0"/>
                  </a:ln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C3C60592-BBBD-3182-38D6-FDD47B4ACBBA}"/>
                </a:ext>
              </a:extLst>
            </p:cNvPr>
            <p:cNvSpPr/>
            <p:nvPr/>
          </p:nvSpPr>
          <p:spPr>
            <a:xfrm>
              <a:off x="12111926" y="2116985"/>
              <a:ext cx="80010" cy="38927"/>
            </a:xfrm>
            <a:custGeom>
              <a:avLst/>
              <a:gdLst>
                <a:gd name="connsiteX0" fmla="*/ 80011 w 80010"/>
                <a:gd name="connsiteY0" fmla="*/ 0 h 38927"/>
                <a:gd name="connsiteX1" fmla="*/ 0 w 80010"/>
                <a:gd name="connsiteY1" fmla="*/ 37152 h 38927"/>
                <a:gd name="connsiteX2" fmla="*/ 29925 w 80010"/>
                <a:gd name="connsiteY2" fmla="*/ 38927 h 38927"/>
                <a:gd name="connsiteX3" fmla="*/ 44887 w 80010"/>
                <a:gd name="connsiteY3" fmla="*/ 38484 h 38927"/>
                <a:gd name="connsiteX4" fmla="*/ 80011 w 80010"/>
                <a:gd name="connsiteY4" fmla="*/ 22190 h 38927"/>
                <a:gd name="connsiteX5" fmla="*/ 80011 w 80010"/>
                <a:gd name="connsiteY5" fmla="*/ 0 h 3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10" h="38927">
                  <a:moveTo>
                    <a:pt x="80011" y="0"/>
                  </a:moveTo>
                  <a:lnTo>
                    <a:pt x="0" y="37152"/>
                  </a:lnTo>
                  <a:cubicBezTo>
                    <a:pt x="9827" y="38294"/>
                    <a:pt x="19781" y="38927"/>
                    <a:pt x="29925" y="38927"/>
                  </a:cubicBezTo>
                  <a:cubicBezTo>
                    <a:pt x="34933" y="38927"/>
                    <a:pt x="39942" y="38737"/>
                    <a:pt x="44887" y="38484"/>
                  </a:cubicBezTo>
                  <a:lnTo>
                    <a:pt x="80011" y="22190"/>
                  </a:lnTo>
                  <a:lnTo>
                    <a:pt x="80011" y="0"/>
                  </a:ln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05CBC6DA-303E-D2CC-2080-B605529D938E}"/>
                </a:ext>
              </a:extLst>
            </p:cNvPr>
            <p:cNvSpPr/>
            <p:nvPr/>
          </p:nvSpPr>
          <p:spPr>
            <a:xfrm>
              <a:off x="12001737" y="2026640"/>
              <a:ext cx="190199" cy="100615"/>
            </a:xfrm>
            <a:custGeom>
              <a:avLst/>
              <a:gdLst>
                <a:gd name="connsiteX0" fmla="*/ 190200 w 190199"/>
                <a:gd name="connsiteY0" fmla="*/ 63 h 100615"/>
                <a:gd name="connsiteX1" fmla="*/ 0 w 190199"/>
                <a:gd name="connsiteY1" fmla="*/ 88379 h 100615"/>
                <a:gd name="connsiteX2" fmla="*/ 21366 w 190199"/>
                <a:gd name="connsiteY2" fmla="*/ 100616 h 100615"/>
                <a:gd name="connsiteX3" fmla="*/ 190200 w 190199"/>
                <a:gd name="connsiteY3" fmla="*/ 22190 h 100615"/>
                <a:gd name="connsiteX4" fmla="*/ 190200 w 190199"/>
                <a:gd name="connsiteY4" fmla="*/ 0 h 10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99" h="100615">
                  <a:moveTo>
                    <a:pt x="190200" y="63"/>
                  </a:moveTo>
                  <a:lnTo>
                    <a:pt x="0" y="88379"/>
                  </a:lnTo>
                  <a:cubicBezTo>
                    <a:pt x="6911" y="92817"/>
                    <a:pt x="14012" y="96875"/>
                    <a:pt x="21366" y="100616"/>
                  </a:cubicBezTo>
                  <a:lnTo>
                    <a:pt x="190200" y="22190"/>
                  </a:lnTo>
                  <a:lnTo>
                    <a:pt x="190200" y="0"/>
                  </a:ln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FACB81DA-19AA-7EB9-E9CE-20A8B871D05A}"/>
                </a:ext>
              </a:extLst>
            </p:cNvPr>
            <p:cNvSpPr/>
            <p:nvPr/>
          </p:nvSpPr>
          <p:spPr>
            <a:xfrm>
              <a:off x="11936119" y="1936486"/>
              <a:ext cx="255881" cy="134788"/>
            </a:xfrm>
            <a:custGeom>
              <a:avLst/>
              <a:gdLst>
                <a:gd name="connsiteX0" fmla="*/ 255818 w 255881"/>
                <a:gd name="connsiteY0" fmla="*/ 0 h 134788"/>
                <a:gd name="connsiteX1" fmla="*/ 0 w 255881"/>
                <a:gd name="connsiteY1" fmla="*/ 118811 h 134788"/>
                <a:gd name="connsiteX2" fmla="*/ 13441 w 255881"/>
                <a:gd name="connsiteY2" fmla="*/ 134788 h 134788"/>
                <a:gd name="connsiteX3" fmla="*/ 255882 w 255881"/>
                <a:gd name="connsiteY3" fmla="*/ 22190 h 134788"/>
                <a:gd name="connsiteX4" fmla="*/ 255882 w 255881"/>
                <a:gd name="connsiteY4" fmla="*/ 0 h 13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81" h="134788">
                  <a:moveTo>
                    <a:pt x="255818" y="0"/>
                  </a:moveTo>
                  <a:lnTo>
                    <a:pt x="0" y="118811"/>
                  </a:lnTo>
                  <a:cubicBezTo>
                    <a:pt x="4248" y="124327"/>
                    <a:pt x="8749" y="129653"/>
                    <a:pt x="13441" y="134788"/>
                  </a:cubicBezTo>
                  <a:lnTo>
                    <a:pt x="255882" y="22190"/>
                  </a:lnTo>
                  <a:lnTo>
                    <a:pt x="255882" y="0"/>
                  </a:ln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66241ED8-66C3-F19A-FF89-738D1096FC70}"/>
                </a:ext>
              </a:extLst>
            </p:cNvPr>
            <p:cNvSpPr/>
            <p:nvPr/>
          </p:nvSpPr>
          <p:spPr>
            <a:xfrm>
              <a:off x="11896430" y="1846204"/>
              <a:ext cx="295506" cy="155900"/>
            </a:xfrm>
            <a:custGeom>
              <a:avLst/>
              <a:gdLst>
                <a:gd name="connsiteX0" fmla="*/ 295507 w 295506"/>
                <a:gd name="connsiteY0" fmla="*/ 0 h 155900"/>
                <a:gd name="connsiteX1" fmla="*/ 0 w 295506"/>
                <a:gd name="connsiteY1" fmla="*/ 137261 h 155900"/>
                <a:gd name="connsiteX2" fmla="*/ 7608 w 295506"/>
                <a:gd name="connsiteY2" fmla="*/ 155900 h 155900"/>
                <a:gd name="connsiteX3" fmla="*/ 295507 w 295506"/>
                <a:gd name="connsiteY3" fmla="*/ 22190 h 155900"/>
                <a:gd name="connsiteX4" fmla="*/ 295507 w 295506"/>
                <a:gd name="connsiteY4" fmla="*/ 0 h 15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06" h="155900">
                  <a:moveTo>
                    <a:pt x="295507" y="0"/>
                  </a:moveTo>
                  <a:lnTo>
                    <a:pt x="0" y="137261"/>
                  </a:lnTo>
                  <a:cubicBezTo>
                    <a:pt x="2282" y="143601"/>
                    <a:pt x="4818" y="149814"/>
                    <a:pt x="7608" y="155900"/>
                  </a:cubicBezTo>
                  <a:lnTo>
                    <a:pt x="295507" y="22190"/>
                  </a:lnTo>
                  <a:lnTo>
                    <a:pt x="295507" y="0"/>
                  </a:ln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9497BFC0-8ADA-E72C-87E9-D4DC2C6BA717}"/>
                </a:ext>
              </a:extLst>
            </p:cNvPr>
            <p:cNvSpPr/>
            <p:nvPr/>
          </p:nvSpPr>
          <p:spPr>
            <a:xfrm>
              <a:off x="11881214" y="1755923"/>
              <a:ext cx="310722" cy="165981"/>
            </a:xfrm>
            <a:custGeom>
              <a:avLst/>
              <a:gdLst>
                <a:gd name="connsiteX0" fmla="*/ 310723 w 310722"/>
                <a:gd name="connsiteY0" fmla="*/ 0 h 165981"/>
                <a:gd name="connsiteX1" fmla="*/ 0 w 310722"/>
                <a:gd name="connsiteY1" fmla="*/ 144362 h 165981"/>
                <a:gd name="connsiteX2" fmla="*/ 1205 w 310722"/>
                <a:gd name="connsiteY2" fmla="*/ 165981 h 165981"/>
                <a:gd name="connsiteX3" fmla="*/ 310723 w 310722"/>
                <a:gd name="connsiteY3" fmla="*/ 22190 h 165981"/>
                <a:gd name="connsiteX4" fmla="*/ 310723 w 310722"/>
                <a:gd name="connsiteY4" fmla="*/ 0 h 16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22" h="165981">
                  <a:moveTo>
                    <a:pt x="310723" y="0"/>
                  </a:moveTo>
                  <a:lnTo>
                    <a:pt x="0" y="144362"/>
                  </a:lnTo>
                  <a:cubicBezTo>
                    <a:pt x="127" y="151653"/>
                    <a:pt x="507" y="158880"/>
                    <a:pt x="1205" y="165981"/>
                  </a:cubicBezTo>
                  <a:lnTo>
                    <a:pt x="310723" y="22190"/>
                  </a:lnTo>
                  <a:lnTo>
                    <a:pt x="310723" y="0"/>
                  </a:ln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254D32D8-9723-7D90-CEB8-627EC7CAABF5}"/>
                </a:ext>
              </a:extLst>
            </p:cNvPr>
            <p:cNvSpPr/>
            <p:nvPr/>
          </p:nvSpPr>
          <p:spPr>
            <a:xfrm>
              <a:off x="11889773" y="1665641"/>
              <a:ext cx="302163" cy="162557"/>
            </a:xfrm>
            <a:custGeom>
              <a:avLst/>
              <a:gdLst>
                <a:gd name="connsiteX0" fmla="*/ 302164 w 302163"/>
                <a:gd name="connsiteY0" fmla="*/ 0 h 162557"/>
                <a:gd name="connsiteX1" fmla="*/ 8432 w 302163"/>
                <a:gd name="connsiteY1" fmla="*/ 136436 h 162557"/>
                <a:gd name="connsiteX2" fmla="*/ 0 w 302163"/>
                <a:gd name="connsiteY2" fmla="*/ 162557 h 162557"/>
                <a:gd name="connsiteX3" fmla="*/ 302164 w 302163"/>
                <a:gd name="connsiteY3" fmla="*/ 22190 h 162557"/>
                <a:gd name="connsiteX4" fmla="*/ 302164 w 302163"/>
                <a:gd name="connsiteY4" fmla="*/ 0 h 162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163" h="162557">
                  <a:moveTo>
                    <a:pt x="302164" y="0"/>
                  </a:moveTo>
                  <a:lnTo>
                    <a:pt x="8432" y="136436"/>
                  </a:lnTo>
                  <a:cubicBezTo>
                    <a:pt x="5199" y="144932"/>
                    <a:pt x="2346" y="153618"/>
                    <a:pt x="0" y="162557"/>
                  </a:cubicBezTo>
                  <a:lnTo>
                    <a:pt x="302164" y="22190"/>
                  </a:lnTo>
                  <a:lnTo>
                    <a:pt x="302164" y="0"/>
                  </a:lnTo>
                  <a:close/>
                </a:path>
              </a:pathLst>
            </a:custGeom>
            <a:grpFill/>
            <a:ln w="0" cap="flat">
              <a:noFill/>
              <a:prstDash val="solid"/>
              <a:miter/>
            </a:ln>
          </p:spPr>
          <p:txBody>
            <a:bodyPr rtlCol="0" anchor="ctr"/>
            <a:lstStyle/>
            <a:p>
              <a:endParaRPr lang="sv-SE"/>
            </a:p>
          </p:txBody>
        </p:sp>
        <p:sp>
          <p:nvSpPr>
            <p:cNvPr id="39" name="Frihandsfigur: Form 38">
              <a:extLst>
                <a:ext uri="{FF2B5EF4-FFF2-40B4-BE49-F238E27FC236}">
                  <a16:creationId xmlns:a16="http://schemas.microsoft.com/office/drawing/2014/main" id="{0EBCC543-D663-B2EF-A4D7-DD4915C9DDD8}"/>
                </a:ext>
              </a:extLst>
            </p:cNvPr>
            <p:cNvSpPr/>
            <p:nvPr/>
          </p:nvSpPr>
          <p:spPr>
            <a:xfrm>
              <a:off x="11966297" y="1575423"/>
              <a:ext cx="225703" cy="126989"/>
            </a:xfrm>
            <a:custGeom>
              <a:avLst/>
              <a:gdLst>
                <a:gd name="connsiteX0" fmla="*/ 225640 w 225703"/>
                <a:gd name="connsiteY0" fmla="*/ 0 h 126989"/>
                <a:gd name="connsiteX1" fmla="*/ 65492 w 225703"/>
                <a:gd name="connsiteY1" fmla="*/ 74368 h 126989"/>
                <a:gd name="connsiteX2" fmla="*/ 39371 w 225703"/>
                <a:gd name="connsiteY2" fmla="*/ 97382 h 126989"/>
                <a:gd name="connsiteX3" fmla="*/ 0 w 225703"/>
                <a:gd name="connsiteY3" fmla="*/ 126990 h 126989"/>
                <a:gd name="connsiteX4" fmla="*/ 225704 w 225703"/>
                <a:gd name="connsiteY4" fmla="*/ 22190 h 126989"/>
                <a:gd name="connsiteX5" fmla="*/ 225704 w 225703"/>
                <a:gd name="connsiteY5" fmla="*/ 0 h 12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703" h="126989">
                  <a:moveTo>
                    <a:pt x="225640" y="0"/>
                  </a:moveTo>
                  <a:lnTo>
                    <a:pt x="65492" y="74368"/>
                  </a:lnTo>
                  <a:cubicBezTo>
                    <a:pt x="58265" y="83307"/>
                    <a:pt x="49452" y="91169"/>
                    <a:pt x="39371" y="97382"/>
                  </a:cubicBezTo>
                  <a:cubicBezTo>
                    <a:pt x="25297" y="106005"/>
                    <a:pt x="12109" y="115958"/>
                    <a:pt x="0" y="126990"/>
                  </a:cubicBezTo>
                  <a:lnTo>
                    <a:pt x="225704" y="22190"/>
                  </a:lnTo>
                  <a:lnTo>
                    <a:pt x="225704" y="0"/>
                  </a:lnTo>
                  <a:close/>
                </a:path>
              </a:pathLst>
            </a:custGeom>
            <a:grpFill/>
            <a:ln w="0" cap="flat">
              <a:noFill/>
              <a:prstDash val="solid"/>
              <a:miter/>
            </a:ln>
          </p:spPr>
          <p:txBody>
            <a:bodyPr rtlCol="0" anchor="ctr"/>
            <a:lstStyle/>
            <a:p>
              <a:endParaRPr lang="sv-SE"/>
            </a:p>
          </p:txBody>
        </p:sp>
        <p:sp>
          <p:nvSpPr>
            <p:cNvPr id="40" name="Frihandsfigur: Form 39">
              <a:extLst>
                <a:ext uri="{FF2B5EF4-FFF2-40B4-BE49-F238E27FC236}">
                  <a16:creationId xmlns:a16="http://schemas.microsoft.com/office/drawing/2014/main" id="{09EDC62B-8CD7-9182-AF64-E2A0B1D5323A}"/>
                </a:ext>
              </a:extLst>
            </p:cNvPr>
            <p:cNvSpPr/>
            <p:nvPr/>
          </p:nvSpPr>
          <p:spPr>
            <a:xfrm>
              <a:off x="12048970" y="1485142"/>
              <a:ext cx="142966" cy="86350"/>
            </a:xfrm>
            <a:custGeom>
              <a:avLst/>
              <a:gdLst>
                <a:gd name="connsiteX0" fmla="*/ 142967 w 142966"/>
                <a:gd name="connsiteY0" fmla="*/ 0 h 86350"/>
                <a:gd name="connsiteX1" fmla="*/ 0 w 142966"/>
                <a:gd name="connsiteY1" fmla="*/ 66380 h 86350"/>
                <a:gd name="connsiteX2" fmla="*/ 4755 w 142966"/>
                <a:gd name="connsiteY2" fmla="*/ 86351 h 86350"/>
                <a:gd name="connsiteX3" fmla="*/ 142903 w 142966"/>
                <a:gd name="connsiteY3" fmla="*/ 22190 h 86350"/>
                <a:gd name="connsiteX4" fmla="*/ 142903 w 142966"/>
                <a:gd name="connsiteY4" fmla="*/ 0 h 8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966" h="86350">
                  <a:moveTo>
                    <a:pt x="142967" y="0"/>
                  </a:moveTo>
                  <a:lnTo>
                    <a:pt x="0" y="66380"/>
                  </a:lnTo>
                  <a:cubicBezTo>
                    <a:pt x="2219" y="72847"/>
                    <a:pt x="3867" y="79503"/>
                    <a:pt x="4755" y="86351"/>
                  </a:cubicBezTo>
                  <a:lnTo>
                    <a:pt x="142903" y="22190"/>
                  </a:lnTo>
                  <a:lnTo>
                    <a:pt x="142903" y="0"/>
                  </a:lnTo>
                  <a:close/>
                </a:path>
              </a:pathLst>
            </a:custGeom>
            <a:grpFill/>
            <a:ln w="0" cap="flat">
              <a:noFill/>
              <a:prstDash val="solid"/>
              <a:miter/>
            </a:ln>
          </p:spPr>
          <p:txBody>
            <a:bodyPr rtlCol="0" anchor="ctr"/>
            <a:lstStyle/>
            <a:p>
              <a:endParaRPr lang="sv-SE"/>
            </a:p>
          </p:txBody>
        </p:sp>
        <p:sp>
          <p:nvSpPr>
            <p:cNvPr id="41" name="Frihandsfigur: Form 40">
              <a:extLst>
                <a:ext uri="{FF2B5EF4-FFF2-40B4-BE49-F238E27FC236}">
                  <a16:creationId xmlns:a16="http://schemas.microsoft.com/office/drawing/2014/main" id="{7C8F0A86-1B44-301B-482C-31C7178FB099}"/>
                </a:ext>
              </a:extLst>
            </p:cNvPr>
            <p:cNvSpPr/>
            <p:nvPr/>
          </p:nvSpPr>
          <p:spPr>
            <a:xfrm>
              <a:off x="11991276" y="1394860"/>
              <a:ext cx="200660" cy="106258"/>
            </a:xfrm>
            <a:custGeom>
              <a:avLst/>
              <a:gdLst>
                <a:gd name="connsiteX0" fmla="*/ 200661 w 200660"/>
                <a:gd name="connsiteY0" fmla="*/ 0 h 106258"/>
                <a:gd name="connsiteX1" fmla="*/ 0 w 200660"/>
                <a:gd name="connsiteY1" fmla="*/ 93198 h 106258"/>
                <a:gd name="connsiteX2" fmla="*/ 14328 w 200660"/>
                <a:gd name="connsiteY2" fmla="*/ 102708 h 106258"/>
                <a:gd name="connsiteX3" fmla="*/ 19717 w 200660"/>
                <a:gd name="connsiteY3" fmla="*/ 106258 h 106258"/>
                <a:gd name="connsiteX4" fmla="*/ 200661 w 200660"/>
                <a:gd name="connsiteY4" fmla="*/ 22190 h 106258"/>
                <a:gd name="connsiteX5" fmla="*/ 200661 w 200660"/>
                <a:gd name="connsiteY5" fmla="*/ 0 h 10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60" h="106258">
                  <a:moveTo>
                    <a:pt x="200661" y="0"/>
                  </a:moveTo>
                  <a:lnTo>
                    <a:pt x="0" y="93198"/>
                  </a:lnTo>
                  <a:cubicBezTo>
                    <a:pt x="4692" y="96495"/>
                    <a:pt x="9447" y="99665"/>
                    <a:pt x="14328" y="102708"/>
                  </a:cubicBezTo>
                  <a:cubicBezTo>
                    <a:pt x="16167" y="103849"/>
                    <a:pt x="17942" y="104990"/>
                    <a:pt x="19717" y="106258"/>
                  </a:cubicBezTo>
                  <a:lnTo>
                    <a:pt x="200661" y="22190"/>
                  </a:lnTo>
                  <a:lnTo>
                    <a:pt x="200661" y="0"/>
                  </a:lnTo>
                  <a:close/>
                </a:path>
              </a:pathLst>
            </a:custGeom>
            <a:grpFill/>
            <a:ln w="0" cap="flat">
              <a:noFill/>
              <a:prstDash val="solid"/>
              <a:miter/>
            </a:ln>
          </p:spPr>
          <p:txBody>
            <a:bodyPr rtlCol="0" anchor="ctr"/>
            <a:lstStyle/>
            <a:p>
              <a:endParaRPr lang="sv-SE"/>
            </a:p>
          </p:txBody>
        </p:sp>
        <p:sp>
          <p:nvSpPr>
            <p:cNvPr id="42" name="Frihandsfigur: Form 41">
              <a:extLst>
                <a:ext uri="{FF2B5EF4-FFF2-40B4-BE49-F238E27FC236}">
                  <a16:creationId xmlns:a16="http://schemas.microsoft.com/office/drawing/2014/main" id="{FEF013CA-54EA-600D-CB8B-1B9117E1B1A2}"/>
                </a:ext>
              </a:extLst>
            </p:cNvPr>
            <p:cNvSpPr/>
            <p:nvPr/>
          </p:nvSpPr>
          <p:spPr>
            <a:xfrm>
              <a:off x="11929525" y="1304642"/>
              <a:ext cx="262475" cy="138211"/>
            </a:xfrm>
            <a:custGeom>
              <a:avLst/>
              <a:gdLst>
                <a:gd name="connsiteX0" fmla="*/ 262412 w 262475"/>
                <a:gd name="connsiteY0" fmla="*/ 0 h 138211"/>
                <a:gd name="connsiteX1" fmla="*/ 0 w 262475"/>
                <a:gd name="connsiteY1" fmla="*/ 121918 h 138211"/>
                <a:gd name="connsiteX2" fmla="*/ 12680 w 262475"/>
                <a:gd name="connsiteY2" fmla="*/ 138212 h 138211"/>
                <a:gd name="connsiteX3" fmla="*/ 262476 w 262475"/>
                <a:gd name="connsiteY3" fmla="*/ 22190 h 138211"/>
                <a:gd name="connsiteX4" fmla="*/ 262476 w 262475"/>
                <a:gd name="connsiteY4" fmla="*/ 0 h 13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75" h="138211">
                  <a:moveTo>
                    <a:pt x="262412" y="0"/>
                  </a:moveTo>
                  <a:lnTo>
                    <a:pt x="0" y="121918"/>
                  </a:lnTo>
                  <a:cubicBezTo>
                    <a:pt x="3994" y="127497"/>
                    <a:pt x="8242" y="132950"/>
                    <a:pt x="12680" y="138212"/>
                  </a:cubicBezTo>
                  <a:lnTo>
                    <a:pt x="262476" y="22190"/>
                  </a:lnTo>
                  <a:lnTo>
                    <a:pt x="262476" y="0"/>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3566896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5_Mönster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5" name="textruta 4">
            <a:extLst>
              <a:ext uri="{FF2B5EF4-FFF2-40B4-BE49-F238E27FC236}">
                <a16:creationId xmlns:a16="http://schemas.microsoft.com/office/drawing/2014/main" id="{E321CA30-00B9-E5D3-0D2B-A095164FAA6D}"/>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sp>
        <p:nvSpPr>
          <p:cNvPr id="8" name="Platshållare för bildnummer 7">
            <a:extLst>
              <a:ext uri="{FF2B5EF4-FFF2-40B4-BE49-F238E27FC236}">
                <a16:creationId xmlns:a16="http://schemas.microsoft.com/office/drawing/2014/main" id="{12E519ED-2F85-6FF9-ECF0-8FA9972E6619}"/>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9" name="Rubrik 2">
            <a:extLst>
              <a:ext uri="{FF2B5EF4-FFF2-40B4-BE49-F238E27FC236}">
                <a16:creationId xmlns:a16="http://schemas.microsoft.com/office/drawing/2014/main" id="{6417FAB7-E199-0A0D-50ED-5987D338EFE5}"/>
              </a:ext>
            </a:extLst>
          </p:cNvPr>
          <p:cNvSpPr>
            <a:spLocks noGrp="1"/>
          </p:cNvSpPr>
          <p:nvPr>
            <p:ph type="title" hasCustomPrompt="1"/>
          </p:nvPr>
        </p:nvSpPr>
        <p:spPr>
          <a:xfrm>
            <a:off x="895799" y="1031048"/>
            <a:ext cx="7239208" cy="1232398"/>
          </a:xfrm>
        </p:spPr>
        <p:txBody>
          <a:bodyPr>
            <a:normAutofit/>
          </a:bodyPr>
          <a:lstStyle>
            <a:lvl1pPr>
              <a:defRPr sz="4000">
                <a:solidFill>
                  <a:schemeClr val="bg1"/>
                </a:solidFill>
              </a:defRPr>
            </a:lvl1pPr>
          </a:lstStyle>
          <a:p>
            <a:r>
              <a:rPr lang="sv-SE"/>
              <a:t>Rubrik</a:t>
            </a:r>
          </a:p>
        </p:txBody>
      </p:sp>
      <p:sp>
        <p:nvSpPr>
          <p:cNvPr id="10" name="Content Placeholder 2">
            <a:extLst>
              <a:ext uri="{FF2B5EF4-FFF2-40B4-BE49-F238E27FC236}">
                <a16:creationId xmlns:a16="http://schemas.microsoft.com/office/drawing/2014/main" id="{52C81DFB-13E7-6CBC-B3CD-8656FC9434FF}"/>
              </a:ext>
            </a:extLst>
          </p:cNvPr>
          <p:cNvSpPr>
            <a:spLocks noGrp="1"/>
          </p:cNvSpPr>
          <p:nvPr>
            <p:ph sz="half" idx="11"/>
          </p:nvPr>
        </p:nvSpPr>
        <p:spPr>
          <a:xfrm>
            <a:off x="895799" y="2523796"/>
            <a:ext cx="7239208"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grpSp>
        <p:nvGrpSpPr>
          <p:cNvPr id="3" name="Grupp 2">
            <a:extLst>
              <a:ext uri="{FF2B5EF4-FFF2-40B4-BE49-F238E27FC236}">
                <a16:creationId xmlns:a16="http://schemas.microsoft.com/office/drawing/2014/main" id="{92EC54E9-2CC4-298E-4529-31B20392DD56}"/>
              </a:ext>
            </a:extLst>
          </p:cNvPr>
          <p:cNvGrpSpPr/>
          <p:nvPr userDrawn="1"/>
        </p:nvGrpSpPr>
        <p:grpSpPr>
          <a:xfrm>
            <a:off x="8780960" y="0"/>
            <a:ext cx="3411040" cy="2155912"/>
            <a:chOff x="8780960" y="0"/>
            <a:chExt cx="3411040" cy="2155912"/>
          </a:xfrm>
          <a:solidFill>
            <a:schemeClr val="accent5"/>
          </a:solidFill>
        </p:grpSpPr>
        <p:sp>
          <p:nvSpPr>
            <p:cNvPr id="6" name="Frihandsfigur: Form 5">
              <a:extLst>
                <a:ext uri="{FF2B5EF4-FFF2-40B4-BE49-F238E27FC236}">
                  <a16:creationId xmlns:a16="http://schemas.microsoft.com/office/drawing/2014/main" id="{17D6B1D9-9489-AF9A-313D-59596957A41D}"/>
                </a:ext>
              </a:extLst>
            </p:cNvPr>
            <p:cNvSpPr/>
            <p:nvPr/>
          </p:nvSpPr>
          <p:spPr>
            <a:xfrm>
              <a:off x="8780960" y="394347"/>
              <a:ext cx="2381680" cy="521590"/>
            </a:xfrm>
            <a:custGeom>
              <a:avLst/>
              <a:gdLst>
                <a:gd name="connsiteX0" fmla="*/ 2122185 w 2381680"/>
                <a:gd name="connsiteY0" fmla="*/ 63 h 521590"/>
                <a:gd name="connsiteX1" fmla="*/ 1898954 w 2381680"/>
                <a:gd name="connsiteY1" fmla="*/ 123947 h 521590"/>
                <a:gd name="connsiteX2" fmla="*/ 1811018 w 2381680"/>
                <a:gd name="connsiteY2" fmla="*/ 173652 h 521590"/>
                <a:gd name="connsiteX3" fmla="*/ 1810764 w 2381680"/>
                <a:gd name="connsiteY3" fmla="*/ 173652 h 521590"/>
                <a:gd name="connsiteX4" fmla="*/ 1723272 w 2381680"/>
                <a:gd name="connsiteY4" fmla="*/ 124581 h 521590"/>
                <a:gd name="connsiteX5" fmla="*/ 1500866 w 2381680"/>
                <a:gd name="connsiteY5" fmla="*/ 0 h 521590"/>
                <a:gd name="connsiteX6" fmla="*/ 1278459 w 2381680"/>
                <a:gd name="connsiteY6" fmla="*/ 124581 h 521590"/>
                <a:gd name="connsiteX7" fmla="*/ 1190967 w 2381680"/>
                <a:gd name="connsiteY7" fmla="*/ 173652 h 521590"/>
                <a:gd name="connsiteX8" fmla="*/ 1190713 w 2381680"/>
                <a:gd name="connsiteY8" fmla="*/ 173652 h 521590"/>
                <a:gd name="connsiteX9" fmla="*/ 1103222 w 2381680"/>
                <a:gd name="connsiteY9" fmla="*/ 124581 h 521590"/>
                <a:gd name="connsiteX10" fmla="*/ 880815 w 2381680"/>
                <a:gd name="connsiteY10" fmla="*/ 0 h 521590"/>
                <a:gd name="connsiteX11" fmla="*/ 658408 w 2381680"/>
                <a:gd name="connsiteY11" fmla="*/ 124581 h 521590"/>
                <a:gd name="connsiteX12" fmla="*/ 570916 w 2381680"/>
                <a:gd name="connsiteY12" fmla="*/ 173652 h 521590"/>
                <a:gd name="connsiteX13" fmla="*/ 570662 w 2381680"/>
                <a:gd name="connsiteY13" fmla="*/ 173652 h 521590"/>
                <a:gd name="connsiteX14" fmla="*/ 482727 w 2381680"/>
                <a:gd name="connsiteY14" fmla="*/ 123947 h 521590"/>
                <a:gd name="connsiteX15" fmla="*/ 259496 w 2381680"/>
                <a:gd name="connsiteY15" fmla="*/ 63 h 521590"/>
                <a:gd name="connsiteX16" fmla="*/ 0 w 2381680"/>
                <a:gd name="connsiteY16" fmla="*/ 260827 h 521590"/>
                <a:gd name="connsiteX17" fmla="*/ 260764 w 2381680"/>
                <a:gd name="connsiteY17" fmla="*/ 521591 h 521590"/>
                <a:gd name="connsiteX18" fmla="*/ 483171 w 2381680"/>
                <a:gd name="connsiteY18" fmla="*/ 397010 h 521590"/>
                <a:gd name="connsiteX19" fmla="*/ 570662 w 2381680"/>
                <a:gd name="connsiteY19" fmla="*/ 347939 h 521590"/>
                <a:gd name="connsiteX20" fmla="*/ 570916 w 2381680"/>
                <a:gd name="connsiteY20" fmla="*/ 347939 h 521590"/>
                <a:gd name="connsiteX21" fmla="*/ 658408 w 2381680"/>
                <a:gd name="connsiteY21" fmla="*/ 397010 h 521590"/>
                <a:gd name="connsiteX22" fmla="*/ 880815 w 2381680"/>
                <a:gd name="connsiteY22" fmla="*/ 521591 h 521590"/>
                <a:gd name="connsiteX23" fmla="*/ 1103222 w 2381680"/>
                <a:gd name="connsiteY23" fmla="*/ 397010 h 521590"/>
                <a:gd name="connsiteX24" fmla="*/ 1190713 w 2381680"/>
                <a:gd name="connsiteY24" fmla="*/ 347939 h 521590"/>
                <a:gd name="connsiteX25" fmla="*/ 1190967 w 2381680"/>
                <a:gd name="connsiteY25" fmla="*/ 347939 h 521590"/>
                <a:gd name="connsiteX26" fmla="*/ 1278459 w 2381680"/>
                <a:gd name="connsiteY26" fmla="*/ 397010 h 521590"/>
                <a:gd name="connsiteX27" fmla="*/ 1500866 w 2381680"/>
                <a:gd name="connsiteY27" fmla="*/ 521591 h 521590"/>
                <a:gd name="connsiteX28" fmla="*/ 1723272 w 2381680"/>
                <a:gd name="connsiteY28" fmla="*/ 397010 h 521590"/>
                <a:gd name="connsiteX29" fmla="*/ 1810764 w 2381680"/>
                <a:gd name="connsiteY29" fmla="*/ 347939 h 521590"/>
                <a:gd name="connsiteX30" fmla="*/ 1811018 w 2381680"/>
                <a:gd name="connsiteY30" fmla="*/ 347939 h 521590"/>
                <a:gd name="connsiteX31" fmla="*/ 1898510 w 2381680"/>
                <a:gd name="connsiteY31" fmla="*/ 397010 h 521590"/>
                <a:gd name="connsiteX32" fmla="*/ 2120917 w 2381680"/>
                <a:gd name="connsiteY32" fmla="*/ 521591 h 521590"/>
                <a:gd name="connsiteX33" fmla="*/ 2381680 w 2381680"/>
                <a:gd name="connsiteY33" fmla="*/ 260827 h 521590"/>
                <a:gd name="connsiteX34" fmla="*/ 2122185 w 2381680"/>
                <a:gd name="connsiteY34" fmla="*/ 63 h 52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81680" h="521590">
                  <a:moveTo>
                    <a:pt x="2122185" y="63"/>
                  </a:moveTo>
                  <a:cubicBezTo>
                    <a:pt x="2027845" y="-380"/>
                    <a:pt x="1945045" y="49262"/>
                    <a:pt x="1898954" y="123947"/>
                  </a:cubicBezTo>
                  <a:cubicBezTo>
                    <a:pt x="1880060" y="154569"/>
                    <a:pt x="1847029" y="173652"/>
                    <a:pt x="1811018" y="173652"/>
                  </a:cubicBezTo>
                  <a:lnTo>
                    <a:pt x="1810764" y="173652"/>
                  </a:lnTo>
                  <a:cubicBezTo>
                    <a:pt x="1775070" y="173652"/>
                    <a:pt x="1741975" y="155076"/>
                    <a:pt x="1723272" y="124581"/>
                  </a:cubicBezTo>
                  <a:cubicBezTo>
                    <a:pt x="1677434" y="49896"/>
                    <a:pt x="1594951" y="0"/>
                    <a:pt x="1500866" y="0"/>
                  </a:cubicBezTo>
                  <a:cubicBezTo>
                    <a:pt x="1406780" y="0"/>
                    <a:pt x="1324360" y="49832"/>
                    <a:pt x="1278459" y="124581"/>
                  </a:cubicBezTo>
                  <a:cubicBezTo>
                    <a:pt x="1259756" y="155013"/>
                    <a:pt x="1226661" y="173652"/>
                    <a:pt x="1190967" y="173652"/>
                  </a:cubicBezTo>
                  <a:lnTo>
                    <a:pt x="1190713" y="173652"/>
                  </a:lnTo>
                  <a:cubicBezTo>
                    <a:pt x="1155019" y="173652"/>
                    <a:pt x="1121925" y="155076"/>
                    <a:pt x="1103222" y="124581"/>
                  </a:cubicBezTo>
                  <a:cubicBezTo>
                    <a:pt x="1057383" y="49896"/>
                    <a:pt x="974900" y="0"/>
                    <a:pt x="880815" y="0"/>
                  </a:cubicBezTo>
                  <a:cubicBezTo>
                    <a:pt x="786729" y="0"/>
                    <a:pt x="704309" y="49832"/>
                    <a:pt x="658408" y="124581"/>
                  </a:cubicBezTo>
                  <a:cubicBezTo>
                    <a:pt x="639705" y="155013"/>
                    <a:pt x="606610" y="173652"/>
                    <a:pt x="570916" y="173652"/>
                  </a:cubicBezTo>
                  <a:lnTo>
                    <a:pt x="570662" y="173652"/>
                  </a:lnTo>
                  <a:cubicBezTo>
                    <a:pt x="534651" y="173652"/>
                    <a:pt x="501683" y="154569"/>
                    <a:pt x="482727" y="123947"/>
                  </a:cubicBezTo>
                  <a:cubicBezTo>
                    <a:pt x="436572" y="49262"/>
                    <a:pt x="353835" y="-380"/>
                    <a:pt x="259496" y="63"/>
                  </a:cubicBezTo>
                  <a:cubicBezTo>
                    <a:pt x="115768" y="761"/>
                    <a:pt x="0" y="117100"/>
                    <a:pt x="0" y="260827"/>
                  </a:cubicBezTo>
                  <a:cubicBezTo>
                    <a:pt x="0" y="404555"/>
                    <a:pt x="116719" y="521591"/>
                    <a:pt x="260764" y="521591"/>
                  </a:cubicBezTo>
                  <a:cubicBezTo>
                    <a:pt x="354849" y="521591"/>
                    <a:pt x="437269" y="471759"/>
                    <a:pt x="483171" y="397010"/>
                  </a:cubicBezTo>
                  <a:cubicBezTo>
                    <a:pt x="501874" y="366578"/>
                    <a:pt x="534968" y="347939"/>
                    <a:pt x="570662" y="347939"/>
                  </a:cubicBezTo>
                  <a:lnTo>
                    <a:pt x="570916" y="347939"/>
                  </a:lnTo>
                  <a:cubicBezTo>
                    <a:pt x="606610" y="347939"/>
                    <a:pt x="639705" y="366515"/>
                    <a:pt x="658408" y="397010"/>
                  </a:cubicBezTo>
                  <a:cubicBezTo>
                    <a:pt x="704246" y="471695"/>
                    <a:pt x="786729" y="521591"/>
                    <a:pt x="880815" y="521591"/>
                  </a:cubicBezTo>
                  <a:cubicBezTo>
                    <a:pt x="974900" y="521591"/>
                    <a:pt x="1057320" y="471759"/>
                    <a:pt x="1103222" y="397010"/>
                  </a:cubicBezTo>
                  <a:cubicBezTo>
                    <a:pt x="1121925" y="366578"/>
                    <a:pt x="1155019" y="347939"/>
                    <a:pt x="1190713" y="347939"/>
                  </a:cubicBezTo>
                  <a:lnTo>
                    <a:pt x="1190967" y="347939"/>
                  </a:lnTo>
                  <a:cubicBezTo>
                    <a:pt x="1226661" y="347939"/>
                    <a:pt x="1259756" y="366515"/>
                    <a:pt x="1278459" y="397010"/>
                  </a:cubicBezTo>
                  <a:cubicBezTo>
                    <a:pt x="1324297" y="471695"/>
                    <a:pt x="1406780" y="521591"/>
                    <a:pt x="1500866" y="521591"/>
                  </a:cubicBezTo>
                  <a:cubicBezTo>
                    <a:pt x="1594951" y="521591"/>
                    <a:pt x="1677371" y="471759"/>
                    <a:pt x="1723272" y="397010"/>
                  </a:cubicBezTo>
                  <a:cubicBezTo>
                    <a:pt x="1741975" y="366578"/>
                    <a:pt x="1775070" y="347939"/>
                    <a:pt x="1810764" y="347939"/>
                  </a:cubicBezTo>
                  <a:lnTo>
                    <a:pt x="1811018" y="347939"/>
                  </a:lnTo>
                  <a:cubicBezTo>
                    <a:pt x="1846712" y="347939"/>
                    <a:pt x="1879807" y="366515"/>
                    <a:pt x="1898510" y="397010"/>
                  </a:cubicBezTo>
                  <a:cubicBezTo>
                    <a:pt x="1944348" y="471695"/>
                    <a:pt x="2026831" y="521591"/>
                    <a:pt x="2120917" y="521591"/>
                  </a:cubicBezTo>
                  <a:cubicBezTo>
                    <a:pt x="2264961" y="521591"/>
                    <a:pt x="2381680" y="404872"/>
                    <a:pt x="2381680" y="260827"/>
                  </a:cubicBezTo>
                  <a:cubicBezTo>
                    <a:pt x="2381680" y="117100"/>
                    <a:pt x="2265912" y="761"/>
                    <a:pt x="2122185" y="63"/>
                  </a:cubicBezTo>
                  <a:close/>
                </a:path>
              </a:pathLst>
            </a:custGeom>
            <a:grpFill/>
            <a:ln w="0" cap="flat">
              <a:noFill/>
              <a:prstDash val="solid"/>
              <a:miter/>
            </a:ln>
          </p:spPr>
          <p:txBody>
            <a:bodyPr rtlCol="0" anchor="ctr"/>
            <a:lstStyle/>
            <a:p>
              <a:endParaRPr lang="sv-SE"/>
            </a:p>
          </p:txBody>
        </p:sp>
        <p:sp>
          <p:nvSpPr>
            <p:cNvPr id="7" name="Frihandsfigur: Form 6">
              <a:extLst>
                <a:ext uri="{FF2B5EF4-FFF2-40B4-BE49-F238E27FC236}">
                  <a16:creationId xmlns:a16="http://schemas.microsoft.com/office/drawing/2014/main" id="{6913833D-C78B-8B41-EF76-1E11BDEEC747}"/>
                </a:ext>
              </a:extLst>
            </p:cNvPr>
            <p:cNvSpPr/>
            <p:nvPr/>
          </p:nvSpPr>
          <p:spPr>
            <a:xfrm>
              <a:off x="11245947" y="384393"/>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7 h 541688"/>
                <a:gd name="connsiteX6" fmla="*/ 20161 w 541688"/>
                <a:gd name="connsiteY6" fmla="*/ 270844 h 541688"/>
                <a:gd name="connsiteX7" fmla="*/ 270844 w 541688"/>
                <a:gd name="connsiteY7" fmla="*/ 20161 h 541688"/>
                <a:gd name="connsiteX8" fmla="*/ 521528 w 541688"/>
                <a:gd name="connsiteY8" fmla="*/ 270844 h 541688"/>
                <a:gd name="connsiteX9" fmla="*/ 270844 w 541688"/>
                <a:gd name="connsiteY9" fmla="*/ 521527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4" y="541689"/>
                    <a:pt x="541689" y="420214"/>
                    <a:pt x="541689" y="270844"/>
                  </a:cubicBezTo>
                  <a:cubicBezTo>
                    <a:pt x="541689" y="121474"/>
                    <a:pt x="420214" y="0"/>
                    <a:pt x="270844" y="0"/>
                  </a:cubicBezTo>
                  <a:close/>
                  <a:moveTo>
                    <a:pt x="270844" y="521527"/>
                  </a:moveTo>
                  <a:cubicBezTo>
                    <a:pt x="132633" y="521527"/>
                    <a:pt x="20161" y="409056"/>
                    <a:pt x="20161" y="270844"/>
                  </a:cubicBezTo>
                  <a:cubicBezTo>
                    <a:pt x="20161" y="132633"/>
                    <a:pt x="132633" y="20161"/>
                    <a:pt x="270844" y="20161"/>
                  </a:cubicBezTo>
                  <a:cubicBezTo>
                    <a:pt x="409056" y="20161"/>
                    <a:pt x="521528" y="132633"/>
                    <a:pt x="521528" y="270844"/>
                  </a:cubicBezTo>
                  <a:cubicBezTo>
                    <a:pt x="521528" y="409056"/>
                    <a:pt x="409056" y="521527"/>
                    <a:pt x="270844" y="521527"/>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00DC4A06-C4A1-F771-7B02-C60EB03752E9}"/>
                </a:ext>
              </a:extLst>
            </p:cNvPr>
            <p:cNvSpPr/>
            <p:nvPr/>
          </p:nvSpPr>
          <p:spPr>
            <a:xfrm>
              <a:off x="9385985" y="1003683"/>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8 h 541688"/>
                <a:gd name="connsiteX6" fmla="*/ 20161 w 541688"/>
                <a:gd name="connsiteY6" fmla="*/ 270844 h 541688"/>
                <a:gd name="connsiteX7" fmla="*/ 270844 w 541688"/>
                <a:gd name="connsiteY7" fmla="*/ 20161 h 541688"/>
                <a:gd name="connsiteX8" fmla="*/ 521527 w 541688"/>
                <a:gd name="connsiteY8" fmla="*/ 270844 h 541688"/>
                <a:gd name="connsiteX9" fmla="*/ 270844 w 541688"/>
                <a:gd name="connsiteY9" fmla="*/ 521528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4" y="541689"/>
                    <a:pt x="541689" y="420214"/>
                    <a:pt x="541689" y="270844"/>
                  </a:cubicBezTo>
                  <a:cubicBezTo>
                    <a:pt x="541689" y="121474"/>
                    <a:pt x="420214" y="0"/>
                    <a:pt x="270844" y="0"/>
                  </a:cubicBezTo>
                  <a:close/>
                  <a:moveTo>
                    <a:pt x="270844" y="521528"/>
                  </a:moveTo>
                  <a:cubicBezTo>
                    <a:pt x="132633" y="521528"/>
                    <a:pt x="20161" y="409056"/>
                    <a:pt x="20161" y="270844"/>
                  </a:cubicBezTo>
                  <a:cubicBezTo>
                    <a:pt x="20161" y="132633"/>
                    <a:pt x="132633" y="20161"/>
                    <a:pt x="270844" y="20161"/>
                  </a:cubicBezTo>
                  <a:cubicBezTo>
                    <a:pt x="409056" y="20161"/>
                    <a:pt x="521527" y="132633"/>
                    <a:pt x="521527" y="270844"/>
                  </a:cubicBezTo>
                  <a:cubicBezTo>
                    <a:pt x="521527" y="409056"/>
                    <a:pt x="409056" y="521528"/>
                    <a:pt x="270844" y="521528"/>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DC241316-7E7D-4E10-BA3B-DBBD9269B58C}"/>
                </a:ext>
              </a:extLst>
            </p:cNvPr>
            <p:cNvSpPr/>
            <p:nvPr/>
          </p:nvSpPr>
          <p:spPr>
            <a:xfrm>
              <a:off x="10005972" y="1003683"/>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8 h 541688"/>
                <a:gd name="connsiteX6" fmla="*/ 20161 w 541688"/>
                <a:gd name="connsiteY6" fmla="*/ 270844 h 541688"/>
                <a:gd name="connsiteX7" fmla="*/ 270844 w 541688"/>
                <a:gd name="connsiteY7" fmla="*/ 20161 h 541688"/>
                <a:gd name="connsiteX8" fmla="*/ 521527 w 541688"/>
                <a:gd name="connsiteY8" fmla="*/ 270844 h 541688"/>
                <a:gd name="connsiteX9" fmla="*/ 270844 w 541688"/>
                <a:gd name="connsiteY9" fmla="*/ 521528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5" y="541689"/>
                    <a:pt x="541689" y="420214"/>
                    <a:pt x="541689" y="270844"/>
                  </a:cubicBezTo>
                  <a:cubicBezTo>
                    <a:pt x="541689" y="121474"/>
                    <a:pt x="420215" y="0"/>
                    <a:pt x="270844" y="0"/>
                  </a:cubicBezTo>
                  <a:close/>
                  <a:moveTo>
                    <a:pt x="270844" y="521528"/>
                  </a:moveTo>
                  <a:cubicBezTo>
                    <a:pt x="132633" y="521528"/>
                    <a:pt x="20161" y="409056"/>
                    <a:pt x="20161" y="270844"/>
                  </a:cubicBezTo>
                  <a:cubicBezTo>
                    <a:pt x="20161" y="132633"/>
                    <a:pt x="132633" y="20161"/>
                    <a:pt x="270844" y="20161"/>
                  </a:cubicBezTo>
                  <a:cubicBezTo>
                    <a:pt x="409056" y="20161"/>
                    <a:pt x="521527" y="132633"/>
                    <a:pt x="521527" y="270844"/>
                  </a:cubicBezTo>
                  <a:cubicBezTo>
                    <a:pt x="521527" y="409056"/>
                    <a:pt x="409056" y="521528"/>
                    <a:pt x="270844" y="521528"/>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F143E206-3AB5-1DCD-C404-BA306DF42836}"/>
                </a:ext>
              </a:extLst>
            </p:cNvPr>
            <p:cNvSpPr/>
            <p:nvPr/>
          </p:nvSpPr>
          <p:spPr>
            <a:xfrm>
              <a:off x="10636040" y="1013700"/>
              <a:ext cx="521527" cy="521527"/>
            </a:xfrm>
            <a:custGeom>
              <a:avLst/>
              <a:gdLst>
                <a:gd name="connsiteX0" fmla="*/ 521527 w 521527"/>
                <a:gd name="connsiteY0" fmla="*/ 260764 h 521527"/>
                <a:gd name="connsiteX1" fmla="*/ 260764 w 521527"/>
                <a:gd name="connsiteY1" fmla="*/ 521528 h 521527"/>
                <a:gd name="connsiteX2" fmla="*/ 0 w 521527"/>
                <a:gd name="connsiteY2" fmla="*/ 260764 h 521527"/>
                <a:gd name="connsiteX3" fmla="*/ 260764 w 521527"/>
                <a:gd name="connsiteY3" fmla="*/ 0 h 521527"/>
                <a:gd name="connsiteX4" fmla="*/ 521527 w 521527"/>
                <a:gd name="connsiteY4" fmla="*/ 260764 h 52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27" h="521527">
                  <a:moveTo>
                    <a:pt x="521527" y="260764"/>
                  </a:moveTo>
                  <a:cubicBezTo>
                    <a:pt x="521527" y="404780"/>
                    <a:pt x="404780" y="521528"/>
                    <a:pt x="260764" y="521528"/>
                  </a:cubicBezTo>
                  <a:cubicBezTo>
                    <a:pt x="116748" y="521528"/>
                    <a:pt x="0" y="404780"/>
                    <a:pt x="0" y="260764"/>
                  </a:cubicBezTo>
                  <a:cubicBezTo>
                    <a:pt x="0" y="116748"/>
                    <a:pt x="116748" y="0"/>
                    <a:pt x="260764" y="0"/>
                  </a:cubicBezTo>
                  <a:cubicBezTo>
                    <a:pt x="404780" y="0"/>
                    <a:pt x="521527" y="116748"/>
                    <a:pt x="521527" y="260764"/>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D4319C64-1E35-6002-5EC7-E8B5C48D1010}"/>
                </a:ext>
              </a:extLst>
            </p:cNvPr>
            <p:cNvSpPr/>
            <p:nvPr/>
          </p:nvSpPr>
          <p:spPr>
            <a:xfrm>
              <a:off x="11256028" y="1013700"/>
              <a:ext cx="521527" cy="521527"/>
            </a:xfrm>
            <a:custGeom>
              <a:avLst/>
              <a:gdLst>
                <a:gd name="connsiteX0" fmla="*/ 521528 w 521527"/>
                <a:gd name="connsiteY0" fmla="*/ 260764 h 521527"/>
                <a:gd name="connsiteX1" fmla="*/ 260764 w 521527"/>
                <a:gd name="connsiteY1" fmla="*/ 521528 h 521527"/>
                <a:gd name="connsiteX2" fmla="*/ 0 w 521527"/>
                <a:gd name="connsiteY2" fmla="*/ 260764 h 521527"/>
                <a:gd name="connsiteX3" fmla="*/ 260764 w 521527"/>
                <a:gd name="connsiteY3" fmla="*/ 0 h 521527"/>
                <a:gd name="connsiteX4" fmla="*/ 521528 w 521527"/>
                <a:gd name="connsiteY4" fmla="*/ 260764 h 52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27" h="521527">
                  <a:moveTo>
                    <a:pt x="521528" y="260764"/>
                  </a:moveTo>
                  <a:cubicBezTo>
                    <a:pt x="521528" y="404780"/>
                    <a:pt x="404780" y="521528"/>
                    <a:pt x="260764" y="521528"/>
                  </a:cubicBezTo>
                  <a:cubicBezTo>
                    <a:pt x="116748" y="521528"/>
                    <a:pt x="0" y="404780"/>
                    <a:pt x="0" y="260764"/>
                  </a:cubicBezTo>
                  <a:cubicBezTo>
                    <a:pt x="0" y="116748"/>
                    <a:pt x="116748" y="0"/>
                    <a:pt x="260764" y="0"/>
                  </a:cubicBezTo>
                  <a:cubicBezTo>
                    <a:pt x="404780" y="0"/>
                    <a:pt x="521528" y="116748"/>
                    <a:pt x="521528" y="260764"/>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9390675E-8643-1259-74D7-C428FA14DD5D}"/>
                </a:ext>
              </a:extLst>
            </p:cNvPr>
            <p:cNvSpPr/>
            <p:nvPr/>
          </p:nvSpPr>
          <p:spPr>
            <a:xfrm>
              <a:off x="9484001" y="26501"/>
              <a:ext cx="436064" cy="216637"/>
            </a:xfrm>
            <a:custGeom>
              <a:avLst/>
              <a:gdLst>
                <a:gd name="connsiteX0" fmla="*/ 17181 w 436064"/>
                <a:gd name="connsiteY0" fmla="*/ 216637 h 216637"/>
                <a:gd name="connsiteX1" fmla="*/ 435747 w 436064"/>
                <a:gd name="connsiteY1" fmla="*/ 22190 h 216637"/>
                <a:gd name="connsiteX2" fmla="*/ 436064 w 436064"/>
                <a:gd name="connsiteY2" fmla="*/ 9383 h 216637"/>
                <a:gd name="connsiteX3" fmla="*/ 435811 w 436064"/>
                <a:gd name="connsiteY3" fmla="*/ 0 h 216637"/>
                <a:gd name="connsiteX4" fmla="*/ 0 w 436064"/>
                <a:gd name="connsiteY4" fmla="*/ 202436 h 216637"/>
                <a:gd name="connsiteX5" fmla="*/ 17118 w 436064"/>
                <a:gd name="connsiteY5" fmla="*/ 216637 h 21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064" h="216637">
                  <a:moveTo>
                    <a:pt x="17181" y="216637"/>
                  </a:moveTo>
                  <a:lnTo>
                    <a:pt x="435747" y="22190"/>
                  </a:lnTo>
                  <a:cubicBezTo>
                    <a:pt x="435938" y="17942"/>
                    <a:pt x="436064" y="13694"/>
                    <a:pt x="436064" y="9383"/>
                  </a:cubicBezTo>
                  <a:cubicBezTo>
                    <a:pt x="436064" y="6213"/>
                    <a:pt x="435938" y="3107"/>
                    <a:pt x="435811" y="0"/>
                  </a:cubicBezTo>
                  <a:lnTo>
                    <a:pt x="0" y="202436"/>
                  </a:lnTo>
                  <a:cubicBezTo>
                    <a:pt x="5516" y="207444"/>
                    <a:pt x="11222" y="212136"/>
                    <a:pt x="17118" y="216637"/>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8A5FD42B-7373-370C-7CDE-A9D3EF3F7356}"/>
                </a:ext>
              </a:extLst>
            </p:cNvPr>
            <p:cNvSpPr/>
            <p:nvPr/>
          </p:nvSpPr>
          <p:spPr>
            <a:xfrm>
              <a:off x="9568006" y="123693"/>
              <a:ext cx="336843" cy="165346"/>
            </a:xfrm>
            <a:custGeom>
              <a:avLst/>
              <a:gdLst>
                <a:gd name="connsiteX0" fmla="*/ 325115 w 336843"/>
                <a:gd name="connsiteY0" fmla="*/ 27642 h 165346"/>
                <a:gd name="connsiteX1" fmla="*/ 336844 w 336843"/>
                <a:gd name="connsiteY1" fmla="*/ 0 h 165346"/>
                <a:gd name="connsiteX2" fmla="*/ 0 w 336843"/>
                <a:gd name="connsiteY2" fmla="*/ 156471 h 165346"/>
                <a:gd name="connsiteX3" fmla="*/ 28720 w 336843"/>
                <a:gd name="connsiteY3" fmla="*/ 165347 h 165346"/>
                <a:gd name="connsiteX4" fmla="*/ 325115 w 336843"/>
                <a:gd name="connsiteY4" fmla="*/ 27642 h 165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843" h="165346">
                  <a:moveTo>
                    <a:pt x="325115" y="27642"/>
                  </a:moveTo>
                  <a:cubicBezTo>
                    <a:pt x="329553" y="18703"/>
                    <a:pt x="333483" y="9510"/>
                    <a:pt x="336844" y="0"/>
                  </a:cubicBezTo>
                  <a:lnTo>
                    <a:pt x="0" y="156471"/>
                  </a:lnTo>
                  <a:cubicBezTo>
                    <a:pt x="9320" y="159958"/>
                    <a:pt x="18893" y="162938"/>
                    <a:pt x="28720" y="165347"/>
                  </a:cubicBezTo>
                  <a:lnTo>
                    <a:pt x="325115" y="27642"/>
                  </a:ln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33001C73-29BD-9709-A11A-23CAE4223127}"/>
                </a:ext>
              </a:extLst>
            </p:cNvPr>
            <p:cNvSpPr/>
            <p:nvPr/>
          </p:nvSpPr>
          <p:spPr>
            <a:xfrm>
              <a:off x="9403420" y="0"/>
              <a:ext cx="232550" cy="105814"/>
            </a:xfrm>
            <a:custGeom>
              <a:avLst/>
              <a:gdLst>
                <a:gd name="connsiteX0" fmla="*/ 184811 w 232550"/>
                <a:gd name="connsiteY0" fmla="*/ 0 h 105814"/>
                <a:gd name="connsiteX1" fmla="*/ 0 w 232550"/>
                <a:gd name="connsiteY1" fmla="*/ 85843 h 105814"/>
                <a:gd name="connsiteX2" fmla="*/ 4755 w 232550"/>
                <a:gd name="connsiteY2" fmla="*/ 105814 h 105814"/>
                <a:gd name="connsiteX3" fmla="*/ 232551 w 232550"/>
                <a:gd name="connsiteY3" fmla="*/ 0 h 105814"/>
                <a:gd name="connsiteX4" fmla="*/ 184811 w 232550"/>
                <a:gd name="connsiteY4" fmla="*/ 0 h 10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550" h="105814">
                  <a:moveTo>
                    <a:pt x="184811" y="0"/>
                  </a:moveTo>
                  <a:lnTo>
                    <a:pt x="0" y="85843"/>
                  </a:lnTo>
                  <a:cubicBezTo>
                    <a:pt x="1331" y="92627"/>
                    <a:pt x="2916" y="99284"/>
                    <a:pt x="4755" y="105814"/>
                  </a:cubicBezTo>
                  <a:lnTo>
                    <a:pt x="232551" y="0"/>
                  </a:lnTo>
                  <a:lnTo>
                    <a:pt x="184811" y="0"/>
                  </a:ln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89E65D0A-EAD8-B976-5895-B1F6A1602825}"/>
                </a:ext>
              </a:extLst>
            </p:cNvPr>
            <p:cNvSpPr/>
            <p:nvPr/>
          </p:nvSpPr>
          <p:spPr>
            <a:xfrm>
              <a:off x="9431633" y="0"/>
              <a:ext cx="398721" cy="180309"/>
            </a:xfrm>
            <a:custGeom>
              <a:avLst/>
              <a:gdLst>
                <a:gd name="connsiteX0" fmla="*/ 350918 w 398721"/>
                <a:gd name="connsiteY0" fmla="*/ 0 h 180309"/>
                <a:gd name="connsiteX1" fmla="*/ 0 w 398721"/>
                <a:gd name="connsiteY1" fmla="*/ 163001 h 180309"/>
                <a:gd name="connsiteX2" fmla="*/ 10524 w 398721"/>
                <a:gd name="connsiteY2" fmla="*/ 180309 h 180309"/>
                <a:gd name="connsiteX3" fmla="*/ 398722 w 398721"/>
                <a:gd name="connsiteY3" fmla="*/ 0 h 180309"/>
                <a:gd name="connsiteX4" fmla="*/ 350982 w 398721"/>
                <a:gd name="connsiteY4" fmla="*/ 0 h 1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721" h="180309">
                  <a:moveTo>
                    <a:pt x="350918" y="0"/>
                  </a:moveTo>
                  <a:lnTo>
                    <a:pt x="0" y="163001"/>
                  </a:lnTo>
                  <a:cubicBezTo>
                    <a:pt x="3297" y="168897"/>
                    <a:pt x="6784" y="174667"/>
                    <a:pt x="10524" y="180309"/>
                  </a:cubicBezTo>
                  <a:lnTo>
                    <a:pt x="398722" y="0"/>
                  </a:lnTo>
                  <a:lnTo>
                    <a:pt x="350982" y="0"/>
                  </a:ln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44018FA6-C49F-7132-6654-DF9A392FC668}"/>
                </a:ext>
              </a:extLst>
            </p:cNvPr>
            <p:cNvSpPr/>
            <p:nvPr/>
          </p:nvSpPr>
          <p:spPr>
            <a:xfrm>
              <a:off x="9399109" y="0"/>
              <a:ext cx="42541" cy="19780"/>
            </a:xfrm>
            <a:custGeom>
              <a:avLst/>
              <a:gdLst>
                <a:gd name="connsiteX0" fmla="*/ 1965 w 42541"/>
                <a:gd name="connsiteY0" fmla="*/ 0 h 19780"/>
                <a:gd name="connsiteX1" fmla="*/ 0 w 42541"/>
                <a:gd name="connsiteY1" fmla="*/ 19781 h 19780"/>
                <a:gd name="connsiteX2" fmla="*/ 42541 w 42541"/>
                <a:gd name="connsiteY2" fmla="*/ 0 h 19780"/>
                <a:gd name="connsiteX3" fmla="*/ 1965 w 42541"/>
                <a:gd name="connsiteY3" fmla="*/ 0 h 19780"/>
              </a:gdLst>
              <a:ahLst/>
              <a:cxnLst>
                <a:cxn ang="0">
                  <a:pos x="connsiteX0" y="connsiteY0"/>
                </a:cxn>
                <a:cxn ang="0">
                  <a:pos x="connsiteX1" y="connsiteY1"/>
                </a:cxn>
                <a:cxn ang="0">
                  <a:pos x="connsiteX2" y="connsiteY2"/>
                </a:cxn>
                <a:cxn ang="0">
                  <a:pos x="connsiteX3" y="connsiteY3"/>
                </a:cxn>
              </a:cxnLst>
              <a:rect l="l" t="t" r="r" b="b"/>
              <a:pathLst>
                <a:path w="42541" h="19780">
                  <a:moveTo>
                    <a:pt x="1965" y="0"/>
                  </a:moveTo>
                  <a:cubicBezTo>
                    <a:pt x="1078" y="6530"/>
                    <a:pt x="380" y="13124"/>
                    <a:pt x="0" y="19781"/>
                  </a:cubicBezTo>
                  <a:lnTo>
                    <a:pt x="42541" y="0"/>
                  </a:lnTo>
                  <a:lnTo>
                    <a:pt x="1965" y="0"/>
                  </a:ln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A286E7BE-42EF-ADCA-5687-B2F5BE01F7DD}"/>
                </a:ext>
              </a:extLst>
            </p:cNvPr>
            <p:cNvSpPr/>
            <p:nvPr/>
          </p:nvSpPr>
          <p:spPr>
            <a:xfrm>
              <a:off x="10021062" y="0"/>
              <a:ext cx="521527" cy="296648"/>
            </a:xfrm>
            <a:custGeom>
              <a:avLst/>
              <a:gdLst>
                <a:gd name="connsiteX0" fmla="*/ 2536 w 521527"/>
                <a:gd name="connsiteY0" fmla="*/ 0 h 296648"/>
                <a:gd name="connsiteX1" fmla="*/ 0 w 521527"/>
                <a:gd name="connsiteY1" fmla="*/ 35884 h 296648"/>
                <a:gd name="connsiteX2" fmla="*/ 260764 w 521527"/>
                <a:gd name="connsiteY2" fmla="*/ 296648 h 296648"/>
                <a:gd name="connsiteX3" fmla="*/ 521527 w 521527"/>
                <a:gd name="connsiteY3" fmla="*/ 35884 h 296648"/>
                <a:gd name="connsiteX4" fmla="*/ 518992 w 521527"/>
                <a:gd name="connsiteY4" fmla="*/ 0 h 296648"/>
                <a:gd name="connsiteX5" fmla="*/ 2536 w 521527"/>
                <a:gd name="connsiteY5" fmla="*/ 0 h 2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527" h="296648">
                  <a:moveTo>
                    <a:pt x="2536" y="0"/>
                  </a:moveTo>
                  <a:cubicBezTo>
                    <a:pt x="888" y="11729"/>
                    <a:pt x="0" y="23712"/>
                    <a:pt x="0" y="35884"/>
                  </a:cubicBezTo>
                  <a:cubicBezTo>
                    <a:pt x="0" y="179929"/>
                    <a:pt x="116719" y="296648"/>
                    <a:pt x="260764" y="296648"/>
                  </a:cubicBezTo>
                  <a:cubicBezTo>
                    <a:pt x="404808" y="296648"/>
                    <a:pt x="521527" y="179929"/>
                    <a:pt x="521527" y="35884"/>
                  </a:cubicBezTo>
                  <a:cubicBezTo>
                    <a:pt x="521527" y="23712"/>
                    <a:pt x="520640" y="11729"/>
                    <a:pt x="518992" y="0"/>
                  </a:cubicBezTo>
                  <a:lnTo>
                    <a:pt x="2536" y="0"/>
                  </a:ln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4A35A3A5-4E75-C916-D163-3D3E7478D71B}"/>
                </a:ext>
              </a:extLst>
            </p:cNvPr>
            <p:cNvSpPr/>
            <p:nvPr/>
          </p:nvSpPr>
          <p:spPr>
            <a:xfrm>
              <a:off x="10631032" y="0"/>
              <a:ext cx="541688" cy="306728"/>
            </a:xfrm>
            <a:custGeom>
              <a:avLst/>
              <a:gdLst>
                <a:gd name="connsiteX0" fmla="*/ 518928 w 541688"/>
                <a:gd name="connsiteY0" fmla="*/ 0 h 306728"/>
                <a:gd name="connsiteX1" fmla="*/ 521527 w 541688"/>
                <a:gd name="connsiteY1" fmla="*/ 35884 h 306728"/>
                <a:gd name="connsiteX2" fmla="*/ 270844 w 541688"/>
                <a:gd name="connsiteY2" fmla="*/ 286567 h 306728"/>
                <a:gd name="connsiteX3" fmla="*/ 20161 w 541688"/>
                <a:gd name="connsiteY3" fmla="*/ 35884 h 306728"/>
                <a:gd name="connsiteX4" fmla="*/ 22761 w 541688"/>
                <a:gd name="connsiteY4" fmla="*/ 0 h 306728"/>
                <a:gd name="connsiteX5" fmla="*/ 2472 w 541688"/>
                <a:gd name="connsiteY5" fmla="*/ 0 h 306728"/>
                <a:gd name="connsiteX6" fmla="*/ 0 w 541688"/>
                <a:gd name="connsiteY6" fmla="*/ 35884 h 306728"/>
                <a:gd name="connsiteX7" fmla="*/ 270844 w 541688"/>
                <a:gd name="connsiteY7" fmla="*/ 306729 h 306728"/>
                <a:gd name="connsiteX8" fmla="*/ 541689 w 541688"/>
                <a:gd name="connsiteY8" fmla="*/ 35884 h 306728"/>
                <a:gd name="connsiteX9" fmla="*/ 539216 w 541688"/>
                <a:gd name="connsiteY9" fmla="*/ 0 h 306728"/>
                <a:gd name="connsiteX10" fmla="*/ 518928 w 541688"/>
                <a:gd name="connsiteY10" fmla="*/ 0 h 30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688" h="306728">
                  <a:moveTo>
                    <a:pt x="518928" y="0"/>
                  </a:moveTo>
                  <a:cubicBezTo>
                    <a:pt x="520640" y="11729"/>
                    <a:pt x="521527" y="23712"/>
                    <a:pt x="521527" y="35884"/>
                  </a:cubicBezTo>
                  <a:cubicBezTo>
                    <a:pt x="521527" y="174096"/>
                    <a:pt x="409056" y="286567"/>
                    <a:pt x="270844" y="286567"/>
                  </a:cubicBezTo>
                  <a:cubicBezTo>
                    <a:pt x="132632" y="286567"/>
                    <a:pt x="20161" y="174096"/>
                    <a:pt x="20161" y="35884"/>
                  </a:cubicBezTo>
                  <a:cubicBezTo>
                    <a:pt x="20161" y="23712"/>
                    <a:pt x="21112" y="11729"/>
                    <a:pt x="22761" y="0"/>
                  </a:cubicBezTo>
                  <a:lnTo>
                    <a:pt x="2472" y="0"/>
                  </a:lnTo>
                  <a:cubicBezTo>
                    <a:pt x="887" y="11729"/>
                    <a:pt x="0" y="23712"/>
                    <a:pt x="0" y="35884"/>
                  </a:cubicBezTo>
                  <a:cubicBezTo>
                    <a:pt x="0" y="185191"/>
                    <a:pt x="121474" y="306729"/>
                    <a:pt x="270844" y="306729"/>
                  </a:cubicBezTo>
                  <a:cubicBezTo>
                    <a:pt x="420214" y="306729"/>
                    <a:pt x="541689" y="185254"/>
                    <a:pt x="541689" y="35884"/>
                  </a:cubicBezTo>
                  <a:cubicBezTo>
                    <a:pt x="541689" y="23712"/>
                    <a:pt x="540801" y="11729"/>
                    <a:pt x="539216" y="0"/>
                  </a:cubicBezTo>
                  <a:lnTo>
                    <a:pt x="518928" y="0"/>
                  </a:ln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F5A011CD-B795-562A-A34B-DC9BB877373F}"/>
                </a:ext>
              </a:extLst>
            </p:cNvPr>
            <p:cNvSpPr/>
            <p:nvPr/>
          </p:nvSpPr>
          <p:spPr>
            <a:xfrm>
              <a:off x="11261037" y="0"/>
              <a:ext cx="930900" cy="296648"/>
            </a:xfrm>
            <a:custGeom>
              <a:avLst/>
              <a:gdLst>
                <a:gd name="connsiteX0" fmla="*/ 930901 w 930900"/>
                <a:gd name="connsiteY0" fmla="*/ 0 h 296648"/>
                <a:gd name="connsiteX1" fmla="*/ 2536 w 930900"/>
                <a:gd name="connsiteY1" fmla="*/ 0 h 296648"/>
                <a:gd name="connsiteX2" fmla="*/ 0 w 930900"/>
                <a:gd name="connsiteY2" fmla="*/ 35884 h 296648"/>
                <a:gd name="connsiteX3" fmla="*/ 260764 w 930900"/>
                <a:gd name="connsiteY3" fmla="*/ 296648 h 296648"/>
                <a:gd name="connsiteX4" fmla="*/ 484312 w 930900"/>
                <a:gd name="connsiteY4" fmla="*/ 170229 h 296648"/>
                <a:gd name="connsiteX5" fmla="*/ 568443 w 930900"/>
                <a:gd name="connsiteY5" fmla="*/ 123059 h 296648"/>
                <a:gd name="connsiteX6" fmla="*/ 573135 w 930900"/>
                <a:gd name="connsiteY6" fmla="*/ 123059 h 296648"/>
                <a:gd name="connsiteX7" fmla="*/ 657267 w 930900"/>
                <a:gd name="connsiteY7" fmla="*/ 170229 h 296648"/>
                <a:gd name="connsiteX8" fmla="*/ 880815 w 930900"/>
                <a:gd name="connsiteY8" fmla="*/ 296648 h 296648"/>
                <a:gd name="connsiteX9" fmla="*/ 930901 w 930900"/>
                <a:gd name="connsiteY9" fmla="*/ 291766 h 296648"/>
                <a:gd name="connsiteX10" fmla="*/ 930901 w 930900"/>
                <a:gd name="connsiteY10" fmla="*/ 0 h 2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0900" h="296648">
                  <a:moveTo>
                    <a:pt x="930901" y="0"/>
                  </a:moveTo>
                  <a:lnTo>
                    <a:pt x="2536" y="0"/>
                  </a:lnTo>
                  <a:cubicBezTo>
                    <a:pt x="951" y="11729"/>
                    <a:pt x="0" y="23712"/>
                    <a:pt x="0" y="35884"/>
                  </a:cubicBezTo>
                  <a:cubicBezTo>
                    <a:pt x="0" y="179929"/>
                    <a:pt x="116719" y="296648"/>
                    <a:pt x="260764" y="296648"/>
                  </a:cubicBezTo>
                  <a:cubicBezTo>
                    <a:pt x="355673" y="296648"/>
                    <a:pt x="438664" y="245992"/>
                    <a:pt x="484312" y="170229"/>
                  </a:cubicBezTo>
                  <a:cubicBezTo>
                    <a:pt x="502000" y="140811"/>
                    <a:pt x="534081" y="123059"/>
                    <a:pt x="568443" y="123059"/>
                  </a:cubicBezTo>
                  <a:lnTo>
                    <a:pt x="573135" y="123059"/>
                  </a:lnTo>
                  <a:cubicBezTo>
                    <a:pt x="607498" y="123059"/>
                    <a:pt x="639578" y="140811"/>
                    <a:pt x="657267" y="170229"/>
                  </a:cubicBezTo>
                  <a:cubicBezTo>
                    <a:pt x="702915" y="245992"/>
                    <a:pt x="785905" y="296648"/>
                    <a:pt x="880815" y="296648"/>
                  </a:cubicBezTo>
                  <a:cubicBezTo>
                    <a:pt x="897932" y="296648"/>
                    <a:pt x="914670" y="294936"/>
                    <a:pt x="930901" y="291766"/>
                  </a:cubicBezTo>
                  <a:lnTo>
                    <a:pt x="930901" y="0"/>
                  </a:ln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7AFBCCB7-0FCD-A010-0650-DBD543536734}"/>
                </a:ext>
              </a:extLst>
            </p:cNvPr>
            <p:cNvSpPr/>
            <p:nvPr/>
          </p:nvSpPr>
          <p:spPr>
            <a:xfrm>
              <a:off x="11898966" y="401955"/>
              <a:ext cx="292970" cy="158246"/>
            </a:xfrm>
            <a:custGeom>
              <a:avLst/>
              <a:gdLst>
                <a:gd name="connsiteX0" fmla="*/ 292971 w 292970"/>
                <a:gd name="connsiteY0" fmla="*/ 0 h 158246"/>
                <a:gd name="connsiteX1" fmla="*/ 12997 w 292970"/>
                <a:gd name="connsiteY1" fmla="*/ 130033 h 158246"/>
                <a:gd name="connsiteX2" fmla="*/ 0 w 292970"/>
                <a:gd name="connsiteY2" fmla="*/ 158246 h 158246"/>
                <a:gd name="connsiteX3" fmla="*/ 292907 w 292970"/>
                <a:gd name="connsiteY3" fmla="*/ 22190 h 158246"/>
                <a:gd name="connsiteX4" fmla="*/ 292907 w 292970"/>
                <a:gd name="connsiteY4" fmla="*/ 0 h 15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970" h="158246">
                  <a:moveTo>
                    <a:pt x="292971" y="0"/>
                  </a:moveTo>
                  <a:lnTo>
                    <a:pt x="12997" y="130033"/>
                  </a:lnTo>
                  <a:cubicBezTo>
                    <a:pt x="8115" y="139099"/>
                    <a:pt x="3804" y="148546"/>
                    <a:pt x="0" y="158246"/>
                  </a:cubicBezTo>
                  <a:lnTo>
                    <a:pt x="292907" y="22190"/>
                  </a:lnTo>
                  <a:lnTo>
                    <a:pt x="292907" y="0"/>
                  </a:ln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52384E11-B9D7-B564-3DF8-E0E584120EE5}"/>
                </a:ext>
              </a:extLst>
            </p:cNvPr>
            <p:cNvSpPr/>
            <p:nvPr/>
          </p:nvSpPr>
          <p:spPr>
            <a:xfrm>
              <a:off x="11881087" y="492173"/>
              <a:ext cx="310849" cy="166551"/>
            </a:xfrm>
            <a:custGeom>
              <a:avLst/>
              <a:gdLst>
                <a:gd name="connsiteX0" fmla="*/ 310850 w 310849"/>
                <a:gd name="connsiteY0" fmla="*/ 63 h 166551"/>
                <a:gd name="connsiteX1" fmla="*/ 761 w 310849"/>
                <a:gd name="connsiteY1" fmla="*/ 144108 h 166551"/>
                <a:gd name="connsiteX2" fmla="*/ 0 w 310849"/>
                <a:gd name="connsiteY2" fmla="*/ 163001 h 166551"/>
                <a:gd name="connsiteX3" fmla="*/ 0 w 310849"/>
                <a:gd name="connsiteY3" fmla="*/ 166552 h 166551"/>
                <a:gd name="connsiteX4" fmla="*/ 310786 w 310849"/>
                <a:gd name="connsiteY4" fmla="*/ 22190 h 166551"/>
                <a:gd name="connsiteX5" fmla="*/ 310786 w 310849"/>
                <a:gd name="connsiteY5" fmla="*/ 0 h 16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49" h="166551">
                  <a:moveTo>
                    <a:pt x="310850" y="63"/>
                  </a:moveTo>
                  <a:lnTo>
                    <a:pt x="761" y="144108"/>
                  </a:lnTo>
                  <a:cubicBezTo>
                    <a:pt x="317" y="150385"/>
                    <a:pt x="0" y="156661"/>
                    <a:pt x="0" y="163001"/>
                  </a:cubicBezTo>
                  <a:cubicBezTo>
                    <a:pt x="0" y="164206"/>
                    <a:pt x="0" y="165410"/>
                    <a:pt x="0" y="166552"/>
                  </a:cubicBezTo>
                  <a:lnTo>
                    <a:pt x="310786" y="22190"/>
                  </a:lnTo>
                  <a:lnTo>
                    <a:pt x="310786" y="0"/>
                  </a:ln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0860680B-FC24-7030-A56E-ADE5797388E3}"/>
                </a:ext>
              </a:extLst>
            </p:cNvPr>
            <p:cNvSpPr/>
            <p:nvPr/>
          </p:nvSpPr>
          <p:spPr>
            <a:xfrm>
              <a:off x="11889900" y="582518"/>
              <a:ext cx="302036" cy="159704"/>
            </a:xfrm>
            <a:custGeom>
              <a:avLst/>
              <a:gdLst>
                <a:gd name="connsiteX0" fmla="*/ 302037 w 302036"/>
                <a:gd name="connsiteY0" fmla="*/ 0 h 159704"/>
                <a:gd name="connsiteX1" fmla="*/ 0 w 302036"/>
                <a:gd name="connsiteY1" fmla="*/ 140304 h 159704"/>
                <a:gd name="connsiteX2" fmla="*/ 6023 w 302036"/>
                <a:gd name="connsiteY2" fmla="*/ 159704 h 159704"/>
                <a:gd name="connsiteX3" fmla="*/ 301974 w 302036"/>
                <a:gd name="connsiteY3" fmla="*/ 22253 h 159704"/>
                <a:gd name="connsiteX4" fmla="*/ 301974 w 302036"/>
                <a:gd name="connsiteY4" fmla="*/ 63 h 159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036" h="159704">
                  <a:moveTo>
                    <a:pt x="302037" y="0"/>
                  </a:moveTo>
                  <a:lnTo>
                    <a:pt x="0" y="140304"/>
                  </a:lnTo>
                  <a:cubicBezTo>
                    <a:pt x="1775" y="146898"/>
                    <a:pt x="3804" y="153301"/>
                    <a:pt x="6023" y="159704"/>
                  </a:cubicBezTo>
                  <a:lnTo>
                    <a:pt x="301974" y="22253"/>
                  </a:lnTo>
                  <a:lnTo>
                    <a:pt x="301974" y="63"/>
                  </a:ln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387BE8FF-51DB-E1BB-FD44-D112965B61AE}"/>
                </a:ext>
              </a:extLst>
            </p:cNvPr>
            <p:cNvSpPr/>
            <p:nvPr/>
          </p:nvSpPr>
          <p:spPr>
            <a:xfrm>
              <a:off x="11923312" y="672736"/>
              <a:ext cx="268625" cy="141445"/>
            </a:xfrm>
            <a:custGeom>
              <a:avLst/>
              <a:gdLst>
                <a:gd name="connsiteX0" fmla="*/ 268625 w 268625"/>
                <a:gd name="connsiteY0" fmla="*/ 0 h 141445"/>
                <a:gd name="connsiteX1" fmla="*/ 0 w 268625"/>
                <a:gd name="connsiteY1" fmla="*/ 124771 h 141445"/>
                <a:gd name="connsiteX2" fmla="*/ 11856 w 268625"/>
                <a:gd name="connsiteY2" fmla="*/ 141445 h 141445"/>
                <a:gd name="connsiteX3" fmla="*/ 268625 w 268625"/>
                <a:gd name="connsiteY3" fmla="*/ 22190 h 141445"/>
                <a:gd name="connsiteX4" fmla="*/ 268625 w 268625"/>
                <a:gd name="connsiteY4" fmla="*/ 0 h 141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5" h="141445">
                  <a:moveTo>
                    <a:pt x="268625" y="0"/>
                  </a:moveTo>
                  <a:lnTo>
                    <a:pt x="0" y="124771"/>
                  </a:lnTo>
                  <a:cubicBezTo>
                    <a:pt x="3741" y="130477"/>
                    <a:pt x="7671" y="136056"/>
                    <a:pt x="11856" y="141445"/>
                  </a:cubicBezTo>
                  <a:lnTo>
                    <a:pt x="268625" y="22190"/>
                  </a:lnTo>
                  <a:lnTo>
                    <a:pt x="268625" y="0"/>
                  </a:ln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DDB9B41B-31B0-F270-D11E-D55878B76A0B}"/>
                </a:ext>
              </a:extLst>
            </p:cNvPr>
            <p:cNvSpPr/>
            <p:nvPr/>
          </p:nvSpPr>
          <p:spPr>
            <a:xfrm>
              <a:off x="11981513" y="763017"/>
              <a:ext cx="210424" cy="111203"/>
            </a:xfrm>
            <a:custGeom>
              <a:avLst/>
              <a:gdLst>
                <a:gd name="connsiteX0" fmla="*/ 210424 w 210424"/>
                <a:gd name="connsiteY0" fmla="*/ 0 h 111203"/>
                <a:gd name="connsiteX1" fmla="*/ 0 w 210424"/>
                <a:gd name="connsiteY1" fmla="*/ 97763 h 111203"/>
                <a:gd name="connsiteX2" fmla="*/ 18830 w 210424"/>
                <a:gd name="connsiteY2" fmla="*/ 111203 h 111203"/>
                <a:gd name="connsiteX3" fmla="*/ 210424 w 210424"/>
                <a:gd name="connsiteY3" fmla="*/ 22190 h 111203"/>
                <a:gd name="connsiteX4" fmla="*/ 210424 w 210424"/>
                <a:gd name="connsiteY4" fmla="*/ 0 h 111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24" h="111203">
                  <a:moveTo>
                    <a:pt x="210424" y="0"/>
                  </a:moveTo>
                  <a:lnTo>
                    <a:pt x="0" y="97763"/>
                  </a:lnTo>
                  <a:cubicBezTo>
                    <a:pt x="6087" y="102518"/>
                    <a:pt x="12363" y="107019"/>
                    <a:pt x="18830" y="111203"/>
                  </a:cubicBezTo>
                  <a:lnTo>
                    <a:pt x="210424" y="22190"/>
                  </a:lnTo>
                  <a:lnTo>
                    <a:pt x="210424" y="0"/>
                  </a:ln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5355A0F4-F584-17B4-666C-C64EAEA84141}"/>
                </a:ext>
              </a:extLst>
            </p:cNvPr>
            <p:cNvSpPr/>
            <p:nvPr/>
          </p:nvSpPr>
          <p:spPr>
            <a:xfrm>
              <a:off x="12044976" y="853298"/>
              <a:ext cx="146960" cy="87365"/>
            </a:xfrm>
            <a:custGeom>
              <a:avLst/>
              <a:gdLst>
                <a:gd name="connsiteX0" fmla="*/ 146961 w 146960"/>
                <a:gd name="connsiteY0" fmla="*/ 0 h 87365"/>
                <a:gd name="connsiteX1" fmla="*/ 0 w 146960"/>
                <a:gd name="connsiteY1" fmla="*/ 68282 h 87365"/>
                <a:gd name="connsiteX2" fmla="*/ 6720 w 146960"/>
                <a:gd name="connsiteY2" fmla="*/ 87365 h 87365"/>
                <a:gd name="connsiteX3" fmla="*/ 146961 w 146960"/>
                <a:gd name="connsiteY3" fmla="*/ 22190 h 87365"/>
                <a:gd name="connsiteX4" fmla="*/ 146961 w 146960"/>
                <a:gd name="connsiteY4" fmla="*/ 0 h 87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60" h="87365">
                  <a:moveTo>
                    <a:pt x="146961" y="0"/>
                  </a:moveTo>
                  <a:lnTo>
                    <a:pt x="0" y="68282"/>
                  </a:lnTo>
                  <a:cubicBezTo>
                    <a:pt x="2853" y="74368"/>
                    <a:pt x="5135" y="80771"/>
                    <a:pt x="6720" y="87365"/>
                  </a:cubicBezTo>
                  <a:lnTo>
                    <a:pt x="146961" y="22190"/>
                  </a:lnTo>
                  <a:lnTo>
                    <a:pt x="146961" y="0"/>
                  </a:ln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62223391-DC24-4808-D8B0-DFF20576656B}"/>
                </a:ext>
              </a:extLst>
            </p:cNvPr>
            <p:cNvSpPr/>
            <p:nvPr/>
          </p:nvSpPr>
          <p:spPr>
            <a:xfrm>
              <a:off x="12008331" y="943517"/>
              <a:ext cx="183606" cy="107462"/>
            </a:xfrm>
            <a:custGeom>
              <a:avLst/>
              <a:gdLst>
                <a:gd name="connsiteX0" fmla="*/ 183606 w 183606"/>
                <a:gd name="connsiteY0" fmla="*/ 63 h 107462"/>
                <a:gd name="connsiteX1" fmla="*/ 34616 w 183606"/>
                <a:gd name="connsiteY1" fmla="*/ 69233 h 107462"/>
                <a:gd name="connsiteX2" fmla="*/ 0 w 183606"/>
                <a:gd name="connsiteY2" fmla="*/ 107463 h 107462"/>
                <a:gd name="connsiteX3" fmla="*/ 183543 w 183606"/>
                <a:gd name="connsiteY3" fmla="*/ 22190 h 107462"/>
                <a:gd name="connsiteX4" fmla="*/ 183543 w 183606"/>
                <a:gd name="connsiteY4" fmla="*/ 0 h 107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6" h="107462">
                  <a:moveTo>
                    <a:pt x="183606" y="63"/>
                  </a:moveTo>
                  <a:lnTo>
                    <a:pt x="34616" y="69233"/>
                  </a:lnTo>
                  <a:cubicBezTo>
                    <a:pt x="26628" y="84512"/>
                    <a:pt x="14836" y="97763"/>
                    <a:pt x="0" y="107463"/>
                  </a:cubicBezTo>
                  <a:lnTo>
                    <a:pt x="183543" y="22190"/>
                  </a:lnTo>
                  <a:lnTo>
                    <a:pt x="183543" y="0"/>
                  </a:ln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E4B38BFE-BE82-4AFB-569D-3FDBC00D2A67}"/>
                </a:ext>
              </a:extLst>
            </p:cNvPr>
            <p:cNvSpPr/>
            <p:nvPr/>
          </p:nvSpPr>
          <p:spPr>
            <a:xfrm>
              <a:off x="11893894" y="1033798"/>
              <a:ext cx="298106" cy="160655"/>
            </a:xfrm>
            <a:custGeom>
              <a:avLst/>
              <a:gdLst>
                <a:gd name="connsiteX0" fmla="*/ 298043 w 298106"/>
                <a:gd name="connsiteY0" fmla="*/ 0 h 160655"/>
                <a:gd name="connsiteX1" fmla="*/ 10461 w 298106"/>
                <a:gd name="connsiteY1" fmla="*/ 133584 h 160655"/>
                <a:gd name="connsiteX2" fmla="*/ 0 w 298106"/>
                <a:gd name="connsiteY2" fmla="*/ 160655 h 160655"/>
                <a:gd name="connsiteX3" fmla="*/ 298106 w 298106"/>
                <a:gd name="connsiteY3" fmla="*/ 22190 h 160655"/>
                <a:gd name="connsiteX4" fmla="*/ 298106 w 298106"/>
                <a:gd name="connsiteY4" fmla="*/ 0 h 16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106" h="160655">
                  <a:moveTo>
                    <a:pt x="298043" y="0"/>
                  </a:moveTo>
                  <a:lnTo>
                    <a:pt x="10461" y="133584"/>
                  </a:lnTo>
                  <a:cubicBezTo>
                    <a:pt x="6467" y="142333"/>
                    <a:pt x="2980" y="151399"/>
                    <a:pt x="0" y="160655"/>
                  </a:cubicBezTo>
                  <a:lnTo>
                    <a:pt x="298106" y="22190"/>
                  </a:lnTo>
                  <a:lnTo>
                    <a:pt x="298106" y="0"/>
                  </a:ln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8700B9FB-5D34-AE7C-4107-78490FAC5EF8}"/>
                </a:ext>
              </a:extLst>
            </p:cNvPr>
            <p:cNvSpPr/>
            <p:nvPr/>
          </p:nvSpPr>
          <p:spPr>
            <a:xfrm>
              <a:off x="11881087" y="1124079"/>
              <a:ext cx="310849" cy="166424"/>
            </a:xfrm>
            <a:custGeom>
              <a:avLst/>
              <a:gdLst>
                <a:gd name="connsiteX0" fmla="*/ 310850 w 310849"/>
                <a:gd name="connsiteY0" fmla="*/ 0 h 166424"/>
                <a:gd name="connsiteX1" fmla="*/ 127 w 310849"/>
                <a:gd name="connsiteY1" fmla="*/ 144362 h 166424"/>
                <a:gd name="connsiteX2" fmla="*/ 0 w 310849"/>
                <a:gd name="connsiteY2" fmla="*/ 151145 h 166424"/>
                <a:gd name="connsiteX3" fmla="*/ 444 w 310849"/>
                <a:gd name="connsiteY3" fmla="*/ 166425 h 166424"/>
                <a:gd name="connsiteX4" fmla="*/ 310850 w 310849"/>
                <a:gd name="connsiteY4" fmla="*/ 22253 h 166424"/>
                <a:gd name="connsiteX5" fmla="*/ 310850 w 310849"/>
                <a:gd name="connsiteY5" fmla="*/ 63 h 16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49" h="166424">
                  <a:moveTo>
                    <a:pt x="310850" y="0"/>
                  </a:moveTo>
                  <a:lnTo>
                    <a:pt x="127" y="144362"/>
                  </a:lnTo>
                  <a:cubicBezTo>
                    <a:pt x="127" y="146581"/>
                    <a:pt x="0" y="148863"/>
                    <a:pt x="0" y="151145"/>
                  </a:cubicBezTo>
                  <a:cubicBezTo>
                    <a:pt x="0" y="156281"/>
                    <a:pt x="190" y="161353"/>
                    <a:pt x="444" y="166425"/>
                  </a:cubicBezTo>
                  <a:lnTo>
                    <a:pt x="310850" y="22253"/>
                  </a:lnTo>
                  <a:lnTo>
                    <a:pt x="310850" y="63"/>
                  </a:ln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D473D492-68A6-331C-4F61-8EE17E92CCAA}"/>
                </a:ext>
              </a:extLst>
            </p:cNvPr>
            <p:cNvSpPr/>
            <p:nvPr/>
          </p:nvSpPr>
          <p:spPr>
            <a:xfrm>
              <a:off x="11893007" y="1214297"/>
              <a:ext cx="298930" cy="157929"/>
            </a:xfrm>
            <a:custGeom>
              <a:avLst/>
              <a:gdLst>
                <a:gd name="connsiteX0" fmla="*/ 298930 w 298930"/>
                <a:gd name="connsiteY0" fmla="*/ 63 h 157929"/>
                <a:gd name="connsiteX1" fmla="*/ 0 w 298930"/>
                <a:gd name="connsiteY1" fmla="*/ 138909 h 157929"/>
                <a:gd name="connsiteX2" fmla="*/ 6784 w 298930"/>
                <a:gd name="connsiteY2" fmla="*/ 157929 h 157929"/>
                <a:gd name="connsiteX3" fmla="*/ 298930 w 298930"/>
                <a:gd name="connsiteY3" fmla="*/ 22190 h 157929"/>
                <a:gd name="connsiteX4" fmla="*/ 298930 w 298930"/>
                <a:gd name="connsiteY4" fmla="*/ 0 h 157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30" h="157929">
                  <a:moveTo>
                    <a:pt x="298930" y="63"/>
                  </a:moveTo>
                  <a:lnTo>
                    <a:pt x="0" y="138909"/>
                  </a:lnTo>
                  <a:cubicBezTo>
                    <a:pt x="2029" y="145376"/>
                    <a:pt x="4311" y="151716"/>
                    <a:pt x="6784" y="157929"/>
                  </a:cubicBezTo>
                  <a:lnTo>
                    <a:pt x="298930" y="22190"/>
                  </a:lnTo>
                  <a:lnTo>
                    <a:pt x="298930" y="0"/>
                  </a:ln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7BB3E1F0-0B12-62CF-D065-20B4549DBE93}"/>
                </a:ext>
              </a:extLst>
            </p:cNvPr>
            <p:cNvSpPr/>
            <p:nvPr/>
          </p:nvSpPr>
          <p:spPr>
            <a:xfrm>
              <a:off x="12111926" y="2116985"/>
              <a:ext cx="80010" cy="38927"/>
            </a:xfrm>
            <a:custGeom>
              <a:avLst/>
              <a:gdLst>
                <a:gd name="connsiteX0" fmla="*/ 80011 w 80010"/>
                <a:gd name="connsiteY0" fmla="*/ 0 h 38927"/>
                <a:gd name="connsiteX1" fmla="*/ 0 w 80010"/>
                <a:gd name="connsiteY1" fmla="*/ 37152 h 38927"/>
                <a:gd name="connsiteX2" fmla="*/ 29925 w 80010"/>
                <a:gd name="connsiteY2" fmla="*/ 38927 h 38927"/>
                <a:gd name="connsiteX3" fmla="*/ 44887 w 80010"/>
                <a:gd name="connsiteY3" fmla="*/ 38484 h 38927"/>
                <a:gd name="connsiteX4" fmla="*/ 80011 w 80010"/>
                <a:gd name="connsiteY4" fmla="*/ 22190 h 38927"/>
                <a:gd name="connsiteX5" fmla="*/ 80011 w 80010"/>
                <a:gd name="connsiteY5" fmla="*/ 0 h 3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10" h="38927">
                  <a:moveTo>
                    <a:pt x="80011" y="0"/>
                  </a:moveTo>
                  <a:lnTo>
                    <a:pt x="0" y="37152"/>
                  </a:lnTo>
                  <a:cubicBezTo>
                    <a:pt x="9827" y="38294"/>
                    <a:pt x="19781" y="38927"/>
                    <a:pt x="29925" y="38927"/>
                  </a:cubicBezTo>
                  <a:cubicBezTo>
                    <a:pt x="34933" y="38927"/>
                    <a:pt x="39942" y="38737"/>
                    <a:pt x="44887" y="38484"/>
                  </a:cubicBezTo>
                  <a:lnTo>
                    <a:pt x="80011" y="22190"/>
                  </a:lnTo>
                  <a:lnTo>
                    <a:pt x="80011" y="0"/>
                  </a:ln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DBDEEA6C-4DBA-EC23-A6C4-CCF67BD90D01}"/>
                </a:ext>
              </a:extLst>
            </p:cNvPr>
            <p:cNvSpPr/>
            <p:nvPr/>
          </p:nvSpPr>
          <p:spPr>
            <a:xfrm>
              <a:off x="12001737" y="2026640"/>
              <a:ext cx="190199" cy="100615"/>
            </a:xfrm>
            <a:custGeom>
              <a:avLst/>
              <a:gdLst>
                <a:gd name="connsiteX0" fmla="*/ 190200 w 190199"/>
                <a:gd name="connsiteY0" fmla="*/ 63 h 100615"/>
                <a:gd name="connsiteX1" fmla="*/ 0 w 190199"/>
                <a:gd name="connsiteY1" fmla="*/ 88379 h 100615"/>
                <a:gd name="connsiteX2" fmla="*/ 21366 w 190199"/>
                <a:gd name="connsiteY2" fmla="*/ 100616 h 100615"/>
                <a:gd name="connsiteX3" fmla="*/ 190200 w 190199"/>
                <a:gd name="connsiteY3" fmla="*/ 22190 h 100615"/>
                <a:gd name="connsiteX4" fmla="*/ 190200 w 190199"/>
                <a:gd name="connsiteY4" fmla="*/ 0 h 10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99" h="100615">
                  <a:moveTo>
                    <a:pt x="190200" y="63"/>
                  </a:moveTo>
                  <a:lnTo>
                    <a:pt x="0" y="88379"/>
                  </a:lnTo>
                  <a:cubicBezTo>
                    <a:pt x="6911" y="92817"/>
                    <a:pt x="14012" y="96875"/>
                    <a:pt x="21366" y="100616"/>
                  </a:cubicBezTo>
                  <a:lnTo>
                    <a:pt x="190200" y="22190"/>
                  </a:lnTo>
                  <a:lnTo>
                    <a:pt x="190200" y="0"/>
                  </a:ln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2F42F919-72C2-29DC-0F57-A6D7C1D9A6AB}"/>
                </a:ext>
              </a:extLst>
            </p:cNvPr>
            <p:cNvSpPr/>
            <p:nvPr/>
          </p:nvSpPr>
          <p:spPr>
            <a:xfrm>
              <a:off x="11936119" y="1936486"/>
              <a:ext cx="255881" cy="134788"/>
            </a:xfrm>
            <a:custGeom>
              <a:avLst/>
              <a:gdLst>
                <a:gd name="connsiteX0" fmla="*/ 255818 w 255881"/>
                <a:gd name="connsiteY0" fmla="*/ 0 h 134788"/>
                <a:gd name="connsiteX1" fmla="*/ 0 w 255881"/>
                <a:gd name="connsiteY1" fmla="*/ 118811 h 134788"/>
                <a:gd name="connsiteX2" fmla="*/ 13441 w 255881"/>
                <a:gd name="connsiteY2" fmla="*/ 134788 h 134788"/>
                <a:gd name="connsiteX3" fmla="*/ 255882 w 255881"/>
                <a:gd name="connsiteY3" fmla="*/ 22190 h 134788"/>
                <a:gd name="connsiteX4" fmla="*/ 255882 w 255881"/>
                <a:gd name="connsiteY4" fmla="*/ 0 h 13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81" h="134788">
                  <a:moveTo>
                    <a:pt x="255818" y="0"/>
                  </a:moveTo>
                  <a:lnTo>
                    <a:pt x="0" y="118811"/>
                  </a:lnTo>
                  <a:cubicBezTo>
                    <a:pt x="4248" y="124327"/>
                    <a:pt x="8749" y="129653"/>
                    <a:pt x="13441" y="134788"/>
                  </a:cubicBezTo>
                  <a:lnTo>
                    <a:pt x="255882" y="22190"/>
                  </a:lnTo>
                  <a:lnTo>
                    <a:pt x="255882" y="0"/>
                  </a:ln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8D85E096-74B3-8D1F-C794-E3D9B07D2076}"/>
                </a:ext>
              </a:extLst>
            </p:cNvPr>
            <p:cNvSpPr/>
            <p:nvPr/>
          </p:nvSpPr>
          <p:spPr>
            <a:xfrm>
              <a:off x="11896430" y="1846204"/>
              <a:ext cx="295506" cy="155900"/>
            </a:xfrm>
            <a:custGeom>
              <a:avLst/>
              <a:gdLst>
                <a:gd name="connsiteX0" fmla="*/ 295507 w 295506"/>
                <a:gd name="connsiteY0" fmla="*/ 0 h 155900"/>
                <a:gd name="connsiteX1" fmla="*/ 0 w 295506"/>
                <a:gd name="connsiteY1" fmla="*/ 137261 h 155900"/>
                <a:gd name="connsiteX2" fmla="*/ 7608 w 295506"/>
                <a:gd name="connsiteY2" fmla="*/ 155900 h 155900"/>
                <a:gd name="connsiteX3" fmla="*/ 295507 w 295506"/>
                <a:gd name="connsiteY3" fmla="*/ 22190 h 155900"/>
                <a:gd name="connsiteX4" fmla="*/ 295507 w 295506"/>
                <a:gd name="connsiteY4" fmla="*/ 0 h 15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06" h="155900">
                  <a:moveTo>
                    <a:pt x="295507" y="0"/>
                  </a:moveTo>
                  <a:lnTo>
                    <a:pt x="0" y="137261"/>
                  </a:lnTo>
                  <a:cubicBezTo>
                    <a:pt x="2282" y="143601"/>
                    <a:pt x="4818" y="149814"/>
                    <a:pt x="7608" y="155900"/>
                  </a:cubicBezTo>
                  <a:lnTo>
                    <a:pt x="295507" y="22190"/>
                  </a:lnTo>
                  <a:lnTo>
                    <a:pt x="295507" y="0"/>
                  </a:ln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C46D2A41-FFD4-3D06-F02C-3D4DA57A8A51}"/>
                </a:ext>
              </a:extLst>
            </p:cNvPr>
            <p:cNvSpPr/>
            <p:nvPr/>
          </p:nvSpPr>
          <p:spPr>
            <a:xfrm>
              <a:off x="11881214" y="1755923"/>
              <a:ext cx="310722" cy="165981"/>
            </a:xfrm>
            <a:custGeom>
              <a:avLst/>
              <a:gdLst>
                <a:gd name="connsiteX0" fmla="*/ 310723 w 310722"/>
                <a:gd name="connsiteY0" fmla="*/ 0 h 165981"/>
                <a:gd name="connsiteX1" fmla="*/ 0 w 310722"/>
                <a:gd name="connsiteY1" fmla="*/ 144362 h 165981"/>
                <a:gd name="connsiteX2" fmla="*/ 1205 w 310722"/>
                <a:gd name="connsiteY2" fmla="*/ 165981 h 165981"/>
                <a:gd name="connsiteX3" fmla="*/ 310723 w 310722"/>
                <a:gd name="connsiteY3" fmla="*/ 22190 h 165981"/>
                <a:gd name="connsiteX4" fmla="*/ 310723 w 310722"/>
                <a:gd name="connsiteY4" fmla="*/ 0 h 16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22" h="165981">
                  <a:moveTo>
                    <a:pt x="310723" y="0"/>
                  </a:moveTo>
                  <a:lnTo>
                    <a:pt x="0" y="144362"/>
                  </a:lnTo>
                  <a:cubicBezTo>
                    <a:pt x="127" y="151653"/>
                    <a:pt x="507" y="158880"/>
                    <a:pt x="1205" y="165981"/>
                  </a:cubicBezTo>
                  <a:lnTo>
                    <a:pt x="310723" y="22190"/>
                  </a:lnTo>
                  <a:lnTo>
                    <a:pt x="310723" y="0"/>
                  </a:ln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A8777952-D6CE-45C7-C7E0-C1C4DD23B75E}"/>
                </a:ext>
              </a:extLst>
            </p:cNvPr>
            <p:cNvSpPr/>
            <p:nvPr/>
          </p:nvSpPr>
          <p:spPr>
            <a:xfrm>
              <a:off x="11889773" y="1665641"/>
              <a:ext cx="302163" cy="162557"/>
            </a:xfrm>
            <a:custGeom>
              <a:avLst/>
              <a:gdLst>
                <a:gd name="connsiteX0" fmla="*/ 302164 w 302163"/>
                <a:gd name="connsiteY0" fmla="*/ 0 h 162557"/>
                <a:gd name="connsiteX1" fmla="*/ 8432 w 302163"/>
                <a:gd name="connsiteY1" fmla="*/ 136436 h 162557"/>
                <a:gd name="connsiteX2" fmla="*/ 0 w 302163"/>
                <a:gd name="connsiteY2" fmla="*/ 162557 h 162557"/>
                <a:gd name="connsiteX3" fmla="*/ 302164 w 302163"/>
                <a:gd name="connsiteY3" fmla="*/ 22190 h 162557"/>
                <a:gd name="connsiteX4" fmla="*/ 302164 w 302163"/>
                <a:gd name="connsiteY4" fmla="*/ 0 h 162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163" h="162557">
                  <a:moveTo>
                    <a:pt x="302164" y="0"/>
                  </a:moveTo>
                  <a:lnTo>
                    <a:pt x="8432" y="136436"/>
                  </a:lnTo>
                  <a:cubicBezTo>
                    <a:pt x="5199" y="144932"/>
                    <a:pt x="2346" y="153618"/>
                    <a:pt x="0" y="162557"/>
                  </a:cubicBezTo>
                  <a:lnTo>
                    <a:pt x="302164" y="22190"/>
                  </a:lnTo>
                  <a:lnTo>
                    <a:pt x="302164" y="0"/>
                  </a:lnTo>
                  <a:close/>
                </a:path>
              </a:pathLst>
            </a:custGeom>
            <a:grpFill/>
            <a:ln w="0" cap="flat">
              <a:noFill/>
              <a:prstDash val="solid"/>
              <a:miter/>
            </a:ln>
          </p:spPr>
          <p:txBody>
            <a:bodyPr rtlCol="0" anchor="ctr"/>
            <a:lstStyle/>
            <a:p>
              <a:endParaRPr lang="sv-SE"/>
            </a:p>
          </p:txBody>
        </p:sp>
        <p:sp>
          <p:nvSpPr>
            <p:cNvPr id="39" name="Frihandsfigur: Form 38">
              <a:extLst>
                <a:ext uri="{FF2B5EF4-FFF2-40B4-BE49-F238E27FC236}">
                  <a16:creationId xmlns:a16="http://schemas.microsoft.com/office/drawing/2014/main" id="{D46E74E5-9EAE-58D8-6A00-1FCDE01EF9DC}"/>
                </a:ext>
              </a:extLst>
            </p:cNvPr>
            <p:cNvSpPr/>
            <p:nvPr/>
          </p:nvSpPr>
          <p:spPr>
            <a:xfrm>
              <a:off x="11966297" y="1575423"/>
              <a:ext cx="225703" cy="126989"/>
            </a:xfrm>
            <a:custGeom>
              <a:avLst/>
              <a:gdLst>
                <a:gd name="connsiteX0" fmla="*/ 225640 w 225703"/>
                <a:gd name="connsiteY0" fmla="*/ 0 h 126989"/>
                <a:gd name="connsiteX1" fmla="*/ 65492 w 225703"/>
                <a:gd name="connsiteY1" fmla="*/ 74368 h 126989"/>
                <a:gd name="connsiteX2" fmla="*/ 39371 w 225703"/>
                <a:gd name="connsiteY2" fmla="*/ 97382 h 126989"/>
                <a:gd name="connsiteX3" fmla="*/ 0 w 225703"/>
                <a:gd name="connsiteY3" fmla="*/ 126990 h 126989"/>
                <a:gd name="connsiteX4" fmla="*/ 225704 w 225703"/>
                <a:gd name="connsiteY4" fmla="*/ 22190 h 126989"/>
                <a:gd name="connsiteX5" fmla="*/ 225704 w 225703"/>
                <a:gd name="connsiteY5" fmla="*/ 0 h 12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703" h="126989">
                  <a:moveTo>
                    <a:pt x="225640" y="0"/>
                  </a:moveTo>
                  <a:lnTo>
                    <a:pt x="65492" y="74368"/>
                  </a:lnTo>
                  <a:cubicBezTo>
                    <a:pt x="58265" y="83307"/>
                    <a:pt x="49452" y="91169"/>
                    <a:pt x="39371" y="97382"/>
                  </a:cubicBezTo>
                  <a:cubicBezTo>
                    <a:pt x="25297" y="106005"/>
                    <a:pt x="12109" y="115958"/>
                    <a:pt x="0" y="126990"/>
                  </a:cubicBezTo>
                  <a:lnTo>
                    <a:pt x="225704" y="22190"/>
                  </a:lnTo>
                  <a:lnTo>
                    <a:pt x="225704" y="0"/>
                  </a:lnTo>
                  <a:close/>
                </a:path>
              </a:pathLst>
            </a:custGeom>
            <a:grpFill/>
            <a:ln w="0" cap="flat">
              <a:noFill/>
              <a:prstDash val="solid"/>
              <a:miter/>
            </a:ln>
          </p:spPr>
          <p:txBody>
            <a:bodyPr rtlCol="0" anchor="ctr"/>
            <a:lstStyle/>
            <a:p>
              <a:endParaRPr lang="sv-SE"/>
            </a:p>
          </p:txBody>
        </p:sp>
        <p:sp>
          <p:nvSpPr>
            <p:cNvPr id="40" name="Frihandsfigur: Form 39">
              <a:extLst>
                <a:ext uri="{FF2B5EF4-FFF2-40B4-BE49-F238E27FC236}">
                  <a16:creationId xmlns:a16="http://schemas.microsoft.com/office/drawing/2014/main" id="{CBC1A7A0-94CF-32B7-9623-3AEAC988E34F}"/>
                </a:ext>
              </a:extLst>
            </p:cNvPr>
            <p:cNvSpPr/>
            <p:nvPr/>
          </p:nvSpPr>
          <p:spPr>
            <a:xfrm>
              <a:off x="12048970" y="1485142"/>
              <a:ext cx="142966" cy="86350"/>
            </a:xfrm>
            <a:custGeom>
              <a:avLst/>
              <a:gdLst>
                <a:gd name="connsiteX0" fmla="*/ 142967 w 142966"/>
                <a:gd name="connsiteY0" fmla="*/ 0 h 86350"/>
                <a:gd name="connsiteX1" fmla="*/ 0 w 142966"/>
                <a:gd name="connsiteY1" fmla="*/ 66380 h 86350"/>
                <a:gd name="connsiteX2" fmla="*/ 4755 w 142966"/>
                <a:gd name="connsiteY2" fmla="*/ 86351 h 86350"/>
                <a:gd name="connsiteX3" fmla="*/ 142903 w 142966"/>
                <a:gd name="connsiteY3" fmla="*/ 22190 h 86350"/>
                <a:gd name="connsiteX4" fmla="*/ 142903 w 142966"/>
                <a:gd name="connsiteY4" fmla="*/ 0 h 8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966" h="86350">
                  <a:moveTo>
                    <a:pt x="142967" y="0"/>
                  </a:moveTo>
                  <a:lnTo>
                    <a:pt x="0" y="66380"/>
                  </a:lnTo>
                  <a:cubicBezTo>
                    <a:pt x="2219" y="72847"/>
                    <a:pt x="3867" y="79503"/>
                    <a:pt x="4755" y="86351"/>
                  </a:cubicBezTo>
                  <a:lnTo>
                    <a:pt x="142903" y="22190"/>
                  </a:lnTo>
                  <a:lnTo>
                    <a:pt x="142903" y="0"/>
                  </a:lnTo>
                  <a:close/>
                </a:path>
              </a:pathLst>
            </a:custGeom>
            <a:grpFill/>
            <a:ln w="0" cap="flat">
              <a:noFill/>
              <a:prstDash val="solid"/>
              <a:miter/>
            </a:ln>
          </p:spPr>
          <p:txBody>
            <a:bodyPr rtlCol="0" anchor="ctr"/>
            <a:lstStyle/>
            <a:p>
              <a:endParaRPr lang="sv-SE"/>
            </a:p>
          </p:txBody>
        </p:sp>
        <p:sp>
          <p:nvSpPr>
            <p:cNvPr id="41" name="Frihandsfigur: Form 40">
              <a:extLst>
                <a:ext uri="{FF2B5EF4-FFF2-40B4-BE49-F238E27FC236}">
                  <a16:creationId xmlns:a16="http://schemas.microsoft.com/office/drawing/2014/main" id="{1AAE745C-B3E6-3C29-905C-416C7ECB3C8C}"/>
                </a:ext>
              </a:extLst>
            </p:cNvPr>
            <p:cNvSpPr/>
            <p:nvPr/>
          </p:nvSpPr>
          <p:spPr>
            <a:xfrm>
              <a:off x="11991276" y="1394860"/>
              <a:ext cx="200660" cy="106258"/>
            </a:xfrm>
            <a:custGeom>
              <a:avLst/>
              <a:gdLst>
                <a:gd name="connsiteX0" fmla="*/ 200661 w 200660"/>
                <a:gd name="connsiteY0" fmla="*/ 0 h 106258"/>
                <a:gd name="connsiteX1" fmla="*/ 0 w 200660"/>
                <a:gd name="connsiteY1" fmla="*/ 93198 h 106258"/>
                <a:gd name="connsiteX2" fmla="*/ 14328 w 200660"/>
                <a:gd name="connsiteY2" fmla="*/ 102708 h 106258"/>
                <a:gd name="connsiteX3" fmla="*/ 19717 w 200660"/>
                <a:gd name="connsiteY3" fmla="*/ 106258 h 106258"/>
                <a:gd name="connsiteX4" fmla="*/ 200661 w 200660"/>
                <a:gd name="connsiteY4" fmla="*/ 22190 h 106258"/>
                <a:gd name="connsiteX5" fmla="*/ 200661 w 200660"/>
                <a:gd name="connsiteY5" fmla="*/ 0 h 10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60" h="106258">
                  <a:moveTo>
                    <a:pt x="200661" y="0"/>
                  </a:moveTo>
                  <a:lnTo>
                    <a:pt x="0" y="93198"/>
                  </a:lnTo>
                  <a:cubicBezTo>
                    <a:pt x="4692" y="96495"/>
                    <a:pt x="9447" y="99665"/>
                    <a:pt x="14328" y="102708"/>
                  </a:cubicBezTo>
                  <a:cubicBezTo>
                    <a:pt x="16167" y="103849"/>
                    <a:pt x="17942" y="104990"/>
                    <a:pt x="19717" y="106258"/>
                  </a:cubicBezTo>
                  <a:lnTo>
                    <a:pt x="200661" y="22190"/>
                  </a:lnTo>
                  <a:lnTo>
                    <a:pt x="200661" y="0"/>
                  </a:lnTo>
                  <a:close/>
                </a:path>
              </a:pathLst>
            </a:custGeom>
            <a:grpFill/>
            <a:ln w="0" cap="flat">
              <a:noFill/>
              <a:prstDash val="solid"/>
              <a:miter/>
            </a:ln>
          </p:spPr>
          <p:txBody>
            <a:bodyPr rtlCol="0" anchor="ctr"/>
            <a:lstStyle/>
            <a:p>
              <a:endParaRPr lang="sv-SE"/>
            </a:p>
          </p:txBody>
        </p:sp>
        <p:sp>
          <p:nvSpPr>
            <p:cNvPr id="42" name="Frihandsfigur: Form 41">
              <a:extLst>
                <a:ext uri="{FF2B5EF4-FFF2-40B4-BE49-F238E27FC236}">
                  <a16:creationId xmlns:a16="http://schemas.microsoft.com/office/drawing/2014/main" id="{0BE5550B-FA4D-EBA9-99DB-A158297E16BC}"/>
                </a:ext>
              </a:extLst>
            </p:cNvPr>
            <p:cNvSpPr/>
            <p:nvPr/>
          </p:nvSpPr>
          <p:spPr>
            <a:xfrm>
              <a:off x="11929525" y="1304642"/>
              <a:ext cx="262475" cy="138211"/>
            </a:xfrm>
            <a:custGeom>
              <a:avLst/>
              <a:gdLst>
                <a:gd name="connsiteX0" fmla="*/ 262412 w 262475"/>
                <a:gd name="connsiteY0" fmla="*/ 0 h 138211"/>
                <a:gd name="connsiteX1" fmla="*/ 0 w 262475"/>
                <a:gd name="connsiteY1" fmla="*/ 121918 h 138211"/>
                <a:gd name="connsiteX2" fmla="*/ 12680 w 262475"/>
                <a:gd name="connsiteY2" fmla="*/ 138212 h 138211"/>
                <a:gd name="connsiteX3" fmla="*/ 262476 w 262475"/>
                <a:gd name="connsiteY3" fmla="*/ 22190 h 138211"/>
                <a:gd name="connsiteX4" fmla="*/ 262476 w 262475"/>
                <a:gd name="connsiteY4" fmla="*/ 0 h 13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75" h="138211">
                  <a:moveTo>
                    <a:pt x="262412" y="0"/>
                  </a:moveTo>
                  <a:lnTo>
                    <a:pt x="0" y="121918"/>
                  </a:lnTo>
                  <a:cubicBezTo>
                    <a:pt x="3994" y="127497"/>
                    <a:pt x="8242" y="132950"/>
                    <a:pt x="12680" y="138212"/>
                  </a:cubicBezTo>
                  <a:lnTo>
                    <a:pt x="262476" y="22190"/>
                  </a:lnTo>
                  <a:lnTo>
                    <a:pt x="262476" y="0"/>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32305788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6_Mönster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2875946" y="1031048"/>
            <a:ext cx="8393246"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2875946" y="2523796"/>
            <a:ext cx="8393246"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bildnummer 6">
            <a:extLst>
              <a:ext uri="{FF2B5EF4-FFF2-40B4-BE49-F238E27FC236}">
                <a16:creationId xmlns:a16="http://schemas.microsoft.com/office/drawing/2014/main" id="{0BD38EF1-1240-8FF0-7261-DFEAC5A17E6D}"/>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grpSp>
        <p:nvGrpSpPr>
          <p:cNvPr id="8" name="Grupp 7">
            <a:extLst>
              <a:ext uri="{FF2B5EF4-FFF2-40B4-BE49-F238E27FC236}">
                <a16:creationId xmlns:a16="http://schemas.microsoft.com/office/drawing/2014/main" id="{1003B72D-A7D6-72DF-2A3C-6B22E793FDC7}"/>
              </a:ext>
            </a:extLst>
          </p:cNvPr>
          <p:cNvGrpSpPr/>
          <p:nvPr userDrawn="1"/>
        </p:nvGrpSpPr>
        <p:grpSpPr>
          <a:xfrm>
            <a:off x="0" y="2806262"/>
            <a:ext cx="2245870" cy="4051738"/>
            <a:chOff x="407987" y="1759432"/>
            <a:chExt cx="2600266" cy="4691098"/>
          </a:xfrm>
          <a:solidFill>
            <a:schemeClr val="bg2"/>
          </a:solidFill>
        </p:grpSpPr>
        <p:sp>
          <p:nvSpPr>
            <p:cNvPr id="14" name="Frihandsfigur: Form 13">
              <a:extLst>
                <a:ext uri="{FF2B5EF4-FFF2-40B4-BE49-F238E27FC236}">
                  <a16:creationId xmlns:a16="http://schemas.microsoft.com/office/drawing/2014/main" id="{EF9B64F2-71E6-E8CC-62F8-7231D9AA2374}"/>
                </a:ext>
              </a:extLst>
            </p:cNvPr>
            <p:cNvSpPr/>
            <p:nvPr/>
          </p:nvSpPr>
          <p:spPr>
            <a:xfrm>
              <a:off x="1104479" y="2799058"/>
              <a:ext cx="873633" cy="873633"/>
            </a:xfrm>
            <a:custGeom>
              <a:avLst/>
              <a:gdLst>
                <a:gd name="connsiteX0" fmla="*/ 873634 w 873633"/>
                <a:gd name="connsiteY0" fmla="*/ 436817 h 873633"/>
                <a:gd name="connsiteX1" fmla="*/ 436817 w 873633"/>
                <a:gd name="connsiteY1" fmla="*/ 873634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4"/>
                    <a:pt x="436817" y="873634"/>
                  </a:cubicBezTo>
                  <a:cubicBezTo>
                    <a:pt x="195570" y="873634"/>
                    <a:pt x="0" y="678064"/>
                    <a:pt x="0" y="436817"/>
                  </a:cubicBezTo>
                  <a:cubicBezTo>
                    <a:pt x="0" y="195570"/>
                    <a:pt x="195570" y="0"/>
                    <a:pt x="436817" y="0"/>
                  </a:cubicBezTo>
                  <a:cubicBezTo>
                    <a:pt x="678064" y="0"/>
                    <a:pt x="873634" y="195570"/>
                    <a:pt x="873634" y="436817"/>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5E81DA2B-E3D0-0E81-ED45-798ED2D46404}"/>
                </a:ext>
              </a:extLst>
            </p:cNvPr>
            <p:cNvSpPr/>
            <p:nvPr/>
          </p:nvSpPr>
          <p:spPr>
            <a:xfrm>
              <a:off x="1104479" y="3836467"/>
              <a:ext cx="873633" cy="873633"/>
            </a:xfrm>
            <a:custGeom>
              <a:avLst/>
              <a:gdLst>
                <a:gd name="connsiteX0" fmla="*/ 873634 w 873633"/>
                <a:gd name="connsiteY0" fmla="*/ 436817 h 873633"/>
                <a:gd name="connsiteX1" fmla="*/ 436817 w 873633"/>
                <a:gd name="connsiteY1" fmla="*/ 873634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4"/>
                    <a:pt x="436817" y="873634"/>
                  </a:cubicBezTo>
                  <a:cubicBezTo>
                    <a:pt x="195570" y="873634"/>
                    <a:pt x="0" y="678064"/>
                    <a:pt x="0" y="436817"/>
                  </a:cubicBezTo>
                  <a:cubicBezTo>
                    <a:pt x="0" y="195570"/>
                    <a:pt x="195570" y="0"/>
                    <a:pt x="436817" y="0"/>
                  </a:cubicBezTo>
                  <a:cubicBezTo>
                    <a:pt x="678064" y="0"/>
                    <a:pt x="873634" y="195569"/>
                    <a:pt x="873634" y="436817"/>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C22F6698-AFFB-A9E4-67D6-F58265B10309}"/>
                </a:ext>
              </a:extLst>
            </p:cNvPr>
            <p:cNvSpPr/>
            <p:nvPr/>
          </p:nvSpPr>
          <p:spPr>
            <a:xfrm>
              <a:off x="1096102" y="4873814"/>
              <a:ext cx="873633" cy="873633"/>
            </a:xfrm>
            <a:custGeom>
              <a:avLst/>
              <a:gdLst>
                <a:gd name="connsiteX0" fmla="*/ 873634 w 873633"/>
                <a:gd name="connsiteY0" fmla="*/ 436817 h 873633"/>
                <a:gd name="connsiteX1" fmla="*/ 436817 w 873633"/>
                <a:gd name="connsiteY1" fmla="*/ 873633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3"/>
                    <a:pt x="436817" y="873633"/>
                  </a:cubicBezTo>
                  <a:cubicBezTo>
                    <a:pt x="195570" y="873633"/>
                    <a:pt x="0" y="678064"/>
                    <a:pt x="0" y="436817"/>
                  </a:cubicBezTo>
                  <a:cubicBezTo>
                    <a:pt x="0" y="195570"/>
                    <a:pt x="195570" y="0"/>
                    <a:pt x="436817" y="0"/>
                  </a:cubicBezTo>
                  <a:cubicBezTo>
                    <a:pt x="678064" y="0"/>
                    <a:pt x="873634" y="195570"/>
                    <a:pt x="873634" y="436817"/>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A0673095-DA87-F621-51AC-49DB826B307A}"/>
                </a:ext>
              </a:extLst>
            </p:cNvPr>
            <p:cNvSpPr/>
            <p:nvPr/>
          </p:nvSpPr>
          <p:spPr>
            <a:xfrm>
              <a:off x="407987" y="1759432"/>
              <a:ext cx="531546" cy="2950607"/>
            </a:xfrm>
            <a:custGeom>
              <a:avLst/>
              <a:gdLst>
                <a:gd name="connsiteX0" fmla="*/ 313631 w 531546"/>
                <a:gd name="connsiteY0" fmla="*/ 2135549 h 2950607"/>
                <a:gd name="connsiteX1" fmla="*/ 240089 w 531546"/>
                <a:gd name="connsiteY1" fmla="*/ 1994747 h 2950607"/>
                <a:gd name="connsiteX2" fmla="*/ 240089 w 531546"/>
                <a:gd name="connsiteY2" fmla="*/ 1994378 h 2950607"/>
                <a:gd name="connsiteX3" fmla="*/ 322254 w 531546"/>
                <a:gd name="connsiteY3" fmla="*/ 1847848 h 2950607"/>
                <a:gd name="connsiteX4" fmla="*/ 530869 w 531546"/>
                <a:gd name="connsiteY4" fmla="*/ 1475334 h 2950607"/>
                <a:gd name="connsiteX5" fmla="*/ 322254 w 531546"/>
                <a:gd name="connsiteY5" fmla="*/ 1102821 h 2950607"/>
                <a:gd name="connsiteX6" fmla="*/ 240089 w 531546"/>
                <a:gd name="connsiteY6" fmla="*/ 956291 h 2950607"/>
                <a:gd name="connsiteX7" fmla="*/ 240089 w 531546"/>
                <a:gd name="connsiteY7" fmla="*/ 955922 h 2950607"/>
                <a:gd name="connsiteX8" fmla="*/ 323363 w 531546"/>
                <a:gd name="connsiteY8" fmla="*/ 808653 h 2950607"/>
                <a:gd name="connsiteX9" fmla="*/ 530869 w 531546"/>
                <a:gd name="connsiteY9" fmla="*/ 434723 h 2950607"/>
                <a:gd name="connsiteX10" fmla="*/ 94052 w 531546"/>
                <a:gd name="connsiteY10" fmla="*/ 0 h 2950607"/>
                <a:gd name="connsiteX11" fmla="*/ 0 w 531546"/>
                <a:gd name="connsiteY11" fmla="*/ 10286 h 2950607"/>
                <a:gd name="connsiteX12" fmla="*/ 0 w 531546"/>
                <a:gd name="connsiteY12" fmla="*/ 2940383 h 2950607"/>
                <a:gd name="connsiteX13" fmla="*/ 79948 w 531546"/>
                <a:gd name="connsiteY13" fmla="*/ 2950361 h 2950607"/>
                <a:gd name="connsiteX14" fmla="*/ 80132 w 531546"/>
                <a:gd name="connsiteY14" fmla="*/ 2950361 h 2950607"/>
                <a:gd name="connsiteX15" fmla="*/ 93991 w 531546"/>
                <a:gd name="connsiteY15" fmla="*/ 2950607 h 2950607"/>
                <a:gd name="connsiteX16" fmla="*/ 94422 w 531546"/>
                <a:gd name="connsiteY16" fmla="*/ 2950607 h 2950607"/>
                <a:gd name="connsiteX17" fmla="*/ 94730 w 531546"/>
                <a:gd name="connsiteY17" fmla="*/ 2950607 h 2950607"/>
                <a:gd name="connsiteX18" fmla="*/ 531547 w 531546"/>
                <a:gd name="connsiteY18" fmla="*/ 2513852 h 2950607"/>
                <a:gd name="connsiteX19" fmla="*/ 313569 w 531546"/>
                <a:gd name="connsiteY19" fmla="*/ 2135610 h 295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1546" h="2950607">
                  <a:moveTo>
                    <a:pt x="313631" y="2135549"/>
                  </a:moveTo>
                  <a:cubicBezTo>
                    <a:pt x="268052" y="2103151"/>
                    <a:pt x="240089" y="2051105"/>
                    <a:pt x="240089" y="1994747"/>
                  </a:cubicBezTo>
                  <a:lnTo>
                    <a:pt x="240089" y="1994378"/>
                  </a:lnTo>
                  <a:cubicBezTo>
                    <a:pt x="240089" y="1934571"/>
                    <a:pt x="271255" y="1879137"/>
                    <a:pt x="322254" y="1847848"/>
                  </a:cubicBezTo>
                  <a:cubicBezTo>
                    <a:pt x="447411" y="1771042"/>
                    <a:pt x="530869" y="1632951"/>
                    <a:pt x="530869" y="1475334"/>
                  </a:cubicBezTo>
                  <a:cubicBezTo>
                    <a:pt x="530869" y="1317718"/>
                    <a:pt x="447411" y="1179627"/>
                    <a:pt x="322254" y="1102821"/>
                  </a:cubicBezTo>
                  <a:cubicBezTo>
                    <a:pt x="271255" y="1071532"/>
                    <a:pt x="240089" y="1016098"/>
                    <a:pt x="240089" y="956291"/>
                  </a:cubicBezTo>
                  <a:lnTo>
                    <a:pt x="240089" y="955922"/>
                  </a:lnTo>
                  <a:cubicBezTo>
                    <a:pt x="240089" y="895622"/>
                    <a:pt x="272056" y="840373"/>
                    <a:pt x="323363" y="808653"/>
                  </a:cubicBezTo>
                  <a:cubicBezTo>
                    <a:pt x="448458" y="731354"/>
                    <a:pt x="531670" y="592708"/>
                    <a:pt x="530869" y="434723"/>
                  </a:cubicBezTo>
                  <a:cubicBezTo>
                    <a:pt x="529699" y="193956"/>
                    <a:pt x="334757" y="0"/>
                    <a:pt x="94052" y="0"/>
                  </a:cubicBezTo>
                  <a:cubicBezTo>
                    <a:pt x="61778" y="0"/>
                    <a:pt x="30304" y="3634"/>
                    <a:pt x="0" y="10286"/>
                  </a:cubicBezTo>
                  <a:lnTo>
                    <a:pt x="0" y="2940383"/>
                  </a:lnTo>
                  <a:cubicBezTo>
                    <a:pt x="25869" y="2946049"/>
                    <a:pt x="52600" y="2949499"/>
                    <a:pt x="79948" y="2950361"/>
                  </a:cubicBezTo>
                  <a:cubicBezTo>
                    <a:pt x="80009" y="2950361"/>
                    <a:pt x="80071" y="2950361"/>
                    <a:pt x="80132" y="2950361"/>
                  </a:cubicBezTo>
                  <a:cubicBezTo>
                    <a:pt x="84752" y="2950484"/>
                    <a:pt x="89371" y="2950607"/>
                    <a:pt x="93991" y="2950607"/>
                  </a:cubicBezTo>
                  <a:cubicBezTo>
                    <a:pt x="94114" y="2950607"/>
                    <a:pt x="94299" y="2950607"/>
                    <a:pt x="94422" y="2950607"/>
                  </a:cubicBezTo>
                  <a:cubicBezTo>
                    <a:pt x="94545" y="2950607"/>
                    <a:pt x="94668" y="2950607"/>
                    <a:pt x="94730" y="2950607"/>
                  </a:cubicBezTo>
                  <a:cubicBezTo>
                    <a:pt x="335989" y="2950607"/>
                    <a:pt x="531547" y="2755050"/>
                    <a:pt x="531547" y="2513852"/>
                  </a:cubicBezTo>
                  <a:cubicBezTo>
                    <a:pt x="531547" y="2352171"/>
                    <a:pt x="444023" y="2211123"/>
                    <a:pt x="313569" y="2135610"/>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757C73D7-6215-9347-4FB5-981EF68E7CF0}"/>
                </a:ext>
              </a:extLst>
            </p:cNvPr>
            <p:cNvSpPr/>
            <p:nvPr/>
          </p:nvSpPr>
          <p:spPr>
            <a:xfrm>
              <a:off x="407987" y="4873691"/>
              <a:ext cx="523231" cy="873633"/>
            </a:xfrm>
            <a:custGeom>
              <a:avLst/>
              <a:gdLst>
                <a:gd name="connsiteX0" fmla="*/ 86415 w 523231"/>
                <a:gd name="connsiteY0" fmla="*/ 123 h 873633"/>
                <a:gd name="connsiteX1" fmla="*/ 0 w 523231"/>
                <a:gd name="connsiteY1" fmla="*/ 8685 h 873633"/>
                <a:gd name="connsiteX2" fmla="*/ 0 w 523231"/>
                <a:gd name="connsiteY2" fmla="*/ 865072 h 873633"/>
                <a:gd name="connsiteX3" fmla="*/ 86415 w 523231"/>
                <a:gd name="connsiteY3" fmla="*/ 873634 h 873633"/>
                <a:gd name="connsiteX4" fmla="*/ 523232 w 523231"/>
                <a:gd name="connsiteY4" fmla="*/ 436817 h 873633"/>
                <a:gd name="connsiteX5" fmla="*/ 86415 w 523231"/>
                <a:gd name="connsiteY5" fmla="*/ 0 h 87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231" h="873633">
                  <a:moveTo>
                    <a:pt x="86415" y="123"/>
                  </a:moveTo>
                  <a:cubicBezTo>
                    <a:pt x="56850" y="123"/>
                    <a:pt x="27963" y="3080"/>
                    <a:pt x="0" y="8685"/>
                  </a:cubicBezTo>
                  <a:lnTo>
                    <a:pt x="0" y="865072"/>
                  </a:lnTo>
                  <a:cubicBezTo>
                    <a:pt x="27902" y="870677"/>
                    <a:pt x="56789" y="873634"/>
                    <a:pt x="86415" y="873634"/>
                  </a:cubicBezTo>
                  <a:cubicBezTo>
                    <a:pt x="327674" y="873634"/>
                    <a:pt x="523232" y="678076"/>
                    <a:pt x="523232" y="436817"/>
                  </a:cubicBezTo>
                  <a:cubicBezTo>
                    <a:pt x="523232" y="195557"/>
                    <a:pt x="327674" y="0"/>
                    <a:pt x="86415" y="0"/>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985AAC26-D5EF-6D1A-61B0-2008F8DE166F}"/>
                </a:ext>
              </a:extLst>
            </p:cNvPr>
            <p:cNvSpPr/>
            <p:nvPr/>
          </p:nvSpPr>
          <p:spPr>
            <a:xfrm>
              <a:off x="408110" y="5911156"/>
              <a:ext cx="2600143" cy="539374"/>
            </a:xfrm>
            <a:custGeom>
              <a:avLst/>
              <a:gdLst>
                <a:gd name="connsiteX0" fmla="*/ 2587887 w 2600143"/>
                <a:gd name="connsiteY0" fmla="*/ 539375 h 539374"/>
                <a:gd name="connsiteX1" fmla="*/ 2600144 w 2600143"/>
                <a:gd name="connsiteY1" fmla="*/ 436822 h 539374"/>
                <a:gd name="connsiteX2" fmla="*/ 2165483 w 2600143"/>
                <a:gd name="connsiteY2" fmla="*/ 6 h 539374"/>
                <a:gd name="connsiteX3" fmla="*/ 1791553 w 2600143"/>
                <a:gd name="connsiteY3" fmla="*/ 207512 h 539374"/>
                <a:gd name="connsiteX4" fmla="*/ 1644284 w 2600143"/>
                <a:gd name="connsiteY4" fmla="*/ 290786 h 539374"/>
                <a:gd name="connsiteX5" fmla="*/ 1643914 w 2600143"/>
                <a:gd name="connsiteY5" fmla="*/ 290786 h 539374"/>
                <a:gd name="connsiteX6" fmla="*/ 1497385 w 2600143"/>
                <a:gd name="connsiteY6" fmla="*/ 208621 h 539374"/>
                <a:gd name="connsiteX7" fmla="*/ 1124871 w 2600143"/>
                <a:gd name="connsiteY7" fmla="*/ 6 h 539374"/>
                <a:gd name="connsiteX8" fmla="*/ 752357 w 2600143"/>
                <a:gd name="connsiteY8" fmla="*/ 208621 h 539374"/>
                <a:gd name="connsiteX9" fmla="*/ 605828 w 2600143"/>
                <a:gd name="connsiteY9" fmla="*/ 290786 h 539374"/>
                <a:gd name="connsiteX10" fmla="*/ 605458 w 2600143"/>
                <a:gd name="connsiteY10" fmla="*/ 290786 h 539374"/>
                <a:gd name="connsiteX11" fmla="*/ 458190 w 2600143"/>
                <a:gd name="connsiteY11" fmla="*/ 207512 h 539374"/>
                <a:gd name="connsiteX12" fmla="*/ 84259 w 2600143"/>
                <a:gd name="connsiteY12" fmla="*/ 6 h 539374"/>
                <a:gd name="connsiteX13" fmla="*/ 0 w 2600143"/>
                <a:gd name="connsiteY13" fmla="*/ 8567 h 539374"/>
                <a:gd name="connsiteX14" fmla="*/ 0 w 2600143"/>
                <a:gd name="connsiteY14" fmla="*/ 539313 h 539374"/>
                <a:gd name="connsiteX15" fmla="*/ 2588010 w 2600143"/>
                <a:gd name="connsiteY15" fmla="*/ 539313 h 53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00143" h="539374">
                  <a:moveTo>
                    <a:pt x="2587887" y="539375"/>
                  </a:moveTo>
                  <a:cubicBezTo>
                    <a:pt x="2595833" y="506484"/>
                    <a:pt x="2600144" y="472177"/>
                    <a:pt x="2600144" y="436822"/>
                  </a:cubicBezTo>
                  <a:cubicBezTo>
                    <a:pt x="2600144" y="196118"/>
                    <a:pt x="2406188" y="1176"/>
                    <a:pt x="2165483" y="6"/>
                  </a:cubicBezTo>
                  <a:cubicBezTo>
                    <a:pt x="2007436" y="-733"/>
                    <a:pt x="1868790" y="82417"/>
                    <a:pt x="1791553" y="207512"/>
                  </a:cubicBezTo>
                  <a:cubicBezTo>
                    <a:pt x="1759894" y="258819"/>
                    <a:pt x="1704583" y="290786"/>
                    <a:pt x="1644284" y="290786"/>
                  </a:cubicBezTo>
                  <a:lnTo>
                    <a:pt x="1643914" y="290786"/>
                  </a:lnTo>
                  <a:cubicBezTo>
                    <a:pt x="1584108" y="290786"/>
                    <a:pt x="1528674" y="259620"/>
                    <a:pt x="1497385" y="208621"/>
                  </a:cubicBezTo>
                  <a:cubicBezTo>
                    <a:pt x="1420579" y="83464"/>
                    <a:pt x="1282487" y="6"/>
                    <a:pt x="1124871" y="6"/>
                  </a:cubicBezTo>
                  <a:cubicBezTo>
                    <a:pt x="967255" y="6"/>
                    <a:pt x="829164" y="83464"/>
                    <a:pt x="752357" y="208621"/>
                  </a:cubicBezTo>
                  <a:cubicBezTo>
                    <a:pt x="721068" y="259620"/>
                    <a:pt x="665634" y="290786"/>
                    <a:pt x="605828" y="290786"/>
                  </a:cubicBezTo>
                  <a:lnTo>
                    <a:pt x="605458" y="290786"/>
                  </a:lnTo>
                  <a:cubicBezTo>
                    <a:pt x="545159" y="290786"/>
                    <a:pt x="489910" y="258819"/>
                    <a:pt x="458190" y="207512"/>
                  </a:cubicBezTo>
                  <a:cubicBezTo>
                    <a:pt x="380890" y="82417"/>
                    <a:pt x="242245" y="-795"/>
                    <a:pt x="84259" y="6"/>
                  </a:cubicBezTo>
                  <a:cubicBezTo>
                    <a:pt x="55434" y="129"/>
                    <a:pt x="27286" y="3147"/>
                    <a:pt x="0" y="8567"/>
                  </a:cubicBezTo>
                  <a:lnTo>
                    <a:pt x="0" y="539313"/>
                  </a:lnTo>
                  <a:lnTo>
                    <a:pt x="2588010" y="539313"/>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4794326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6_Mönster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7" name="Platshållare för bildnummer 6">
            <a:extLst>
              <a:ext uri="{FF2B5EF4-FFF2-40B4-BE49-F238E27FC236}">
                <a16:creationId xmlns:a16="http://schemas.microsoft.com/office/drawing/2014/main" id="{7858A501-0F3A-6149-2C78-ED0D962BBA62}"/>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8" name="Rubrik 2">
            <a:extLst>
              <a:ext uri="{FF2B5EF4-FFF2-40B4-BE49-F238E27FC236}">
                <a16:creationId xmlns:a16="http://schemas.microsoft.com/office/drawing/2014/main" id="{95509975-4F7D-7B09-DC42-25E964B7DB5D}"/>
              </a:ext>
            </a:extLst>
          </p:cNvPr>
          <p:cNvSpPr>
            <a:spLocks noGrp="1"/>
          </p:cNvSpPr>
          <p:nvPr>
            <p:ph type="title" hasCustomPrompt="1"/>
          </p:nvPr>
        </p:nvSpPr>
        <p:spPr>
          <a:xfrm>
            <a:off x="2875946" y="1031048"/>
            <a:ext cx="8393246" cy="1232398"/>
          </a:xfrm>
        </p:spPr>
        <p:txBody>
          <a:bodyPr>
            <a:normAutofit/>
          </a:bodyPr>
          <a:lstStyle>
            <a:lvl1pPr>
              <a:defRPr sz="4000">
                <a:solidFill>
                  <a:schemeClr val="bg1"/>
                </a:solidFill>
              </a:defRPr>
            </a:lvl1pPr>
          </a:lstStyle>
          <a:p>
            <a:r>
              <a:rPr lang="sv-SE"/>
              <a:t>Rubrik</a:t>
            </a:r>
          </a:p>
        </p:txBody>
      </p:sp>
      <p:sp>
        <p:nvSpPr>
          <p:cNvPr id="9" name="Content Placeholder 2">
            <a:extLst>
              <a:ext uri="{FF2B5EF4-FFF2-40B4-BE49-F238E27FC236}">
                <a16:creationId xmlns:a16="http://schemas.microsoft.com/office/drawing/2014/main" id="{F8864FF1-E4FC-EEDC-7110-F784D7A4F03C}"/>
              </a:ext>
            </a:extLst>
          </p:cNvPr>
          <p:cNvSpPr>
            <a:spLocks noGrp="1"/>
          </p:cNvSpPr>
          <p:nvPr>
            <p:ph sz="half" idx="11"/>
          </p:nvPr>
        </p:nvSpPr>
        <p:spPr>
          <a:xfrm>
            <a:off x="2875946" y="2523796"/>
            <a:ext cx="8393246"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grpSp>
        <p:nvGrpSpPr>
          <p:cNvPr id="11" name="Grupp 10">
            <a:extLst>
              <a:ext uri="{FF2B5EF4-FFF2-40B4-BE49-F238E27FC236}">
                <a16:creationId xmlns:a16="http://schemas.microsoft.com/office/drawing/2014/main" id="{9A3EEED0-F775-39E4-78FC-7B3DE18657CE}"/>
              </a:ext>
            </a:extLst>
          </p:cNvPr>
          <p:cNvGrpSpPr/>
          <p:nvPr userDrawn="1"/>
        </p:nvGrpSpPr>
        <p:grpSpPr>
          <a:xfrm>
            <a:off x="0" y="2806262"/>
            <a:ext cx="2245870" cy="4051738"/>
            <a:chOff x="407987" y="1759432"/>
            <a:chExt cx="2600266" cy="4691098"/>
          </a:xfrm>
          <a:solidFill>
            <a:schemeClr val="accent5"/>
          </a:solidFill>
        </p:grpSpPr>
        <p:sp>
          <p:nvSpPr>
            <p:cNvPr id="14" name="Frihandsfigur: Form 13">
              <a:extLst>
                <a:ext uri="{FF2B5EF4-FFF2-40B4-BE49-F238E27FC236}">
                  <a16:creationId xmlns:a16="http://schemas.microsoft.com/office/drawing/2014/main" id="{21D690EF-6013-DF49-E988-FD67D853E0B5}"/>
                </a:ext>
              </a:extLst>
            </p:cNvPr>
            <p:cNvSpPr/>
            <p:nvPr/>
          </p:nvSpPr>
          <p:spPr>
            <a:xfrm>
              <a:off x="1104479" y="2799058"/>
              <a:ext cx="873633" cy="873633"/>
            </a:xfrm>
            <a:custGeom>
              <a:avLst/>
              <a:gdLst>
                <a:gd name="connsiteX0" fmla="*/ 873634 w 873633"/>
                <a:gd name="connsiteY0" fmla="*/ 436817 h 873633"/>
                <a:gd name="connsiteX1" fmla="*/ 436817 w 873633"/>
                <a:gd name="connsiteY1" fmla="*/ 873634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4"/>
                    <a:pt x="436817" y="873634"/>
                  </a:cubicBezTo>
                  <a:cubicBezTo>
                    <a:pt x="195570" y="873634"/>
                    <a:pt x="0" y="678064"/>
                    <a:pt x="0" y="436817"/>
                  </a:cubicBezTo>
                  <a:cubicBezTo>
                    <a:pt x="0" y="195570"/>
                    <a:pt x="195570" y="0"/>
                    <a:pt x="436817" y="0"/>
                  </a:cubicBezTo>
                  <a:cubicBezTo>
                    <a:pt x="678064" y="0"/>
                    <a:pt x="873634" y="195570"/>
                    <a:pt x="873634" y="436817"/>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97FF827F-D523-6908-2EA2-1DE6B34A0D9D}"/>
                </a:ext>
              </a:extLst>
            </p:cNvPr>
            <p:cNvSpPr/>
            <p:nvPr/>
          </p:nvSpPr>
          <p:spPr>
            <a:xfrm>
              <a:off x="1104479" y="3836467"/>
              <a:ext cx="873633" cy="873633"/>
            </a:xfrm>
            <a:custGeom>
              <a:avLst/>
              <a:gdLst>
                <a:gd name="connsiteX0" fmla="*/ 873634 w 873633"/>
                <a:gd name="connsiteY0" fmla="*/ 436817 h 873633"/>
                <a:gd name="connsiteX1" fmla="*/ 436817 w 873633"/>
                <a:gd name="connsiteY1" fmla="*/ 873634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4"/>
                    <a:pt x="436817" y="873634"/>
                  </a:cubicBezTo>
                  <a:cubicBezTo>
                    <a:pt x="195570" y="873634"/>
                    <a:pt x="0" y="678064"/>
                    <a:pt x="0" y="436817"/>
                  </a:cubicBezTo>
                  <a:cubicBezTo>
                    <a:pt x="0" y="195570"/>
                    <a:pt x="195570" y="0"/>
                    <a:pt x="436817" y="0"/>
                  </a:cubicBezTo>
                  <a:cubicBezTo>
                    <a:pt x="678064" y="0"/>
                    <a:pt x="873634" y="195569"/>
                    <a:pt x="873634" y="436817"/>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B2873B8B-912F-8B52-097D-68B2EADF6AEC}"/>
                </a:ext>
              </a:extLst>
            </p:cNvPr>
            <p:cNvSpPr/>
            <p:nvPr/>
          </p:nvSpPr>
          <p:spPr>
            <a:xfrm>
              <a:off x="1096102" y="4873814"/>
              <a:ext cx="873633" cy="873633"/>
            </a:xfrm>
            <a:custGeom>
              <a:avLst/>
              <a:gdLst>
                <a:gd name="connsiteX0" fmla="*/ 873634 w 873633"/>
                <a:gd name="connsiteY0" fmla="*/ 436817 h 873633"/>
                <a:gd name="connsiteX1" fmla="*/ 436817 w 873633"/>
                <a:gd name="connsiteY1" fmla="*/ 873633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3"/>
                    <a:pt x="436817" y="873633"/>
                  </a:cubicBezTo>
                  <a:cubicBezTo>
                    <a:pt x="195570" y="873633"/>
                    <a:pt x="0" y="678064"/>
                    <a:pt x="0" y="436817"/>
                  </a:cubicBezTo>
                  <a:cubicBezTo>
                    <a:pt x="0" y="195570"/>
                    <a:pt x="195570" y="0"/>
                    <a:pt x="436817" y="0"/>
                  </a:cubicBezTo>
                  <a:cubicBezTo>
                    <a:pt x="678064" y="0"/>
                    <a:pt x="873634" y="195570"/>
                    <a:pt x="873634" y="436817"/>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0E7C974C-B706-EDC2-44D1-1DC5FFC4725A}"/>
                </a:ext>
              </a:extLst>
            </p:cNvPr>
            <p:cNvSpPr/>
            <p:nvPr/>
          </p:nvSpPr>
          <p:spPr>
            <a:xfrm>
              <a:off x="407987" y="1759432"/>
              <a:ext cx="531546" cy="2950607"/>
            </a:xfrm>
            <a:custGeom>
              <a:avLst/>
              <a:gdLst>
                <a:gd name="connsiteX0" fmla="*/ 313631 w 531546"/>
                <a:gd name="connsiteY0" fmla="*/ 2135549 h 2950607"/>
                <a:gd name="connsiteX1" fmla="*/ 240089 w 531546"/>
                <a:gd name="connsiteY1" fmla="*/ 1994747 h 2950607"/>
                <a:gd name="connsiteX2" fmla="*/ 240089 w 531546"/>
                <a:gd name="connsiteY2" fmla="*/ 1994378 h 2950607"/>
                <a:gd name="connsiteX3" fmla="*/ 322254 w 531546"/>
                <a:gd name="connsiteY3" fmla="*/ 1847848 h 2950607"/>
                <a:gd name="connsiteX4" fmla="*/ 530869 w 531546"/>
                <a:gd name="connsiteY4" fmla="*/ 1475334 h 2950607"/>
                <a:gd name="connsiteX5" fmla="*/ 322254 w 531546"/>
                <a:gd name="connsiteY5" fmla="*/ 1102821 h 2950607"/>
                <a:gd name="connsiteX6" fmla="*/ 240089 w 531546"/>
                <a:gd name="connsiteY6" fmla="*/ 956291 h 2950607"/>
                <a:gd name="connsiteX7" fmla="*/ 240089 w 531546"/>
                <a:gd name="connsiteY7" fmla="*/ 955922 h 2950607"/>
                <a:gd name="connsiteX8" fmla="*/ 323363 w 531546"/>
                <a:gd name="connsiteY8" fmla="*/ 808653 h 2950607"/>
                <a:gd name="connsiteX9" fmla="*/ 530869 w 531546"/>
                <a:gd name="connsiteY9" fmla="*/ 434723 h 2950607"/>
                <a:gd name="connsiteX10" fmla="*/ 94052 w 531546"/>
                <a:gd name="connsiteY10" fmla="*/ 0 h 2950607"/>
                <a:gd name="connsiteX11" fmla="*/ 0 w 531546"/>
                <a:gd name="connsiteY11" fmla="*/ 10286 h 2950607"/>
                <a:gd name="connsiteX12" fmla="*/ 0 w 531546"/>
                <a:gd name="connsiteY12" fmla="*/ 2940383 h 2950607"/>
                <a:gd name="connsiteX13" fmla="*/ 79948 w 531546"/>
                <a:gd name="connsiteY13" fmla="*/ 2950361 h 2950607"/>
                <a:gd name="connsiteX14" fmla="*/ 80132 w 531546"/>
                <a:gd name="connsiteY14" fmla="*/ 2950361 h 2950607"/>
                <a:gd name="connsiteX15" fmla="*/ 93991 w 531546"/>
                <a:gd name="connsiteY15" fmla="*/ 2950607 h 2950607"/>
                <a:gd name="connsiteX16" fmla="*/ 94422 w 531546"/>
                <a:gd name="connsiteY16" fmla="*/ 2950607 h 2950607"/>
                <a:gd name="connsiteX17" fmla="*/ 94730 w 531546"/>
                <a:gd name="connsiteY17" fmla="*/ 2950607 h 2950607"/>
                <a:gd name="connsiteX18" fmla="*/ 531547 w 531546"/>
                <a:gd name="connsiteY18" fmla="*/ 2513852 h 2950607"/>
                <a:gd name="connsiteX19" fmla="*/ 313569 w 531546"/>
                <a:gd name="connsiteY19" fmla="*/ 2135610 h 295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1546" h="2950607">
                  <a:moveTo>
                    <a:pt x="313631" y="2135549"/>
                  </a:moveTo>
                  <a:cubicBezTo>
                    <a:pt x="268052" y="2103151"/>
                    <a:pt x="240089" y="2051105"/>
                    <a:pt x="240089" y="1994747"/>
                  </a:cubicBezTo>
                  <a:lnTo>
                    <a:pt x="240089" y="1994378"/>
                  </a:lnTo>
                  <a:cubicBezTo>
                    <a:pt x="240089" y="1934571"/>
                    <a:pt x="271255" y="1879137"/>
                    <a:pt x="322254" y="1847848"/>
                  </a:cubicBezTo>
                  <a:cubicBezTo>
                    <a:pt x="447411" y="1771042"/>
                    <a:pt x="530869" y="1632951"/>
                    <a:pt x="530869" y="1475334"/>
                  </a:cubicBezTo>
                  <a:cubicBezTo>
                    <a:pt x="530869" y="1317718"/>
                    <a:pt x="447411" y="1179627"/>
                    <a:pt x="322254" y="1102821"/>
                  </a:cubicBezTo>
                  <a:cubicBezTo>
                    <a:pt x="271255" y="1071532"/>
                    <a:pt x="240089" y="1016098"/>
                    <a:pt x="240089" y="956291"/>
                  </a:cubicBezTo>
                  <a:lnTo>
                    <a:pt x="240089" y="955922"/>
                  </a:lnTo>
                  <a:cubicBezTo>
                    <a:pt x="240089" y="895622"/>
                    <a:pt x="272056" y="840373"/>
                    <a:pt x="323363" y="808653"/>
                  </a:cubicBezTo>
                  <a:cubicBezTo>
                    <a:pt x="448458" y="731354"/>
                    <a:pt x="531670" y="592708"/>
                    <a:pt x="530869" y="434723"/>
                  </a:cubicBezTo>
                  <a:cubicBezTo>
                    <a:pt x="529699" y="193956"/>
                    <a:pt x="334757" y="0"/>
                    <a:pt x="94052" y="0"/>
                  </a:cubicBezTo>
                  <a:cubicBezTo>
                    <a:pt x="61778" y="0"/>
                    <a:pt x="30304" y="3634"/>
                    <a:pt x="0" y="10286"/>
                  </a:cubicBezTo>
                  <a:lnTo>
                    <a:pt x="0" y="2940383"/>
                  </a:lnTo>
                  <a:cubicBezTo>
                    <a:pt x="25869" y="2946049"/>
                    <a:pt x="52600" y="2949499"/>
                    <a:pt x="79948" y="2950361"/>
                  </a:cubicBezTo>
                  <a:cubicBezTo>
                    <a:pt x="80009" y="2950361"/>
                    <a:pt x="80071" y="2950361"/>
                    <a:pt x="80132" y="2950361"/>
                  </a:cubicBezTo>
                  <a:cubicBezTo>
                    <a:pt x="84752" y="2950484"/>
                    <a:pt x="89371" y="2950607"/>
                    <a:pt x="93991" y="2950607"/>
                  </a:cubicBezTo>
                  <a:cubicBezTo>
                    <a:pt x="94114" y="2950607"/>
                    <a:pt x="94299" y="2950607"/>
                    <a:pt x="94422" y="2950607"/>
                  </a:cubicBezTo>
                  <a:cubicBezTo>
                    <a:pt x="94545" y="2950607"/>
                    <a:pt x="94668" y="2950607"/>
                    <a:pt x="94730" y="2950607"/>
                  </a:cubicBezTo>
                  <a:cubicBezTo>
                    <a:pt x="335989" y="2950607"/>
                    <a:pt x="531547" y="2755050"/>
                    <a:pt x="531547" y="2513852"/>
                  </a:cubicBezTo>
                  <a:cubicBezTo>
                    <a:pt x="531547" y="2352171"/>
                    <a:pt x="444023" y="2211123"/>
                    <a:pt x="313569" y="2135610"/>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73718640-5F1A-AB9E-C9A8-F8225606960A}"/>
                </a:ext>
              </a:extLst>
            </p:cNvPr>
            <p:cNvSpPr/>
            <p:nvPr/>
          </p:nvSpPr>
          <p:spPr>
            <a:xfrm>
              <a:off x="407987" y="4873691"/>
              <a:ext cx="523231" cy="873633"/>
            </a:xfrm>
            <a:custGeom>
              <a:avLst/>
              <a:gdLst>
                <a:gd name="connsiteX0" fmla="*/ 86415 w 523231"/>
                <a:gd name="connsiteY0" fmla="*/ 123 h 873633"/>
                <a:gd name="connsiteX1" fmla="*/ 0 w 523231"/>
                <a:gd name="connsiteY1" fmla="*/ 8685 h 873633"/>
                <a:gd name="connsiteX2" fmla="*/ 0 w 523231"/>
                <a:gd name="connsiteY2" fmla="*/ 865072 h 873633"/>
                <a:gd name="connsiteX3" fmla="*/ 86415 w 523231"/>
                <a:gd name="connsiteY3" fmla="*/ 873634 h 873633"/>
                <a:gd name="connsiteX4" fmla="*/ 523232 w 523231"/>
                <a:gd name="connsiteY4" fmla="*/ 436817 h 873633"/>
                <a:gd name="connsiteX5" fmla="*/ 86415 w 523231"/>
                <a:gd name="connsiteY5" fmla="*/ 0 h 87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231" h="873633">
                  <a:moveTo>
                    <a:pt x="86415" y="123"/>
                  </a:moveTo>
                  <a:cubicBezTo>
                    <a:pt x="56850" y="123"/>
                    <a:pt x="27963" y="3080"/>
                    <a:pt x="0" y="8685"/>
                  </a:cubicBezTo>
                  <a:lnTo>
                    <a:pt x="0" y="865072"/>
                  </a:lnTo>
                  <a:cubicBezTo>
                    <a:pt x="27902" y="870677"/>
                    <a:pt x="56789" y="873634"/>
                    <a:pt x="86415" y="873634"/>
                  </a:cubicBezTo>
                  <a:cubicBezTo>
                    <a:pt x="327674" y="873634"/>
                    <a:pt x="523232" y="678076"/>
                    <a:pt x="523232" y="436817"/>
                  </a:cubicBezTo>
                  <a:cubicBezTo>
                    <a:pt x="523232" y="195557"/>
                    <a:pt x="327674" y="0"/>
                    <a:pt x="86415" y="0"/>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8065788A-FC05-D77C-2220-0974FD08338E}"/>
                </a:ext>
              </a:extLst>
            </p:cNvPr>
            <p:cNvSpPr/>
            <p:nvPr/>
          </p:nvSpPr>
          <p:spPr>
            <a:xfrm>
              <a:off x="408110" y="5911156"/>
              <a:ext cx="2600143" cy="539374"/>
            </a:xfrm>
            <a:custGeom>
              <a:avLst/>
              <a:gdLst>
                <a:gd name="connsiteX0" fmla="*/ 2587887 w 2600143"/>
                <a:gd name="connsiteY0" fmla="*/ 539375 h 539374"/>
                <a:gd name="connsiteX1" fmla="*/ 2600144 w 2600143"/>
                <a:gd name="connsiteY1" fmla="*/ 436822 h 539374"/>
                <a:gd name="connsiteX2" fmla="*/ 2165483 w 2600143"/>
                <a:gd name="connsiteY2" fmla="*/ 6 h 539374"/>
                <a:gd name="connsiteX3" fmla="*/ 1791553 w 2600143"/>
                <a:gd name="connsiteY3" fmla="*/ 207512 h 539374"/>
                <a:gd name="connsiteX4" fmla="*/ 1644284 w 2600143"/>
                <a:gd name="connsiteY4" fmla="*/ 290786 h 539374"/>
                <a:gd name="connsiteX5" fmla="*/ 1643914 w 2600143"/>
                <a:gd name="connsiteY5" fmla="*/ 290786 h 539374"/>
                <a:gd name="connsiteX6" fmla="*/ 1497385 w 2600143"/>
                <a:gd name="connsiteY6" fmla="*/ 208621 h 539374"/>
                <a:gd name="connsiteX7" fmla="*/ 1124871 w 2600143"/>
                <a:gd name="connsiteY7" fmla="*/ 6 h 539374"/>
                <a:gd name="connsiteX8" fmla="*/ 752357 w 2600143"/>
                <a:gd name="connsiteY8" fmla="*/ 208621 h 539374"/>
                <a:gd name="connsiteX9" fmla="*/ 605828 w 2600143"/>
                <a:gd name="connsiteY9" fmla="*/ 290786 h 539374"/>
                <a:gd name="connsiteX10" fmla="*/ 605458 w 2600143"/>
                <a:gd name="connsiteY10" fmla="*/ 290786 h 539374"/>
                <a:gd name="connsiteX11" fmla="*/ 458190 w 2600143"/>
                <a:gd name="connsiteY11" fmla="*/ 207512 h 539374"/>
                <a:gd name="connsiteX12" fmla="*/ 84259 w 2600143"/>
                <a:gd name="connsiteY12" fmla="*/ 6 h 539374"/>
                <a:gd name="connsiteX13" fmla="*/ 0 w 2600143"/>
                <a:gd name="connsiteY13" fmla="*/ 8567 h 539374"/>
                <a:gd name="connsiteX14" fmla="*/ 0 w 2600143"/>
                <a:gd name="connsiteY14" fmla="*/ 539313 h 539374"/>
                <a:gd name="connsiteX15" fmla="*/ 2588010 w 2600143"/>
                <a:gd name="connsiteY15" fmla="*/ 539313 h 53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00143" h="539374">
                  <a:moveTo>
                    <a:pt x="2587887" y="539375"/>
                  </a:moveTo>
                  <a:cubicBezTo>
                    <a:pt x="2595833" y="506484"/>
                    <a:pt x="2600144" y="472177"/>
                    <a:pt x="2600144" y="436822"/>
                  </a:cubicBezTo>
                  <a:cubicBezTo>
                    <a:pt x="2600144" y="196118"/>
                    <a:pt x="2406188" y="1176"/>
                    <a:pt x="2165483" y="6"/>
                  </a:cubicBezTo>
                  <a:cubicBezTo>
                    <a:pt x="2007436" y="-733"/>
                    <a:pt x="1868790" y="82417"/>
                    <a:pt x="1791553" y="207512"/>
                  </a:cubicBezTo>
                  <a:cubicBezTo>
                    <a:pt x="1759894" y="258819"/>
                    <a:pt x="1704583" y="290786"/>
                    <a:pt x="1644284" y="290786"/>
                  </a:cubicBezTo>
                  <a:lnTo>
                    <a:pt x="1643914" y="290786"/>
                  </a:lnTo>
                  <a:cubicBezTo>
                    <a:pt x="1584108" y="290786"/>
                    <a:pt x="1528674" y="259620"/>
                    <a:pt x="1497385" y="208621"/>
                  </a:cubicBezTo>
                  <a:cubicBezTo>
                    <a:pt x="1420579" y="83464"/>
                    <a:pt x="1282487" y="6"/>
                    <a:pt x="1124871" y="6"/>
                  </a:cubicBezTo>
                  <a:cubicBezTo>
                    <a:pt x="967255" y="6"/>
                    <a:pt x="829164" y="83464"/>
                    <a:pt x="752357" y="208621"/>
                  </a:cubicBezTo>
                  <a:cubicBezTo>
                    <a:pt x="721068" y="259620"/>
                    <a:pt x="665634" y="290786"/>
                    <a:pt x="605828" y="290786"/>
                  </a:cubicBezTo>
                  <a:lnTo>
                    <a:pt x="605458" y="290786"/>
                  </a:lnTo>
                  <a:cubicBezTo>
                    <a:pt x="545159" y="290786"/>
                    <a:pt x="489910" y="258819"/>
                    <a:pt x="458190" y="207512"/>
                  </a:cubicBezTo>
                  <a:cubicBezTo>
                    <a:pt x="380890" y="82417"/>
                    <a:pt x="242245" y="-795"/>
                    <a:pt x="84259" y="6"/>
                  </a:cubicBezTo>
                  <a:cubicBezTo>
                    <a:pt x="55434" y="129"/>
                    <a:pt x="27286" y="3147"/>
                    <a:pt x="0" y="8567"/>
                  </a:cubicBezTo>
                  <a:lnTo>
                    <a:pt x="0" y="539313"/>
                  </a:lnTo>
                  <a:lnTo>
                    <a:pt x="2588010" y="539313"/>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447183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1326873" y="871256"/>
            <a:ext cx="4468677" cy="850003"/>
          </a:xfrm>
        </p:spPr>
        <p:txBody>
          <a:bodyPr/>
          <a:lstStyle>
            <a:lvl1pPr>
              <a:defRPr>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1326873" y="1871014"/>
            <a:ext cx="4468677" cy="15841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p:txBody>
      </p:sp>
      <p:sp>
        <p:nvSpPr>
          <p:cNvPr id="10" name="Content Placeholder 2">
            <a:extLst>
              <a:ext uri="{FF2B5EF4-FFF2-40B4-BE49-F238E27FC236}">
                <a16:creationId xmlns:a16="http://schemas.microsoft.com/office/drawing/2014/main" id="{E12B8198-AF21-96A5-442D-22D0B48680D6}"/>
              </a:ext>
            </a:extLst>
          </p:cNvPr>
          <p:cNvSpPr>
            <a:spLocks noGrp="1"/>
          </p:cNvSpPr>
          <p:nvPr>
            <p:ph sz="half" idx="12"/>
          </p:nvPr>
        </p:nvSpPr>
        <p:spPr>
          <a:xfrm>
            <a:off x="6396448" y="1850250"/>
            <a:ext cx="4468678" cy="15841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p:txBody>
      </p:sp>
      <p:sp>
        <p:nvSpPr>
          <p:cNvPr id="11" name="Content Placeholder 2">
            <a:extLst>
              <a:ext uri="{FF2B5EF4-FFF2-40B4-BE49-F238E27FC236}">
                <a16:creationId xmlns:a16="http://schemas.microsoft.com/office/drawing/2014/main" id="{D1603D5C-9D69-8D84-33DC-4B1486C544BA}"/>
              </a:ext>
            </a:extLst>
          </p:cNvPr>
          <p:cNvSpPr>
            <a:spLocks noGrp="1"/>
          </p:cNvSpPr>
          <p:nvPr>
            <p:ph sz="half" idx="13" hasCustomPrompt="1"/>
          </p:nvPr>
        </p:nvSpPr>
        <p:spPr>
          <a:xfrm>
            <a:off x="6396448" y="871256"/>
            <a:ext cx="4468678" cy="850003"/>
          </a:xfrm>
        </p:spPr>
        <p:txBody>
          <a:bodyPr anchor="ctr" anchorCtr="0">
            <a:normAutofit/>
          </a:bodyPr>
          <a:lstStyle>
            <a:lvl1pPr marL="0" indent="0">
              <a:buNone/>
              <a:defRPr sz="32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ubrik</a:t>
            </a:r>
          </a:p>
        </p:txBody>
      </p:sp>
      <p:sp>
        <p:nvSpPr>
          <p:cNvPr id="4" name="Bild 6">
            <a:extLst>
              <a:ext uri="{FF2B5EF4-FFF2-40B4-BE49-F238E27FC236}">
                <a16:creationId xmlns:a16="http://schemas.microsoft.com/office/drawing/2014/main" id="{C9DA0717-8E9F-219A-2DC4-061E800B9039}"/>
              </a:ext>
            </a:extLst>
          </p:cNvPr>
          <p:cNvSpPr/>
          <p:nvPr userDrawn="1"/>
        </p:nvSpPr>
        <p:spPr>
          <a:xfrm>
            <a:off x="0" y="4263567"/>
            <a:ext cx="12192000" cy="2057191"/>
          </a:xfrm>
          <a:custGeom>
            <a:avLst/>
            <a:gdLst>
              <a:gd name="connsiteX0" fmla="*/ 12192000 w 12192000"/>
              <a:gd name="connsiteY0" fmla="*/ 263 h 2057191"/>
              <a:gd name="connsiteX1" fmla="*/ 11327750 w 12192000"/>
              <a:gd name="connsiteY1" fmla="*/ 496176 h 2057191"/>
              <a:gd name="connsiteX2" fmla="*/ 10994356 w 12192000"/>
              <a:gd name="connsiteY2" fmla="*/ 684712 h 2057191"/>
              <a:gd name="connsiteX3" fmla="*/ 10975879 w 12192000"/>
              <a:gd name="connsiteY3" fmla="*/ 684712 h 2057191"/>
              <a:gd name="connsiteX4" fmla="*/ 10642484 w 12192000"/>
              <a:gd name="connsiteY4" fmla="*/ 496176 h 2057191"/>
              <a:gd name="connsiteX5" fmla="*/ 9757371 w 12192000"/>
              <a:gd name="connsiteY5" fmla="*/ 12 h 2057191"/>
              <a:gd name="connsiteX6" fmla="*/ 9556957 w 12192000"/>
              <a:gd name="connsiteY6" fmla="*/ 20499 h 2057191"/>
              <a:gd name="connsiteX7" fmla="*/ 8873702 w 12192000"/>
              <a:gd name="connsiteY7" fmla="*/ 497872 h 2057191"/>
              <a:gd name="connsiteX8" fmla="*/ 8542256 w 12192000"/>
              <a:gd name="connsiteY8" fmla="*/ 685340 h 2057191"/>
              <a:gd name="connsiteX9" fmla="*/ 8212003 w 12192000"/>
              <a:gd name="connsiteY9" fmla="*/ 499946 h 2057191"/>
              <a:gd name="connsiteX10" fmla="*/ 7336253 w 12192000"/>
              <a:gd name="connsiteY10" fmla="*/ 1834 h 2057191"/>
              <a:gd name="connsiteX11" fmla="*/ 6455413 w 12192000"/>
              <a:gd name="connsiteY11" fmla="*/ 492468 h 2057191"/>
              <a:gd name="connsiteX12" fmla="*/ 6110957 w 12192000"/>
              <a:gd name="connsiteY12" fmla="*/ 685340 h 2057191"/>
              <a:gd name="connsiteX13" fmla="*/ 6110078 w 12192000"/>
              <a:gd name="connsiteY13" fmla="*/ 685340 h 2057191"/>
              <a:gd name="connsiteX14" fmla="*/ 5765559 w 12192000"/>
              <a:gd name="connsiteY14" fmla="*/ 492216 h 2057191"/>
              <a:gd name="connsiteX15" fmla="*/ 4889935 w 12192000"/>
              <a:gd name="connsiteY15" fmla="*/ 1771 h 2057191"/>
              <a:gd name="connsiteX16" fmla="*/ 4014310 w 12192000"/>
              <a:gd name="connsiteY16" fmla="*/ 492216 h 2057191"/>
              <a:gd name="connsiteX17" fmla="*/ 3669792 w 12192000"/>
              <a:gd name="connsiteY17" fmla="*/ 685340 h 2057191"/>
              <a:gd name="connsiteX18" fmla="*/ 3668849 w 12192000"/>
              <a:gd name="connsiteY18" fmla="*/ 685340 h 2057191"/>
              <a:gd name="connsiteX19" fmla="*/ 3324331 w 12192000"/>
              <a:gd name="connsiteY19" fmla="*/ 492216 h 2057191"/>
              <a:gd name="connsiteX20" fmla="*/ 2448707 w 12192000"/>
              <a:gd name="connsiteY20" fmla="*/ 1771 h 2057191"/>
              <a:gd name="connsiteX21" fmla="*/ 1573082 w 12192000"/>
              <a:gd name="connsiteY21" fmla="*/ 492216 h 2057191"/>
              <a:gd name="connsiteX22" fmla="*/ 1228564 w 12192000"/>
              <a:gd name="connsiteY22" fmla="*/ 685340 h 2057191"/>
              <a:gd name="connsiteX23" fmla="*/ 1227684 w 12192000"/>
              <a:gd name="connsiteY23" fmla="*/ 685340 h 2057191"/>
              <a:gd name="connsiteX24" fmla="*/ 883229 w 12192000"/>
              <a:gd name="connsiteY24" fmla="*/ 492468 h 2057191"/>
              <a:gd name="connsiteX25" fmla="*/ 2388 w 12192000"/>
              <a:gd name="connsiteY25" fmla="*/ 1834 h 2057191"/>
              <a:gd name="connsiteX26" fmla="*/ 0 w 12192000"/>
              <a:gd name="connsiteY26" fmla="*/ 1834 h 2057191"/>
              <a:gd name="connsiteX27" fmla="*/ 0 w 12192000"/>
              <a:gd name="connsiteY27" fmla="*/ 2055306 h 2057191"/>
              <a:gd name="connsiteX28" fmla="*/ 881532 w 12192000"/>
              <a:gd name="connsiteY28" fmla="*/ 1567375 h 2057191"/>
              <a:gd name="connsiteX29" fmla="*/ 1227559 w 12192000"/>
              <a:gd name="connsiteY29" fmla="*/ 1371863 h 2057191"/>
              <a:gd name="connsiteX30" fmla="*/ 1228501 w 12192000"/>
              <a:gd name="connsiteY30" fmla="*/ 1371863 h 2057191"/>
              <a:gd name="connsiteX31" fmla="*/ 1573019 w 12192000"/>
              <a:gd name="connsiteY31" fmla="*/ 1564987 h 2057191"/>
              <a:gd name="connsiteX32" fmla="*/ 2448644 w 12192000"/>
              <a:gd name="connsiteY32" fmla="*/ 2055432 h 2057191"/>
              <a:gd name="connsiteX33" fmla="*/ 3324268 w 12192000"/>
              <a:gd name="connsiteY33" fmla="*/ 1564987 h 2057191"/>
              <a:gd name="connsiteX34" fmla="*/ 3668787 w 12192000"/>
              <a:gd name="connsiteY34" fmla="*/ 1371863 h 2057191"/>
              <a:gd name="connsiteX35" fmla="*/ 3669729 w 12192000"/>
              <a:gd name="connsiteY35" fmla="*/ 1371863 h 2057191"/>
              <a:gd name="connsiteX36" fmla="*/ 4014248 w 12192000"/>
              <a:gd name="connsiteY36" fmla="*/ 1564987 h 2057191"/>
              <a:gd name="connsiteX37" fmla="*/ 4889872 w 12192000"/>
              <a:gd name="connsiteY37" fmla="*/ 2055432 h 2057191"/>
              <a:gd name="connsiteX38" fmla="*/ 5765496 w 12192000"/>
              <a:gd name="connsiteY38" fmla="*/ 1564987 h 2057191"/>
              <a:gd name="connsiteX39" fmla="*/ 6110015 w 12192000"/>
              <a:gd name="connsiteY39" fmla="*/ 1371863 h 2057191"/>
              <a:gd name="connsiteX40" fmla="*/ 6110957 w 12192000"/>
              <a:gd name="connsiteY40" fmla="*/ 1371863 h 2057191"/>
              <a:gd name="connsiteX41" fmla="*/ 6455475 w 12192000"/>
              <a:gd name="connsiteY41" fmla="*/ 1564987 h 2057191"/>
              <a:gd name="connsiteX42" fmla="*/ 7331100 w 12192000"/>
              <a:gd name="connsiteY42" fmla="*/ 2055432 h 2057191"/>
              <a:gd name="connsiteX43" fmla="*/ 8211689 w 12192000"/>
              <a:gd name="connsiteY43" fmla="*/ 1556817 h 2057191"/>
              <a:gd name="connsiteX44" fmla="*/ 8541690 w 12192000"/>
              <a:gd name="connsiteY44" fmla="*/ 1371863 h 2057191"/>
              <a:gd name="connsiteX45" fmla="*/ 8542004 w 12192000"/>
              <a:gd name="connsiteY45" fmla="*/ 1371863 h 2057191"/>
              <a:gd name="connsiteX46" fmla="*/ 8872005 w 12192000"/>
              <a:gd name="connsiteY46" fmla="*/ 1556817 h 2057191"/>
              <a:gd name="connsiteX47" fmla="*/ 9556077 w 12192000"/>
              <a:gd name="connsiteY47" fmla="*/ 2036515 h 2057191"/>
              <a:gd name="connsiteX48" fmla="*/ 9762273 w 12192000"/>
              <a:gd name="connsiteY48" fmla="*/ 2057191 h 2057191"/>
              <a:gd name="connsiteX49" fmla="*/ 10643993 w 12192000"/>
              <a:gd name="connsiteY49" fmla="*/ 1558451 h 2057191"/>
              <a:gd name="connsiteX50" fmla="*/ 10975879 w 12192000"/>
              <a:gd name="connsiteY50" fmla="*/ 1372428 h 2057191"/>
              <a:gd name="connsiteX51" fmla="*/ 10994293 w 12192000"/>
              <a:gd name="connsiteY51" fmla="*/ 1372428 h 2057191"/>
              <a:gd name="connsiteX52" fmla="*/ 11326179 w 12192000"/>
              <a:gd name="connsiteY52" fmla="*/ 1558451 h 2057191"/>
              <a:gd name="connsiteX53" fmla="*/ 12191937 w 12192000"/>
              <a:gd name="connsiteY53" fmla="*/ 2056940 h 2057191"/>
              <a:gd name="connsiteX54" fmla="*/ 12191937 w 12192000"/>
              <a:gd name="connsiteY54" fmla="*/ 263 h 2057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2192000" h="2057191">
                <a:moveTo>
                  <a:pt x="12192000" y="263"/>
                </a:moveTo>
                <a:cubicBezTo>
                  <a:pt x="11825486" y="5856"/>
                  <a:pt x="11505477" y="203002"/>
                  <a:pt x="11327750" y="496176"/>
                </a:cubicBezTo>
                <a:cubicBezTo>
                  <a:pt x="11256987" y="612942"/>
                  <a:pt x="11130919" y="684712"/>
                  <a:pt x="10994356" y="684712"/>
                </a:cubicBezTo>
                <a:lnTo>
                  <a:pt x="10975879" y="684712"/>
                </a:lnTo>
                <a:cubicBezTo>
                  <a:pt x="10839379" y="684712"/>
                  <a:pt x="10713248" y="612942"/>
                  <a:pt x="10642484" y="496176"/>
                </a:cubicBezTo>
                <a:cubicBezTo>
                  <a:pt x="10461490" y="197472"/>
                  <a:pt x="10132621" y="-1748"/>
                  <a:pt x="9757371" y="12"/>
                </a:cubicBezTo>
                <a:cubicBezTo>
                  <a:pt x="9688744" y="326"/>
                  <a:pt x="9621751" y="7427"/>
                  <a:pt x="9556957" y="20499"/>
                </a:cubicBezTo>
                <a:cubicBezTo>
                  <a:pt x="9267428" y="76432"/>
                  <a:pt x="9021263" y="253970"/>
                  <a:pt x="8873702" y="497872"/>
                </a:cubicBezTo>
                <a:cubicBezTo>
                  <a:pt x="8803441" y="614011"/>
                  <a:pt x="8678001" y="685340"/>
                  <a:pt x="8542256" y="685340"/>
                </a:cubicBezTo>
                <a:cubicBezTo>
                  <a:pt x="8406510" y="685340"/>
                  <a:pt x="8281448" y="615582"/>
                  <a:pt x="8212003" y="499946"/>
                </a:cubicBezTo>
                <a:cubicBezTo>
                  <a:pt x="8033397" y="202688"/>
                  <a:pt x="7708675" y="3594"/>
                  <a:pt x="7336253" y="1834"/>
                </a:cubicBezTo>
                <a:cubicBezTo>
                  <a:pt x="6963581" y="74"/>
                  <a:pt x="6636785" y="196843"/>
                  <a:pt x="6455413" y="492468"/>
                </a:cubicBezTo>
                <a:cubicBezTo>
                  <a:pt x="6381947" y="612251"/>
                  <a:pt x="6251543" y="685340"/>
                  <a:pt x="6110957" y="685340"/>
                </a:cubicBezTo>
                <a:lnTo>
                  <a:pt x="6110078" y="685340"/>
                </a:lnTo>
                <a:cubicBezTo>
                  <a:pt x="5969430" y="685340"/>
                  <a:pt x="5839088" y="612062"/>
                  <a:pt x="5765559" y="492216"/>
                </a:cubicBezTo>
                <a:cubicBezTo>
                  <a:pt x="5585068" y="198037"/>
                  <a:pt x="5260471" y="1771"/>
                  <a:pt x="4889935" y="1771"/>
                </a:cubicBezTo>
                <a:cubicBezTo>
                  <a:pt x="4519399" y="1771"/>
                  <a:pt x="4194865" y="198037"/>
                  <a:pt x="4014310" y="492216"/>
                </a:cubicBezTo>
                <a:cubicBezTo>
                  <a:pt x="3940718" y="612062"/>
                  <a:pt x="3810440" y="685340"/>
                  <a:pt x="3669792" y="685340"/>
                </a:cubicBezTo>
                <a:lnTo>
                  <a:pt x="3668849" y="685340"/>
                </a:lnTo>
                <a:cubicBezTo>
                  <a:pt x="3528201" y="685340"/>
                  <a:pt x="3397860" y="612062"/>
                  <a:pt x="3324331" y="492216"/>
                </a:cubicBezTo>
                <a:cubicBezTo>
                  <a:pt x="3143776" y="198037"/>
                  <a:pt x="2819180" y="1771"/>
                  <a:pt x="2448707" y="1771"/>
                </a:cubicBezTo>
                <a:cubicBezTo>
                  <a:pt x="2078233" y="1771"/>
                  <a:pt x="1753637" y="198037"/>
                  <a:pt x="1573082" y="492216"/>
                </a:cubicBezTo>
                <a:cubicBezTo>
                  <a:pt x="1499490" y="612062"/>
                  <a:pt x="1369212" y="685340"/>
                  <a:pt x="1228564" y="685340"/>
                </a:cubicBezTo>
                <a:lnTo>
                  <a:pt x="1227684" y="685340"/>
                </a:lnTo>
                <a:cubicBezTo>
                  <a:pt x="1087162" y="685340"/>
                  <a:pt x="956758" y="612251"/>
                  <a:pt x="883229" y="492468"/>
                </a:cubicBezTo>
                <a:cubicBezTo>
                  <a:pt x="701857" y="196780"/>
                  <a:pt x="375061" y="12"/>
                  <a:pt x="2388" y="1834"/>
                </a:cubicBezTo>
                <a:cubicBezTo>
                  <a:pt x="1571" y="1834"/>
                  <a:pt x="817" y="1834"/>
                  <a:pt x="0" y="1834"/>
                </a:cubicBezTo>
                <a:lnTo>
                  <a:pt x="0" y="2055306"/>
                </a:lnTo>
                <a:cubicBezTo>
                  <a:pt x="372547" y="2057945"/>
                  <a:pt x="699469" y="1862119"/>
                  <a:pt x="881532" y="1567375"/>
                </a:cubicBezTo>
                <a:cubicBezTo>
                  <a:pt x="955941" y="1446837"/>
                  <a:pt x="1085905" y="1371863"/>
                  <a:pt x="1227559" y="1371863"/>
                </a:cubicBezTo>
                <a:lnTo>
                  <a:pt x="1228501" y="1371863"/>
                </a:lnTo>
                <a:cubicBezTo>
                  <a:pt x="1369149" y="1371863"/>
                  <a:pt x="1499428" y="1445140"/>
                  <a:pt x="1573019" y="1564987"/>
                </a:cubicBezTo>
                <a:cubicBezTo>
                  <a:pt x="1753574" y="1859166"/>
                  <a:pt x="2078170" y="2055432"/>
                  <a:pt x="2448644" y="2055432"/>
                </a:cubicBezTo>
                <a:cubicBezTo>
                  <a:pt x="2819117" y="2055432"/>
                  <a:pt x="3143714" y="1859166"/>
                  <a:pt x="3324268" y="1564987"/>
                </a:cubicBezTo>
                <a:cubicBezTo>
                  <a:pt x="3397860" y="1445140"/>
                  <a:pt x="3528139" y="1371863"/>
                  <a:pt x="3668787" y="1371863"/>
                </a:cubicBezTo>
                <a:lnTo>
                  <a:pt x="3669729" y="1371863"/>
                </a:lnTo>
                <a:cubicBezTo>
                  <a:pt x="3810377" y="1371863"/>
                  <a:pt x="3940655" y="1445140"/>
                  <a:pt x="4014248" y="1564987"/>
                </a:cubicBezTo>
                <a:cubicBezTo>
                  <a:pt x="4194802" y="1859166"/>
                  <a:pt x="4519399" y="2055432"/>
                  <a:pt x="4889872" y="2055432"/>
                </a:cubicBezTo>
                <a:cubicBezTo>
                  <a:pt x="5260346" y="2055432"/>
                  <a:pt x="5584942" y="1859166"/>
                  <a:pt x="5765496" y="1564987"/>
                </a:cubicBezTo>
                <a:cubicBezTo>
                  <a:pt x="5839088" y="1445140"/>
                  <a:pt x="5969367" y="1371863"/>
                  <a:pt x="6110015" y="1371863"/>
                </a:cubicBezTo>
                <a:lnTo>
                  <a:pt x="6110957" y="1371863"/>
                </a:lnTo>
                <a:cubicBezTo>
                  <a:pt x="6251605" y="1371863"/>
                  <a:pt x="6381884" y="1445140"/>
                  <a:pt x="6455475" y="1564987"/>
                </a:cubicBezTo>
                <a:cubicBezTo>
                  <a:pt x="6636031" y="1859166"/>
                  <a:pt x="6960626" y="2055432"/>
                  <a:pt x="7331100" y="2055432"/>
                </a:cubicBezTo>
                <a:cubicBezTo>
                  <a:pt x="7701573" y="2055432"/>
                  <a:pt x="8032203" y="1855521"/>
                  <a:pt x="8211689" y="1556817"/>
                </a:cubicBezTo>
                <a:cubicBezTo>
                  <a:pt x="8281070" y="1441370"/>
                  <a:pt x="8406949" y="1371863"/>
                  <a:pt x="8541690" y="1371863"/>
                </a:cubicBezTo>
                <a:lnTo>
                  <a:pt x="8542004" y="1371863"/>
                </a:lnTo>
                <a:cubicBezTo>
                  <a:pt x="8676682" y="1371863"/>
                  <a:pt x="8802624" y="1441370"/>
                  <a:pt x="8872005" y="1556817"/>
                </a:cubicBezTo>
                <a:cubicBezTo>
                  <a:pt x="9019252" y="1801851"/>
                  <a:pt x="9265857" y="1980269"/>
                  <a:pt x="9556077" y="2036515"/>
                </a:cubicBezTo>
                <a:cubicBezTo>
                  <a:pt x="9622693" y="2050090"/>
                  <a:pt x="9691635" y="2057191"/>
                  <a:pt x="9762273" y="2057191"/>
                </a:cubicBezTo>
                <a:cubicBezTo>
                  <a:pt x="10136517" y="2057191"/>
                  <a:pt x="10464067" y="1857280"/>
                  <a:pt x="10643993" y="1558451"/>
                </a:cubicBezTo>
                <a:cubicBezTo>
                  <a:pt x="10713877" y="1442375"/>
                  <a:pt x="10840385" y="1372428"/>
                  <a:pt x="10975879" y="1372428"/>
                </a:cubicBezTo>
                <a:lnTo>
                  <a:pt x="10994293" y="1372428"/>
                </a:lnTo>
                <a:cubicBezTo>
                  <a:pt x="11129725" y="1372428"/>
                  <a:pt x="11256295" y="1442375"/>
                  <a:pt x="11326179" y="1558451"/>
                </a:cubicBezTo>
                <a:cubicBezTo>
                  <a:pt x="11503529" y="1853007"/>
                  <a:pt x="11824355" y="2051347"/>
                  <a:pt x="12191937" y="2056940"/>
                </a:cubicBezTo>
                <a:lnTo>
                  <a:pt x="12191937" y="263"/>
                </a:ln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31058307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1326873" y="871256"/>
            <a:ext cx="4468677" cy="850003"/>
          </a:xfrm>
        </p:spPr>
        <p:txBody>
          <a:bodyPr/>
          <a:lstStyle>
            <a:lvl1pPr>
              <a:defRPr>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1326873" y="1871014"/>
            <a:ext cx="4468677" cy="15841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p:txBody>
      </p:sp>
      <p:sp>
        <p:nvSpPr>
          <p:cNvPr id="10" name="Content Placeholder 2">
            <a:extLst>
              <a:ext uri="{FF2B5EF4-FFF2-40B4-BE49-F238E27FC236}">
                <a16:creationId xmlns:a16="http://schemas.microsoft.com/office/drawing/2014/main" id="{E12B8198-AF21-96A5-442D-22D0B48680D6}"/>
              </a:ext>
            </a:extLst>
          </p:cNvPr>
          <p:cNvSpPr>
            <a:spLocks noGrp="1"/>
          </p:cNvSpPr>
          <p:nvPr>
            <p:ph sz="half" idx="12"/>
          </p:nvPr>
        </p:nvSpPr>
        <p:spPr>
          <a:xfrm>
            <a:off x="6396448" y="1850250"/>
            <a:ext cx="4468678" cy="15841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p:txBody>
      </p:sp>
      <p:sp>
        <p:nvSpPr>
          <p:cNvPr id="11" name="Content Placeholder 2">
            <a:extLst>
              <a:ext uri="{FF2B5EF4-FFF2-40B4-BE49-F238E27FC236}">
                <a16:creationId xmlns:a16="http://schemas.microsoft.com/office/drawing/2014/main" id="{D1603D5C-9D69-8D84-33DC-4B1486C544BA}"/>
              </a:ext>
            </a:extLst>
          </p:cNvPr>
          <p:cNvSpPr>
            <a:spLocks noGrp="1"/>
          </p:cNvSpPr>
          <p:nvPr>
            <p:ph sz="half" idx="13" hasCustomPrompt="1"/>
          </p:nvPr>
        </p:nvSpPr>
        <p:spPr>
          <a:xfrm>
            <a:off x="6396448" y="871256"/>
            <a:ext cx="4468678" cy="850003"/>
          </a:xfrm>
        </p:spPr>
        <p:txBody>
          <a:bodyPr anchor="ctr" anchorCtr="0">
            <a:normAutofit/>
          </a:bodyPr>
          <a:lstStyle>
            <a:lvl1pPr marL="0" indent="0">
              <a:buNone/>
              <a:defRPr sz="32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ubrik</a:t>
            </a:r>
          </a:p>
        </p:txBody>
      </p:sp>
      <p:sp>
        <p:nvSpPr>
          <p:cNvPr id="4" name="Bild 6">
            <a:extLst>
              <a:ext uri="{FF2B5EF4-FFF2-40B4-BE49-F238E27FC236}">
                <a16:creationId xmlns:a16="http://schemas.microsoft.com/office/drawing/2014/main" id="{EE5BA6E4-37A8-90D1-0B02-D2E0409554E6}"/>
              </a:ext>
            </a:extLst>
          </p:cNvPr>
          <p:cNvSpPr/>
          <p:nvPr userDrawn="1"/>
        </p:nvSpPr>
        <p:spPr>
          <a:xfrm>
            <a:off x="0" y="4263567"/>
            <a:ext cx="12192000" cy="2057191"/>
          </a:xfrm>
          <a:custGeom>
            <a:avLst/>
            <a:gdLst>
              <a:gd name="connsiteX0" fmla="*/ 12192000 w 12192000"/>
              <a:gd name="connsiteY0" fmla="*/ 263 h 2057191"/>
              <a:gd name="connsiteX1" fmla="*/ 11327750 w 12192000"/>
              <a:gd name="connsiteY1" fmla="*/ 496176 h 2057191"/>
              <a:gd name="connsiteX2" fmla="*/ 10994356 w 12192000"/>
              <a:gd name="connsiteY2" fmla="*/ 684712 h 2057191"/>
              <a:gd name="connsiteX3" fmla="*/ 10975879 w 12192000"/>
              <a:gd name="connsiteY3" fmla="*/ 684712 h 2057191"/>
              <a:gd name="connsiteX4" fmla="*/ 10642484 w 12192000"/>
              <a:gd name="connsiteY4" fmla="*/ 496176 h 2057191"/>
              <a:gd name="connsiteX5" fmla="*/ 9757371 w 12192000"/>
              <a:gd name="connsiteY5" fmla="*/ 12 h 2057191"/>
              <a:gd name="connsiteX6" fmla="*/ 9556957 w 12192000"/>
              <a:gd name="connsiteY6" fmla="*/ 20499 h 2057191"/>
              <a:gd name="connsiteX7" fmla="*/ 8873702 w 12192000"/>
              <a:gd name="connsiteY7" fmla="*/ 497872 h 2057191"/>
              <a:gd name="connsiteX8" fmla="*/ 8542256 w 12192000"/>
              <a:gd name="connsiteY8" fmla="*/ 685340 h 2057191"/>
              <a:gd name="connsiteX9" fmla="*/ 8212003 w 12192000"/>
              <a:gd name="connsiteY9" fmla="*/ 499946 h 2057191"/>
              <a:gd name="connsiteX10" fmla="*/ 7336253 w 12192000"/>
              <a:gd name="connsiteY10" fmla="*/ 1834 h 2057191"/>
              <a:gd name="connsiteX11" fmla="*/ 6455413 w 12192000"/>
              <a:gd name="connsiteY11" fmla="*/ 492468 h 2057191"/>
              <a:gd name="connsiteX12" fmla="*/ 6110957 w 12192000"/>
              <a:gd name="connsiteY12" fmla="*/ 685340 h 2057191"/>
              <a:gd name="connsiteX13" fmla="*/ 6110078 w 12192000"/>
              <a:gd name="connsiteY13" fmla="*/ 685340 h 2057191"/>
              <a:gd name="connsiteX14" fmla="*/ 5765559 w 12192000"/>
              <a:gd name="connsiteY14" fmla="*/ 492216 h 2057191"/>
              <a:gd name="connsiteX15" fmla="*/ 4889935 w 12192000"/>
              <a:gd name="connsiteY15" fmla="*/ 1771 h 2057191"/>
              <a:gd name="connsiteX16" fmla="*/ 4014310 w 12192000"/>
              <a:gd name="connsiteY16" fmla="*/ 492216 h 2057191"/>
              <a:gd name="connsiteX17" fmla="*/ 3669792 w 12192000"/>
              <a:gd name="connsiteY17" fmla="*/ 685340 h 2057191"/>
              <a:gd name="connsiteX18" fmla="*/ 3668849 w 12192000"/>
              <a:gd name="connsiteY18" fmla="*/ 685340 h 2057191"/>
              <a:gd name="connsiteX19" fmla="*/ 3324331 w 12192000"/>
              <a:gd name="connsiteY19" fmla="*/ 492216 h 2057191"/>
              <a:gd name="connsiteX20" fmla="*/ 2448707 w 12192000"/>
              <a:gd name="connsiteY20" fmla="*/ 1771 h 2057191"/>
              <a:gd name="connsiteX21" fmla="*/ 1573082 w 12192000"/>
              <a:gd name="connsiteY21" fmla="*/ 492216 h 2057191"/>
              <a:gd name="connsiteX22" fmla="*/ 1228564 w 12192000"/>
              <a:gd name="connsiteY22" fmla="*/ 685340 h 2057191"/>
              <a:gd name="connsiteX23" fmla="*/ 1227684 w 12192000"/>
              <a:gd name="connsiteY23" fmla="*/ 685340 h 2057191"/>
              <a:gd name="connsiteX24" fmla="*/ 883229 w 12192000"/>
              <a:gd name="connsiteY24" fmla="*/ 492468 h 2057191"/>
              <a:gd name="connsiteX25" fmla="*/ 2388 w 12192000"/>
              <a:gd name="connsiteY25" fmla="*/ 1834 h 2057191"/>
              <a:gd name="connsiteX26" fmla="*/ 0 w 12192000"/>
              <a:gd name="connsiteY26" fmla="*/ 1834 h 2057191"/>
              <a:gd name="connsiteX27" fmla="*/ 0 w 12192000"/>
              <a:gd name="connsiteY27" fmla="*/ 2055306 h 2057191"/>
              <a:gd name="connsiteX28" fmla="*/ 881532 w 12192000"/>
              <a:gd name="connsiteY28" fmla="*/ 1567375 h 2057191"/>
              <a:gd name="connsiteX29" fmla="*/ 1227559 w 12192000"/>
              <a:gd name="connsiteY29" fmla="*/ 1371863 h 2057191"/>
              <a:gd name="connsiteX30" fmla="*/ 1228501 w 12192000"/>
              <a:gd name="connsiteY30" fmla="*/ 1371863 h 2057191"/>
              <a:gd name="connsiteX31" fmla="*/ 1573019 w 12192000"/>
              <a:gd name="connsiteY31" fmla="*/ 1564987 h 2057191"/>
              <a:gd name="connsiteX32" fmla="*/ 2448644 w 12192000"/>
              <a:gd name="connsiteY32" fmla="*/ 2055432 h 2057191"/>
              <a:gd name="connsiteX33" fmla="*/ 3324268 w 12192000"/>
              <a:gd name="connsiteY33" fmla="*/ 1564987 h 2057191"/>
              <a:gd name="connsiteX34" fmla="*/ 3668787 w 12192000"/>
              <a:gd name="connsiteY34" fmla="*/ 1371863 h 2057191"/>
              <a:gd name="connsiteX35" fmla="*/ 3669729 w 12192000"/>
              <a:gd name="connsiteY35" fmla="*/ 1371863 h 2057191"/>
              <a:gd name="connsiteX36" fmla="*/ 4014248 w 12192000"/>
              <a:gd name="connsiteY36" fmla="*/ 1564987 h 2057191"/>
              <a:gd name="connsiteX37" fmla="*/ 4889872 w 12192000"/>
              <a:gd name="connsiteY37" fmla="*/ 2055432 h 2057191"/>
              <a:gd name="connsiteX38" fmla="*/ 5765496 w 12192000"/>
              <a:gd name="connsiteY38" fmla="*/ 1564987 h 2057191"/>
              <a:gd name="connsiteX39" fmla="*/ 6110015 w 12192000"/>
              <a:gd name="connsiteY39" fmla="*/ 1371863 h 2057191"/>
              <a:gd name="connsiteX40" fmla="*/ 6110957 w 12192000"/>
              <a:gd name="connsiteY40" fmla="*/ 1371863 h 2057191"/>
              <a:gd name="connsiteX41" fmla="*/ 6455475 w 12192000"/>
              <a:gd name="connsiteY41" fmla="*/ 1564987 h 2057191"/>
              <a:gd name="connsiteX42" fmla="*/ 7331100 w 12192000"/>
              <a:gd name="connsiteY42" fmla="*/ 2055432 h 2057191"/>
              <a:gd name="connsiteX43" fmla="*/ 8211689 w 12192000"/>
              <a:gd name="connsiteY43" fmla="*/ 1556817 h 2057191"/>
              <a:gd name="connsiteX44" fmla="*/ 8541690 w 12192000"/>
              <a:gd name="connsiteY44" fmla="*/ 1371863 h 2057191"/>
              <a:gd name="connsiteX45" fmla="*/ 8542004 w 12192000"/>
              <a:gd name="connsiteY45" fmla="*/ 1371863 h 2057191"/>
              <a:gd name="connsiteX46" fmla="*/ 8872005 w 12192000"/>
              <a:gd name="connsiteY46" fmla="*/ 1556817 h 2057191"/>
              <a:gd name="connsiteX47" fmla="*/ 9556077 w 12192000"/>
              <a:gd name="connsiteY47" fmla="*/ 2036515 h 2057191"/>
              <a:gd name="connsiteX48" fmla="*/ 9762273 w 12192000"/>
              <a:gd name="connsiteY48" fmla="*/ 2057191 h 2057191"/>
              <a:gd name="connsiteX49" fmla="*/ 10643993 w 12192000"/>
              <a:gd name="connsiteY49" fmla="*/ 1558451 h 2057191"/>
              <a:gd name="connsiteX50" fmla="*/ 10975879 w 12192000"/>
              <a:gd name="connsiteY50" fmla="*/ 1372428 h 2057191"/>
              <a:gd name="connsiteX51" fmla="*/ 10994293 w 12192000"/>
              <a:gd name="connsiteY51" fmla="*/ 1372428 h 2057191"/>
              <a:gd name="connsiteX52" fmla="*/ 11326179 w 12192000"/>
              <a:gd name="connsiteY52" fmla="*/ 1558451 h 2057191"/>
              <a:gd name="connsiteX53" fmla="*/ 12191937 w 12192000"/>
              <a:gd name="connsiteY53" fmla="*/ 2056940 h 2057191"/>
              <a:gd name="connsiteX54" fmla="*/ 12191937 w 12192000"/>
              <a:gd name="connsiteY54" fmla="*/ 263 h 2057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2192000" h="2057191">
                <a:moveTo>
                  <a:pt x="12192000" y="263"/>
                </a:moveTo>
                <a:cubicBezTo>
                  <a:pt x="11825486" y="5856"/>
                  <a:pt x="11505477" y="203002"/>
                  <a:pt x="11327750" y="496176"/>
                </a:cubicBezTo>
                <a:cubicBezTo>
                  <a:pt x="11256987" y="612942"/>
                  <a:pt x="11130919" y="684712"/>
                  <a:pt x="10994356" y="684712"/>
                </a:cubicBezTo>
                <a:lnTo>
                  <a:pt x="10975879" y="684712"/>
                </a:lnTo>
                <a:cubicBezTo>
                  <a:pt x="10839379" y="684712"/>
                  <a:pt x="10713248" y="612942"/>
                  <a:pt x="10642484" y="496176"/>
                </a:cubicBezTo>
                <a:cubicBezTo>
                  <a:pt x="10461490" y="197472"/>
                  <a:pt x="10132621" y="-1748"/>
                  <a:pt x="9757371" y="12"/>
                </a:cubicBezTo>
                <a:cubicBezTo>
                  <a:pt x="9688744" y="326"/>
                  <a:pt x="9621751" y="7427"/>
                  <a:pt x="9556957" y="20499"/>
                </a:cubicBezTo>
                <a:cubicBezTo>
                  <a:pt x="9267428" y="76432"/>
                  <a:pt x="9021263" y="253970"/>
                  <a:pt x="8873702" y="497872"/>
                </a:cubicBezTo>
                <a:cubicBezTo>
                  <a:pt x="8803441" y="614011"/>
                  <a:pt x="8678001" y="685340"/>
                  <a:pt x="8542256" y="685340"/>
                </a:cubicBezTo>
                <a:cubicBezTo>
                  <a:pt x="8406510" y="685340"/>
                  <a:pt x="8281448" y="615582"/>
                  <a:pt x="8212003" y="499946"/>
                </a:cubicBezTo>
                <a:cubicBezTo>
                  <a:pt x="8033397" y="202688"/>
                  <a:pt x="7708675" y="3594"/>
                  <a:pt x="7336253" y="1834"/>
                </a:cubicBezTo>
                <a:cubicBezTo>
                  <a:pt x="6963581" y="74"/>
                  <a:pt x="6636785" y="196843"/>
                  <a:pt x="6455413" y="492468"/>
                </a:cubicBezTo>
                <a:cubicBezTo>
                  <a:pt x="6381947" y="612251"/>
                  <a:pt x="6251543" y="685340"/>
                  <a:pt x="6110957" y="685340"/>
                </a:cubicBezTo>
                <a:lnTo>
                  <a:pt x="6110078" y="685340"/>
                </a:lnTo>
                <a:cubicBezTo>
                  <a:pt x="5969430" y="685340"/>
                  <a:pt x="5839088" y="612062"/>
                  <a:pt x="5765559" y="492216"/>
                </a:cubicBezTo>
                <a:cubicBezTo>
                  <a:pt x="5585068" y="198037"/>
                  <a:pt x="5260471" y="1771"/>
                  <a:pt x="4889935" y="1771"/>
                </a:cubicBezTo>
                <a:cubicBezTo>
                  <a:pt x="4519399" y="1771"/>
                  <a:pt x="4194865" y="198037"/>
                  <a:pt x="4014310" y="492216"/>
                </a:cubicBezTo>
                <a:cubicBezTo>
                  <a:pt x="3940718" y="612062"/>
                  <a:pt x="3810440" y="685340"/>
                  <a:pt x="3669792" y="685340"/>
                </a:cubicBezTo>
                <a:lnTo>
                  <a:pt x="3668849" y="685340"/>
                </a:lnTo>
                <a:cubicBezTo>
                  <a:pt x="3528201" y="685340"/>
                  <a:pt x="3397860" y="612062"/>
                  <a:pt x="3324331" y="492216"/>
                </a:cubicBezTo>
                <a:cubicBezTo>
                  <a:pt x="3143776" y="198037"/>
                  <a:pt x="2819180" y="1771"/>
                  <a:pt x="2448707" y="1771"/>
                </a:cubicBezTo>
                <a:cubicBezTo>
                  <a:pt x="2078233" y="1771"/>
                  <a:pt x="1753637" y="198037"/>
                  <a:pt x="1573082" y="492216"/>
                </a:cubicBezTo>
                <a:cubicBezTo>
                  <a:pt x="1499490" y="612062"/>
                  <a:pt x="1369212" y="685340"/>
                  <a:pt x="1228564" y="685340"/>
                </a:cubicBezTo>
                <a:lnTo>
                  <a:pt x="1227684" y="685340"/>
                </a:lnTo>
                <a:cubicBezTo>
                  <a:pt x="1087162" y="685340"/>
                  <a:pt x="956758" y="612251"/>
                  <a:pt x="883229" y="492468"/>
                </a:cubicBezTo>
                <a:cubicBezTo>
                  <a:pt x="701857" y="196780"/>
                  <a:pt x="375061" y="12"/>
                  <a:pt x="2388" y="1834"/>
                </a:cubicBezTo>
                <a:cubicBezTo>
                  <a:pt x="1571" y="1834"/>
                  <a:pt x="817" y="1834"/>
                  <a:pt x="0" y="1834"/>
                </a:cubicBezTo>
                <a:lnTo>
                  <a:pt x="0" y="2055306"/>
                </a:lnTo>
                <a:cubicBezTo>
                  <a:pt x="372547" y="2057945"/>
                  <a:pt x="699469" y="1862119"/>
                  <a:pt x="881532" y="1567375"/>
                </a:cubicBezTo>
                <a:cubicBezTo>
                  <a:pt x="955941" y="1446837"/>
                  <a:pt x="1085905" y="1371863"/>
                  <a:pt x="1227559" y="1371863"/>
                </a:cubicBezTo>
                <a:lnTo>
                  <a:pt x="1228501" y="1371863"/>
                </a:lnTo>
                <a:cubicBezTo>
                  <a:pt x="1369149" y="1371863"/>
                  <a:pt x="1499428" y="1445140"/>
                  <a:pt x="1573019" y="1564987"/>
                </a:cubicBezTo>
                <a:cubicBezTo>
                  <a:pt x="1753574" y="1859166"/>
                  <a:pt x="2078170" y="2055432"/>
                  <a:pt x="2448644" y="2055432"/>
                </a:cubicBezTo>
                <a:cubicBezTo>
                  <a:pt x="2819117" y="2055432"/>
                  <a:pt x="3143714" y="1859166"/>
                  <a:pt x="3324268" y="1564987"/>
                </a:cubicBezTo>
                <a:cubicBezTo>
                  <a:pt x="3397860" y="1445140"/>
                  <a:pt x="3528139" y="1371863"/>
                  <a:pt x="3668787" y="1371863"/>
                </a:cubicBezTo>
                <a:lnTo>
                  <a:pt x="3669729" y="1371863"/>
                </a:lnTo>
                <a:cubicBezTo>
                  <a:pt x="3810377" y="1371863"/>
                  <a:pt x="3940655" y="1445140"/>
                  <a:pt x="4014248" y="1564987"/>
                </a:cubicBezTo>
                <a:cubicBezTo>
                  <a:pt x="4194802" y="1859166"/>
                  <a:pt x="4519399" y="2055432"/>
                  <a:pt x="4889872" y="2055432"/>
                </a:cubicBezTo>
                <a:cubicBezTo>
                  <a:pt x="5260346" y="2055432"/>
                  <a:pt x="5584942" y="1859166"/>
                  <a:pt x="5765496" y="1564987"/>
                </a:cubicBezTo>
                <a:cubicBezTo>
                  <a:pt x="5839088" y="1445140"/>
                  <a:pt x="5969367" y="1371863"/>
                  <a:pt x="6110015" y="1371863"/>
                </a:cubicBezTo>
                <a:lnTo>
                  <a:pt x="6110957" y="1371863"/>
                </a:lnTo>
                <a:cubicBezTo>
                  <a:pt x="6251605" y="1371863"/>
                  <a:pt x="6381884" y="1445140"/>
                  <a:pt x="6455475" y="1564987"/>
                </a:cubicBezTo>
                <a:cubicBezTo>
                  <a:pt x="6636031" y="1859166"/>
                  <a:pt x="6960626" y="2055432"/>
                  <a:pt x="7331100" y="2055432"/>
                </a:cubicBezTo>
                <a:cubicBezTo>
                  <a:pt x="7701573" y="2055432"/>
                  <a:pt x="8032203" y="1855521"/>
                  <a:pt x="8211689" y="1556817"/>
                </a:cubicBezTo>
                <a:cubicBezTo>
                  <a:pt x="8281070" y="1441370"/>
                  <a:pt x="8406949" y="1371863"/>
                  <a:pt x="8541690" y="1371863"/>
                </a:cubicBezTo>
                <a:lnTo>
                  <a:pt x="8542004" y="1371863"/>
                </a:lnTo>
                <a:cubicBezTo>
                  <a:pt x="8676682" y="1371863"/>
                  <a:pt x="8802624" y="1441370"/>
                  <a:pt x="8872005" y="1556817"/>
                </a:cubicBezTo>
                <a:cubicBezTo>
                  <a:pt x="9019252" y="1801851"/>
                  <a:pt x="9265857" y="1980269"/>
                  <a:pt x="9556077" y="2036515"/>
                </a:cubicBezTo>
                <a:cubicBezTo>
                  <a:pt x="9622693" y="2050090"/>
                  <a:pt x="9691635" y="2057191"/>
                  <a:pt x="9762273" y="2057191"/>
                </a:cubicBezTo>
                <a:cubicBezTo>
                  <a:pt x="10136517" y="2057191"/>
                  <a:pt x="10464067" y="1857280"/>
                  <a:pt x="10643993" y="1558451"/>
                </a:cubicBezTo>
                <a:cubicBezTo>
                  <a:pt x="10713877" y="1442375"/>
                  <a:pt x="10840385" y="1372428"/>
                  <a:pt x="10975879" y="1372428"/>
                </a:cubicBezTo>
                <a:lnTo>
                  <a:pt x="10994293" y="1372428"/>
                </a:lnTo>
                <a:cubicBezTo>
                  <a:pt x="11129725" y="1372428"/>
                  <a:pt x="11256295" y="1442375"/>
                  <a:pt x="11326179" y="1558451"/>
                </a:cubicBezTo>
                <a:cubicBezTo>
                  <a:pt x="11503529" y="1853007"/>
                  <a:pt x="11824355" y="2051347"/>
                  <a:pt x="12191937" y="2056940"/>
                </a:cubicBezTo>
                <a:lnTo>
                  <a:pt x="12191937" y="263"/>
                </a:ln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39287162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Helt 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9523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895799" y="1031048"/>
            <a:ext cx="6628951"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895799" y="2523796"/>
            <a:ext cx="5524051"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ruta 4">
            <a:extLst>
              <a:ext uri="{FF2B5EF4-FFF2-40B4-BE49-F238E27FC236}">
                <a16:creationId xmlns:a16="http://schemas.microsoft.com/office/drawing/2014/main" id="{E321CA30-00B9-E5D3-0D2B-A095164FAA6D}"/>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sp>
        <p:nvSpPr>
          <p:cNvPr id="9" name="Platshållare för bildnummer 8">
            <a:extLst>
              <a:ext uri="{FF2B5EF4-FFF2-40B4-BE49-F238E27FC236}">
                <a16:creationId xmlns:a16="http://schemas.microsoft.com/office/drawing/2014/main" id="{2BBADD83-8924-54BF-9E73-24C921305046}"/>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6">
            <a:extLst>
              <a:ext uri="{FF2B5EF4-FFF2-40B4-BE49-F238E27FC236}">
                <a16:creationId xmlns:a16="http://schemas.microsoft.com/office/drawing/2014/main" id="{E7421C20-294C-254D-5D96-1283F6D41593}"/>
              </a:ext>
            </a:extLst>
          </p:cNvPr>
          <p:cNvSpPr/>
          <p:nvPr userDrawn="1"/>
        </p:nvSpPr>
        <p:spPr>
          <a:xfrm>
            <a:off x="6456082" y="0"/>
            <a:ext cx="5735918" cy="6856983"/>
          </a:xfrm>
          <a:custGeom>
            <a:avLst/>
            <a:gdLst>
              <a:gd name="connsiteX0" fmla="*/ 2957159 w 5735918"/>
              <a:gd name="connsiteY0" fmla="*/ 6856984 h 6856983"/>
              <a:gd name="connsiteX1" fmla="*/ 2880896 w 5735918"/>
              <a:gd name="connsiteY1" fmla="*/ 6371463 h 6856983"/>
              <a:gd name="connsiteX2" fmla="*/ 2986750 w 5735918"/>
              <a:gd name="connsiteY2" fmla="*/ 5812727 h 6856983"/>
              <a:gd name="connsiteX3" fmla="*/ 2987639 w 5735918"/>
              <a:gd name="connsiteY3" fmla="*/ 5811647 h 6856983"/>
              <a:gd name="connsiteX4" fmla="*/ 3519515 w 5735918"/>
              <a:gd name="connsiteY4" fmla="*/ 5610352 h 6856983"/>
              <a:gd name="connsiteX5" fmla="*/ 4870859 w 5735918"/>
              <a:gd name="connsiteY5" fmla="*/ 5098415 h 6856983"/>
              <a:gd name="connsiteX6" fmla="*/ 5140353 w 5735918"/>
              <a:gd name="connsiteY6" fmla="*/ 3678746 h 6856983"/>
              <a:gd name="connsiteX7" fmla="*/ 5246207 w 5735918"/>
              <a:gd name="connsiteY7" fmla="*/ 3120009 h 6856983"/>
              <a:gd name="connsiteX8" fmla="*/ 5247096 w 5735918"/>
              <a:gd name="connsiteY8" fmla="*/ 3118930 h 6856983"/>
              <a:gd name="connsiteX9" fmla="*/ 5735919 w 5735918"/>
              <a:gd name="connsiteY9" fmla="*/ 2912936 h 6856983"/>
              <a:gd name="connsiteX10" fmla="*/ 5735919 w 5735918"/>
              <a:gd name="connsiteY10" fmla="*/ 0 h 6856983"/>
              <a:gd name="connsiteX11" fmla="*/ 4869970 w 5735918"/>
              <a:gd name="connsiteY11" fmla="*/ 499745 h 6856983"/>
              <a:gd name="connsiteX12" fmla="*/ 4594443 w 5735918"/>
              <a:gd name="connsiteY12" fmla="*/ 1920812 h 6856983"/>
              <a:gd name="connsiteX13" fmla="*/ 4489922 w 5735918"/>
              <a:gd name="connsiteY13" fmla="*/ 2483739 h 6856983"/>
              <a:gd name="connsiteX14" fmla="*/ 4489097 w 5735918"/>
              <a:gd name="connsiteY14" fmla="*/ 2484755 h 6856983"/>
              <a:gd name="connsiteX15" fmla="*/ 3957221 w 5735918"/>
              <a:gd name="connsiteY15" fmla="*/ 2686050 h 6856983"/>
              <a:gd name="connsiteX16" fmla="*/ 2605877 w 5735918"/>
              <a:gd name="connsiteY16" fmla="*/ 3197987 h 6856983"/>
              <a:gd name="connsiteX17" fmla="*/ 2336383 w 5735918"/>
              <a:gd name="connsiteY17" fmla="*/ 4617657 h 6856983"/>
              <a:gd name="connsiteX18" fmla="*/ 2230529 w 5735918"/>
              <a:gd name="connsiteY18" fmla="*/ 5176393 h 6856983"/>
              <a:gd name="connsiteX19" fmla="*/ 2229703 w 5735918"/>
              <a:gd name="connsiteY19" fmla="*/ 5177409 h 6856983"/>
              <a:gd name="connsiteX20" fmla="*/ 1693509 w 5735918"/>
              <a:gd name="connsiteY20" fmla="*/ 5378069 h 6856983"/>
              <a:gd name="connsiteX21" fmla="*/ 341848 w 5735918"/>
              <a:gd name="connsiteY21" fmla="*/ 5896166 h 6856983"/>
              <a:gd name="connsiteX22" fmla="*/ 91 w 5735918"/>
              <a:gd name="connsiteY22" fmla="*/ 6856984 h 6856983"/>
              <a:gd name="connsiteX23" fmla="*/ 2957096 w 5735918"/>
              <a:gd name="connsiteY23" fmla="*/ 6856984 h 685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35918" h="6856983">
                <a:moveTo>
                  <a:pt x="2957159" y="6856984"/>
                </a:moveTo>
                <a:cubicBezTo>
                  <a:pt x="2958874" y="6692456"/>
                  <a:pt x="2933220" y="6528182"/>
                  <a:pt x="2880896" y="6371463"/>
                </a:cubicBezTo>
                <a:cubicBezTo>
                  <a:pt x="2816761" y="6179376"/>
                  <a:pt x="2856575" y="5967857"/>
                  <a:pt x="2986750" y="5812727"/>
                </a:cubicBezTo>
                <a:lnTo>
                  <a:pt x="2987639" y="5811647"/>
                </a:lnTo>
                <a:cubicBezTo>
                  <a:pt x="3117814" y="5656517"/>
                  <a:pt x="3319173" y="5580571"/>
                  <a:pt x="3519515" y="5610352"/>
                </a:cubicBezTo>
                <a:cubicBezTo>
                  <a:pt x="4011068" y="5683504"/>
                  <a:pt x="4527959" y="5507038"/>
                  <a:pt x="4870859" y="5098415"/>
                </a:cubicBezTo>
                <a:cubicBezTo>
                  <a:pt x="5213759" y="4689793"/>
                  <a:pt x="5297706" y="4150170"/>
                  <a:pt x="5140353" y="3678746"/>
                </a:cubicBezTo>
                <a:cubicBezTo>
                  <a:pt x="5076218" y="3486658"/>
                  <a:pt x="5116032" y="3275140"/>
                  <a:pt x="5246207" y="3120009"/>
                </a:cubicBezTo>
                <a:lnTo>
                  <a:pt x="5247096" y="3118930"/>
                </a:lnTo>
                <a:cubicBezTo>
                  <a:pt x="5367937" y="2974912"/>
                  <a:pt x="5550182" y="2899220"/>
                  <a:pt x="5735919" y="2912936"/>
                </a:cubicBezTo>
                <a:lnTo>
                  <a:pt x="5735919" y="0"/>
                </a:lnTo>
                <a:cubicBezTo>
                  <a:pt x="5409720" y="58547"/>
                  <a:pt x="5101237" y="226822"/>
                  <a:pt x="4869970" y="499745"/>
                </a:cubicBezTo>
                <a:cubicBezTo>
                  <a:pt x="4524212" y="907860"/>
                  <a:pt x="4438233" y="1448245"/>
                  <a:pt x="4594443" y="1920812"/>
                </a:cubicBezTo>
                <a:cubicBezTo>
                  <a:pt x="4658515" y="2114550"/>
                  <a:pt x="4621050" y="2327402"/>
                  <a:pt x="4489922" y="2483739"/>
                </a:cubicBezTo>
                <a:lnTo>
                  <a:pt x="4489097" y="2484755"/>
                </a:lnTo>
                <a:cubicBezTo>
                  <a:pt x="4358922" y="2639886"/>
                  <a:pt x="4157563" y="2715832"/>
                  <a:pt x="3957221" y="2686050"/>
                </a:cubicBezTo>
                <a:cubicBezTo>
                  <a:pt x="3465667" y="2612898"/>
                  <a:pt x="2948777" y="2789365"/>
                  <a:pt x="2605877" y="3197987"/>
                </a:cubicBezTo>
                <a:cubicBezTo>
                  <a:pt x="2262977" y="3606609"/>
                  <a:pt x="2179030" y="4146233"/>
                  <a:pt x="2336383" y="4617657"/>
                </a:cubicBezTo>
                <a:cubicBezTo>
                  <a:pt x="2400518" y="4809744"/>
                  <a:pt x="2360704" y="5021263"/>
                  <a:pt x="2230529" y="5176393"/>
                </a:cubicBezTo>
                <a:lnTo>
                  <a:pt x="2229703" y="5177409"/>
                </a:lnTo>
                <a:cubicBezTo>
                  <a:pt x="2098512" y="5333746"/>
                  <a:pt x="1895439" y="5407533"/>
                  <a:pt x="1693509" y="5378069"/>
                </a:cubicBezTo>
                <a:cubicBezTo>
                  <a:pt x="1201003" y="5306314"/>
                  <a:pt x="683732" y="5484813"/>
                  <a:pt x="341848" y="5896166"/>
                </a:cubicBezTo>
                <a:cubicBezTo>
                  <a:pt x="108232" y="6177153"/>
                  <a:pt x="-3655" y="6518593"/>
                  <a:pt x="91" y="6856984"/>
                </a:cubicBezTo>
                <a:lnTo>
                  <a:pt x="2957096" y="6856984"/>
                </a:ln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42161714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2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895799" y="1031048"/>
            <a:ext cx="6628951"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895799" y="2523796"/>
            <a:ext cx="5524051"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ruta 4">
            <a:extLst>
              <a:ext uri="{FF2B5EF4-FFF2-40B4-BE49-F238E27FC236}">
                <a16:creationId xmlns:a16="http://schemas.microsoft.com/office/drawing/2014/main" id="{E321CA30-00B9-E5D3-0D2B-A095164FAA6D}"/>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sp>
        <p:nvSpPr>
          <p:cNvPr id="9" name="Platshållare för bildnummer 8">
            <a:extLst>
              <a:ext uri="{FF2B5EF4-FFF2-40B4-BE49-F238E27FC236}">
                <a16:creationId xmlns:a16="http://schemas.microsoft.com/office/drawing/2014/main" id="{2BBADD83-8924-54BF-9E73-24C921305046}"/>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6">
            <a:extLst>
              <a:ext uri="{FF2B5EF4-FFF2-40B4-BE49-F238E27FC236}">
                <a16:creationId xmlns:a16="http://schemas.microsoft.com/office/drawing/2014/main" id="{1EC28C16-46EB-6482-A0E1-F1BD79DBC9E1}"/>
              </a:ext>
            </a:extLst>
          </p:cNvPr>
          <p:cNvSpPr/>
          <p:nvPr userDrawn="1"/>
        </p:nvSpPr>
        <p:spPr>
          <a:xfrm>
            <a:off x="6456082" y="0"/>
            <a:ext cx="5735918" cy="6856983"/>
          </a:xfrm>
          <a:custGeom>
            <a:avLst/>
            <a:gdLst>
              <a:gd name="connsiteX0" fmla="*/ 2957159 w 5735918"/>
              <a:gd name="connsiteY0" fmla="*/ 6856984 h 6856983"/>
              <a:gd name="connsiteX1" fmla="*/ 2880896 w 5735918"/>
              <a:gd name="connsiteY1" fmla="*/ 6371463 h 6856983"/>
              <a:gd name="connsiteX2" fmla="*/ 2986750 w 5735918"/>
              <a:gd name="connsiteY2" fmla="*/ 5812727 h 6856983"/>
              <a:gd name="connsiteX3" fmla="*/ 2987639 w 5735918"/>
              <a:gd name="connsiteY3" fmla="*/ 5811647 h 6856983"/>
              <a:gd name="connsiteX4" fmla="*/ 3519515 w 5735918"/>
              <a:gd name="connsiteY4" fmla="*/ 5610352 h 6856983"/>
              <a:gd name="connsiteX5" fmla="*/ 4870859 w 5735918"/>
              <a:gd name="connsiteY5" fmla="*/ 5098415 h 6856983"/>
              <a:gd name="connsiteX6" fmla="*/ 5140353 w 5735918"/>
              <a:gd name="connsiteY6" fmla="*/ 3678746 h 6856983"/>
              <a:gd name="connsiteX7" fmla="*/ 5246207 w 5735918"/>
              <a:gd name="connsiteY7" fmla="*/ 3120009 h 6856983"/>
              <a:gd name="connsiteX8" fmla="*/ 5247096 w 5735918"/>
              <a:gd name="connsiteY8" fmla="*/ 3118930 h 6856983"/>
              <a:gd name="connsiteX9" fmla="*/ 5735919 w 5735918"/>
              <a:gd name="connsiteY9" fmla="*/ 2912936 h 6856983"/>
              <a:gd name="connsiteX10" fmla="*/ 5735919 w 5735918"/>
              <a:gd name="connsiteY10" fmla="*/ 0 h 6856983"/>
              <a:gd name="connsiteX11" fmla="*/ 4869970 w 5735918"/>
              <a:gd name="connsiteY11" fmla="*/ 499745 h 6856983"/>
              <a:gd name="connsiteX12" fmla="*/ 4594443 w 5735918"/>
              <a:gd name="connsiteY12" fmla="*/ 1920812 h 6856983"/>
              <a:gd name="connsiteX13" fmla="*/ 4489922 w 5735918"/>
              <a:gd name="connsiteY13" fmla="*/ 2483739 h 6856983"/>
              <a:gd name="connsiteX14" fmla="*/ 4489097 w 5735918"/>
              <a:gd name="connsiteY14" fmla="*/ 2484755 h 6856983"/>
              <a:gd name="connsiteX15" fmla="*/ 3957221 w 5735918"/>
              <a:gd name="connsiteY15" fmla="*/ 2686050 h 6856983"/>
              <a:gd name="connsiteX16" fmla="*/ 2605877 w 5735918"/>
              <a:gd name="connsiteY16" fmla="*/ 3197987 h 6856983"/>
              <a:gd name="connsiteX17" fmla="*/ 2336383 w 5735918"/>
              <a:gd name="connsiteY17" fmla="*/ 4617657 h 6856983"/>
              <a:gd name="connsiteX18" fmla="*/ 2230529 w 5735918"/>
              <a:gd name="connsiteY18" fmla="*/ 5176393 h 6856983"/>
              <a:gd name="connsiteX19" fmla="*/ 2229703 w 5735918"/>
              <a:gd name="connsiteY19" fmla="*/ 5177409 h 6856983"/>
              <a:gd name="connsiteX20" fmla="*/ 1693509 w 5735918"/>
              <a:gd name="connsiteY20" fmla="*/ 5378069 h 6856983"/>
              <a:gd name="connsiteX21" fmla="*/ 341848 w 5735918"/>
              <a:gd name="connsiteY21" fmla="*/ 5896166 h 6856983"/>
              <a:gd name="connsiteX22" fmla="*/ 91 w 5735918"/>
              <a:gd name="connsiteY22" fmla="*/ 6856984 h 6856983"/>
              <a:gd name="connsiteX23" fmla="*/ 2957096 w 5735918"/>
              <a:gd name="connsiteY23" fmla="*/ 6856984 h 685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35918" h="6856983">
                <a:moveTo>
                  <a:pt x="2957159" y="6856984"/>
                </a:moveTo>
                <a:cubicBezTo>
                  <a:pt x="2958874" y="6692456"/>
                  <a:pt x="2933220" y="6528182"/>
                  <a:pt x="2880896" y="6371463"/>
                </a:cubicBezTo>
                <a:cubicBezTo>
                  <a:pt x="2816761" y="6179376"/>
                  <a:pt x="2856575" y="5967857"/>
                  <a:pt x="2986750" y="5812727"/>
                </a:cubicBezTo>
                <a:lnTo>
                  <a:pt x="2987639" y="5811647"/>
                </a:lnTo>
                <a:cubicBezTo>
                  <a:pt x="3117814" y="5656517"/>
                  <a:pt x="3319173" y="5580571"/>
                  <a:pt x="3519515" y="5610352"/>
                </a:cubicBezTo>
                <a:cubicBezTo>
                  <a:pt x="4011068" y="5683504"/>
                  <a:pt x="4527959" y="5507038"/>
                  <a:pt x="4870859" y="5098415"/>
                </a:cubicBezTo>
                <a:cubicBezTo>
                  <a:pt x="5213759" y="4689793"/>
                  <a:pt x="5297706" y="4150170"/>
                  <a:pt x="5140353" y="3678746"/>
                </a:cubicBezTo>
                <a:cubicBezTo>
                  <a:pt x="5076218" y="3486658"/>
                  <a:pt x="5116032" y="3275140"/>
                  <a:pt x="5246207" y="3120009"/>
                </a:cubicBezTo>
                <a:lnTo>
                  <a:pt x="5247096" y="3118930"/>
                </a:lnTo>
                <a:cubicBezTo>
                  <a:pt x="5367937" y="2974912"/>
                  <a:pt x="5550182" y="2899220"/>
                  <a:pt x="5735919" y="2912936"/>
                </a:cubicBezTo>
                <a:lnTo>
                  <a:pt x="5735919" y="0"/>
                </a:lnTo>
                <a:cubicBezTo>
                  <a:pt x="5409720" y="58547"/>
                  <a:pt x="5101237" y="226822"/>
                  <a:pt x="4869970" y="499745"/>
                </a:cubicBezTo>
                <a:cubicBezTo>
                  <a:pt x="4524212" y="907860"/>
                  <a:pt x="4438233" y="1448245"/>
                  <a:pt x="4594443" y="1920812"/>
                </a:cubicBezTo>
                <a:cubicBezTo>
                  <a:pt x="4658515" y="2114550"/>
                  <a:pt x="4621050" y="2327402"/>
                  <a:pt x="4489922" y="2483739"/>
                </a:cubicBezTo>
                <a:lnTo>
                  <a:pt x="4489097" y="2484755"/>
                </a:lnTo>
                <a:cubicBezTo>
                  <a:pt x="4358922" y="2639886"/>
                  <a:pt x="4157563" y="2715832"/>
                  <a:pt x="3957221" y="2686050"/>
                </a:cubicBezTo>
                <a:cubicBezTo>
                  <a:pt x="3465667" y="2612898"/>
                  <a:pt x="2948777" y="2789365"/>
                  <a:pt x="2605877" y="3197987"/>
                </a:cubicBezTo>
                <a:cubicBezTo>
                  <a:pt x="2262977" y="3606609"/>
                  <a:pt x="2179030" y="4146233"/>
                  <a:pt x="2336383" y="4617657"/>
                </a:cubicBezTo>
                <a:cubicBezTo>
                  <a:pt x="2400518" y="4809744"/>
                  <a:pt x="2360704" y="5021263"/>
                  <a:pt x="2230529" y="5176393"/>
                </a:cubicBezTo>
                <a:lnTo>
                  <a:pt x="2229703" y="5177409"/>
                </a:lnTo>
                <a:cubicBezTo>
                  <a:pt x="2098512" y="5333746"/>
                  <a:pt x="1895439" y="5407533"/>
                  <a:pt x="1693509" y="5378069"/>
                </a:cubicBezTo>
                <a:cubicBezTo>
                  <a:pt x="1201003" y="5306314"/>
                  <a:pt x="683732" y="5484813"/>
                  <a:pt x="341848" y="5896166"/>
                </a:cubicBezTo>
                <a:cubicBezTo>
                  <a:pt x="108232" y="6177153"/>
                  <a:pt x="-3655" y="6518593"/>
                  <a:pt x="91" y="6856984"/>
                </a:cubicBezTo>
                <a:lnTo>
                  <a:pt x="2957096" y="6856984"/>
                </a:ln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23464441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3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640860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640860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9" name="Platshållare för bildnummer 8">
            <a:extLst>
              <a:ext uri="{FF2B5EF4-FFF2-40B4-BE49-F238E27FC236}">
                <a16:creationId xmlns:a16="http://schemas.microsoft.com/office/drawing/2014/main" id="{2BBADD83-8924-54BF-9E73-24C921305046}"/>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4">
            <a:extLst>
              <a:ext uri="{FF2B5EF4-FFF2-40B4-BE49-F238E27FC236}">
                <a16:creationId xmlns:a16="http://schemas.microsoft.com/office/drawing/2014/main" id="{4F5DC97E-E332-6998-A14D-C7BC45E4B5F7}"/>
              </a:ext>
            </a:extLst>
          </p:cNvPr>
          <p:cNvSpPr/>
          <p:nvPr userDrawn="1"/>
        </p:nvSpPr>
        <p:spPr>
          <a:xfrm>
            <a:off x="-63" y="63"/>
            <a:ext cx="5826843" cy="6858000"/>
          </a:xfrm>
          <a:custGeom>
            <a:avLst/>
            <a:gdLst>
              <a:gd name="connsiteX0" fmla="*/ 1635904 w 5826843"/>
              <a:gd name="connsiteY0" fmla="*/ 6857936 h 6858000"/>
              <a:gd name="connsiteX1" fmla="*/ 1637499 w 5826843"/>
              <a:gd name="connsiteY1" fmla="*/ 5666558 h 6858000"/>
              <a:gd name="connsiteX2" fmla="*/ 1883047 w 5826843"/>
              <a:gd name="connsiteY2" fmla="*/ 4794795 h 6858000"/>
              <a:gd name="connsiteX3" fmla="*/ 1913988 w 5826843"/>
              <a:gd name="connsiteY3" fmla="*/ 4763854 h 6858000"/>
              <a:gd name="connsiteX4" fmla="*/ 2785751 w 5826843"/>
              <a:gd name="connsiteY4" fmla="*/ 4518306 h 6858000"/>
              <a:gd name="connsiteX5" fmla="*/ 5109625 w 5826843"/>
              <a:gd name="connsiteY5" fmla="*/ 3873590 h 6858000"/>
              <a:gd name="connsiteX6" fmla="*/ 5109625 w 5826843"/>
              <a:gd name="connsiteY6" fmla="*/ 410587 h 6858000"/>
              <a:gd name="connsiteX7" fmla="*/ 4566280 w 5826843"/>
              <a:gd name="connsiteY7" fmla="*/ 0 h 6858000"/>
              <a:gd name="connsiteX8" fmla="*/ 2189839 w 5826843"/>
              <a:gd name="connsiteY8" fmla="*/ 0 h 6858000"/>
              <a:gd name="connsiteX9" fmla="*/ 1655106 w 5826843"/>
              <a:gd name="connsiteY9" fmla="*/ 402102 h 6858000"/>
              <a:gd name="connsiteX10" fmla="*/ 1000183 w 5826843"/>
              <a:gd name="connsiteY10" fmla="*/ 2727570 h 6858000"/>
              <a:gd name="connsiteX11" fmla="*/ 756358 w 5826843"/>
              <a:gd name="connsiteY11" fmla="*/ 3606160 h 6858000"/>
              <a:gd name="connsiteX12" fmla="*/ 725289 w 5826843"/>
              <a:gd name="connsiteY12" fmla="*/ 3637228 h 6858000"/>
              <a:gd name="connsiteX13" fmla="*/ 0 w 5826843"/>
              <a:gd name="connsiteY13" fmla="*/ 3905360 h 6858000"/>
              <a:gd name="connsiteX14" fmla="*/ 0 w 5826843"/>
              <a:gd name="connsiteY14" fmla="*/ 6858000 h 6858000"/>
              <a:gd name="connsiteX15" fmla="*/ 1635840 w 5826843"/>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26843" h="6858000">
                <a:moveTo>
                  <a:pt x="1635904" y="6857936"/>
                </a:moveTo>
                <a:cubicBezTo>
                  <a:pt x="1734021" y="6467382"/>
                  <a:pt x="1734532" y="6057305"/>
                  <a:pt x="1637499" y="5666558"/>
                </a:cubicBezTo>
                <a:cubicBezTo>
                  <a:pt x="1559796" y="5353578"/>
                  <a:pt x="1655043" y="5022800"/>
                  <a:pt x="1883047" y="4794795"/>
                </a:cubicBezTo>
                <a:lnTo>
                  <a:pt x="1913988" y="4763854"/>
                </a:lnTo>
                <a:cubicBezTo>
                  <a:pt x="2141993" y="4535850"/>
                  <a:pt x="2472772" y="4440539"/>
                  <a:pt x="2785751" y="4518306"/>
                </a:cubicBezTo>
                <a:cubicBezTo>
                  <a:pt x="3591742" y="4718432"/>
                  <a:pt x="4479582" y="4503633"/>
                  <a:pt x="5109625" y="3873590"/>
                </a:cubicBezTo>
                <a:cubicBezTo>
                  <a:pt x="6065917" y="2917298"/>
                  <a:pt x="6065917" y="1366879"/>
                  <a:pt x="5109625" y="410587"/>
                </a:cubicBezTo>
                <a:cubicBezTo>
                  <a:pt x="4944139" y="245102"/>
                  <a:pt x="4760983" y="108261"/>
                  <a:pt x="4566280" y="0"/>
                </a:cubicBezTo>
                <a:lnTo>
                  <a:pt x="2189839" y="0"/>
                </a:lnTo>
                <a:cubicBezTo>
                  <a:pt x="1998581" y="106411"/>
                  <a:pt x="1818359" y="240381"/>
                  <a:pt x="1655106" y="402102"/>
                </a:cubicBezTo>
                <a:cubicBezTo>
                  <a:pt x="1020279" y="1030805"/>
                  <a:pt x="802099" y="1919794"/>
                  <a:pt x="1000183" y="2727570"/>
                </a:cubicBezTo>
                <a:cubicBezTo>
                  <a:pt x="1077631" y="3043230"/>
                  <a:pt x="986149" y="3376369"/>
                  <a:pt x="756358" y="3606160"/>
                </a:cubicBezTo>
                <a:lnTo>
                  <a:pt x="725289" y="3637228"/>
                </a:lnTo>
                <a:cubicBezTo>
                  <a:pt x="532500" y="3830018"/>
                  <a:pt x="266920" y="3925392"/>
                  <a:pt x="0" y="3905360"/>
                </a:cubicBezTo>
                <a:lnTo>
                  <a:pt x="0" y="6858000"/>
                </a:lnTo>
                <a:lnTo>
                  <a:pt x="1635840" y="6858000"/>
                </a:ln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25704927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3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640860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640860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9" name="Platshållare för bildnummer 8">
            <a:extLst>
              <a:ext uri="{FF2B5EF4-FFF2-40B4-BE49-F238E27FC236}">
                <a16:creationId xmlns:a16="http://schemas.microsoft.com/office/drawing/2014/main" id="{2BBADD83-8924-54BF-9E73-24C921305046}"/>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4">
            <a:extLst>
              <a:ext uri="{FF2B5EF4-FFF2-40B4-BE49-F238E27FC236}">
                <a16:creationId xmlns:a16="http://schemas.microsoft.com/office/drawing/2014/main" id="{50716F9A-FA94-D566-6290-8DD82E3C7A09}"/>
              </a:ext>
            </a:extLst>
          </p:cNvPr>
          <p:cNvSpPr/>
          <p:nvPr userDrawn="1"/>
        </p:nvSpPr>
        <p:spPr>
          <a:xfrm>
            <a:off x="-63" y="63"/>
            <a:ext cx="5826843" cy="6858000"/>
          </a:xfrm>
          <a:custGeom>
            <a:avLst/>
            <a:gdLst>
              <a:gd name="connsiteX0" fmla="*/ 1635904 w 5826843"/>
              <a:gd name="connsiteY0" fmla="*/ 6857936 h 6858000"/>
              <a:gd name="connsiteX1" fmla="*/ 1637499 w 5826843"/>
              <a:gd name="connsiteY1" fmla="*/ 5666558 h 6858000"/>
              <a:gd name="connsiteX2" fmla="*/ 1883047 w 5826843"/>
              <a:gd name="connsiteY2" fmla="*/ 4794795 h 6858000"/>
              <a:gd name="connsiteX3" fmla="*/ 1913988 w 5826843"/>
              <a:gd name="connsiteY3" fmla="*/ 4763854 h 6858000"/>
              <a:gd name="connsiteX4" fmla="*/ 2785751 w 5826843"/>
              <a:gd name="connsiteY4" fmla="*/ 4518306 h 6858000"/>
              <a:gd name="connsiteX5" fmla="*/ 5109625 w 5826843"/>
              <a:gd name="connsiteY5" fmla="*/ 3873590 h 6858000"/>
              <a:gd name="connsiteX6" fmla="*/ 5109625 w 5826843"/>
              <a:gd name="connsiteY6" fmla="*/ 410587 h 6858000"/>
              <a:gd name="connsiteX7" fmla="*/ 4566280 w 5826843"/>
              <a:gd name="connsiteY7" fmla="*/ 0 h 6858000"/>
              <a:gd name="connsiteX8" fmla="*/ 2189839 w 5826843"/>
              <a:gd name="connsiteY8" fmla="*/ 0 h 6858000"/>
              <a:gd name="connsiteX9" fmla="*/ 1655106 w 5826843"/>
              <a:gd name="connsiteY9" fmla="*/ 402102 h 6858000"/>
              <a:gd name="connsiteX10" fmla="*/ 1000183 w 5826843"/>
              <a:gd name="connsiteY10" fmla="*/ 2727570 h 6858000"/>
              <a:gd name="connsiteX11" fmla="*/ 756358 w 5826843"/>
              <a:gd name="connsiteY11" fmla="*/ 3606160 h 6858000"/>
              <a:gd name="connsiteX12" fmla="*/ 725289 w 5826843"/>
              <a:gd name="connsiteY12" fmla="*/ 3637228 h 6858000"/>
              <a:gd name="connsiteX13" fmla="*/ 0 w 5826843"/>
              <a:gd name="connsiteY13" fmla="*/ 3905360 h 6858000"/>
              <a:gd name="connsiteX14" fmla="*/ 0 w 5826843"/>
              <a:gd name="connsiteY14" fmla="*/ 6858000 h 6858000"/>
              <a:gd name="connsiteX15" fmla="*/ 1635840 w 5826843"/>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26843" h="6858000">
                <a:moveTo>
                  <a:pt x="1635904" y="6857936"/>
                </a:moveTo>
                <a:cubicBezTo>
                  <a:pt x="1734021" y="6467382"/>
                  <a:pt x="1734532" y="6057305"/>
                  <a:pt x="1637499" y="5666558"/>
                </a:cubicBezTo>
                <a:cubicBezTo>
                  <a:pt x="1559796" y="5353578"/>
                  <a:pt x="1655043" y="5022800"/>
                  <a:pt x="1883047" y="4794795"/>
                </a:cubicBezTo>
                <a:lnTo>
                  <a:pt x="1913988" y="4763854"/>
                </a:lnTo>
                <a:cubicBezTo>
                  <a:pt x="2141993" y="4535850"/>
                  <a:pt x="2472772" y="4440539"/>
                  <a:pt x="2785751" y="4518306"/>
                </a:cubicBezTo>
                <a:cubicBezTo>
                  <a:pt x="3591742" y="4718432"/>
                  <a:pt x="4479582" y="4503633"/>
                  <a:pt x="5109625" y="3873590"/>
                </a:cubicBezTo>
                <a:cubicBezTo>
                  <a:pt x="6065917" y="2917298"/>
                  <a:pt x="6065917" y="1366879"/>
                  <a:pt x="5109625" y="410587"/>
                </a:cubicBezTo>
                <a:cubicBezTo>
                  <a:pt x="4944139" y="245102"/>
                  <a:pt x="4760983" y="108261"/>
                  <a:pt x="4566280" y="0"/>
                </a:cubicBezTo>
                <a:lnTo>
                  <a:pt x="2189839" y="0"/>
                </a:lnTo>
                <a:cubicBezTo>
                  <a:pt x="1998581" y="106411"/>
                  <a:pt x="1818359" y="240381"/>
                  <a:pt x="1655106" y="402102"/>
                </a:cubicBezTo>
                <a:cubicBezTo>
                  <a:pt x="1020279" y="1030805"/>
                  <a:pt x="802099" y="1919794"/>
                  <a:pt x="1000183" y="2727570"/>
                </a:cubicBezTo>
                <a:cubicBezTo>
                  <a:pt x="1077631" y="3043230"/>
                  <a:pt x="986149" y="3376369"/>
                  <a:pt x="756358" y="3606160"/>
                </a:cubicBezTo>
                <a:lnTo>
                  <a:pt x="725289" y="3637228"/>
                </a:lnTo>
                <a:cubicBezTo>
                  <a:pt x="532500" y="3830018"/>
                  <a:pt x="266920" y="3925392"/>
                  <a:pt x="0" y="3905360"/>
                </a:cubicBezTo>
                <a:lnTo>
                  <a:pt x="0" y="6858000"/>
                </a:lnTo>
                <a:lnTo>
                  <a:pt x="1635840" y="6858000"/>
                </a:ln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32431801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4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640860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640860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9" name="Platshållare för bildnummer 8">
            <a:extLst>
              <a:ext uri="{FF2B5EF4-FFF2-40B4-BE49-F238E27FC236}">
                <a16:creationId xmlns:a16="http://schemas.microsoft.com/office/drawing/2014/main" id="{2BBADD83-8924-54BF-9E73-24C921305046}"/>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7">
            <a:extLst>
              <a:ext uri="{FF2B5EF4-FFF2-40B4-BE49-F238E27FC236}">
                <a16:creationId xmlns:a16="http://schemas.microsoft.com/office/drawing/2014/main" id="{EBA7DD0C-7466-12F4-12C4-E3BD73D88C39}"/>
              </a:ext>
            </a:extLst>
          </p:cNvPr>
          <p:cNvSpPr/>
          <p:nvPr userDrawn="1"/>
        </p:nvSpPr>
        <p:spPr>
          <a:xfrm>
            <a:off x="0" y="-64"/>
            <a:ext cx="5117616" cy="6164629"/>
          </a:xfrm>
          <a:custGeom>
            <a:avLst/>
            <a:gdLst>
              <a:gd name="connsiteX0" fmla="*/ 4945193 w 5117616"/>
              <a:gd name="connsiteY0" fmla="*/ 3166044 h 6164629"/>
              <a:gd name="connsiteX1" fmla="*/ 3256628 w 5117616"/>
              <a:gd name="connsiteY1" fmla="*/ 1872958 h 6164629"/>
              <a:gd name="connsiteX2" fmla="*/ 2617485 w 5117616"/>
              <a:gd name="connsiteY2" fmla="*/ 1387339 h 6164629"/>
              <a:gd name="connsiteX3" fmla="*/ 2602177 w 5117616"/>
              <a:gd name="connsiteY3" fmla="*/ 1351788 h 6164629"/>
              <a:gd name="connsiteX4" fmla="*/ 2688965 w 5117616"/>
              <a:gd name="connsiteY4" fmla="*/ 553809 h 6164629"/>
              <a:gd name="connsiteX5" fmla="*/ 2973808 w 5117616"/>
              <a:gd name="connsiteY5" fmla="*/ 0 h 6164629"/>
              <a:gd name="connsiteX6" fmla="*/ 0 w 5117616"/>
              <a:gd name="connsiteY6" fmla="*/ 0 h 6164629"/>
              <a:gd name="connsiteX7" fmla="*/ 0 w 5117616"/>
              <a:gd name="connsiteY7" fmla="*/ 1242671 h 6164629"/>
              <a:gd name="connsiteX8" fmla="*/ 645341 w 5117616"/>
              <a:gd name="connsiteY8" fmla="*/ 1436742 h 6164629"/>
              <a:gd name="connsiteX9" fmla="*/ 1278348 w 5117616"/>
              <a:gd name="connsiteY9" fmla="*/ 1921539 h 6164629"/>
              <a:gd name="connsiteX10" fmla="*/ 1293593 w 5117616"/>
              <a:gd name="connsiteY10" fmla="*/ 1956962 h 6164629"/>
              <a:gd name="connsiteX11" fmla="*/ 1210474 w 5117616"/>
              <a:gd name="connsiteY11" fmla="*/ 2749944 h 6164629"/>
              <a:gd name="connsiteX12" fmla="*/ 980790 w 5117616"/>
              <a:gd name="connsiteY12" fmla="*/ 4860492 h 6164629"/>
              <a:gd name="connsiteX13" fmla="*/ 3812968 w 5117616"/>
              <a:gd name="connsiteY13" fmla="*/ 5988543 h 6164629"/>
              <a:gd name="connsiteX14" fmla="*/ 4945193 w 5117616"/>
              <a:gd name="connsiteY14" fmla="*/ 3166044 h 61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17616" h="6164629">
                <a:moveTo>
                  <a:pt x="4945193" y="3166044"/>
                </a:moveTo>
                <a:cubicBezTo>
                  <a:pt x="4637767" y="2442075"/>
                  <a:pt x="3981798" y="1974041"/>
                  <a:pt x="3256628" y="1872958"/>
                </a:cubicBezTo>
                <a:cubicBezTo>
                  <a:pt x="2973239" y="1833486"/>
                  <a:pt x="2730588" y="1650169"/>
                  <a:pt x="2617485" y="1387339"/>
                </a:cubicBezTo>
                <a:lnTo>
                  <a:pt x="2602177" y="1351788"/>
                </a:lnTo>
                <a:cubicBezTo>
                  <a:pt x="2489075" y="1089021"/>
                  <a:pt x="2522791" y="786719"/>
                  <a:pt x="2688965" y="553809"/>
                </a:cubicBezTo>
                <a:cubicBezTo>
                  <a:pt x="2810417" y="383523"/>
                  <a:pt x="2906187" y="196727"/>
                  <a:pt x="2973808" y="0"/>
                </a:cubicBezTo>
                <a:lnTo>
                  <a:pt x="0" y="0"/>
                </a:lnTo>
                <a:lnTo>
                  <a:pt x="0" y="1242671"/>
                </a:lnTo>
                <a:cubicBezTo>
                  <a:pt x="203053" y="1340276"/>
                  <a:pt x="420908" y="1406062"/>
                  <a:pt x="645341" y="1436742"/>
                </a:cubicBezTo>
                <a:cubicBezTo>
                  <a:pt x="926643" y="1475138"/>
                  <a:pt x="1166131" y="1660796"/>
                  <a:pt x="1278348" y="1921539"/>
                </a:cubicBezTo>
                <a:lnTo>
                  <a:pt x="1293593" y="1956962"/>
                </a:lnTo>
                <a:cubicBezTo>
                  <a:pt x="1405810" y="2217768"/>
                  <a:pt x="1375953" y="2519311"/>
                  <a:pt x="1210474" y="2749944"/>
                </a:cubicBezTo>
                <a:cubicBezTo>
                  <a:pt x="784252" y="3343921"/>
                  <a:pt x="670707" y="4140002"/>
                  <a:pt x="980790" y="4860492"/>
                </a:cubicBezTo>
                <a:cubicBezTo>
                  <a:pt x="1451417" y="5954068"/>
                  <a:pt x="2719391" y="6459107"/>
                  <a:pt x="3812968" y="5988543"/>
                </a:cubicBezTo>
                <a:cubicBezTo>
                  <a:pt x="4904140" y="5518991"/>
                  <a:pt x="5409495" y="4259494"/>
                  <a:pt x="4945193" y="3166044"/>
                </a:cubicBez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40478315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4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640860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640860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9" name="Platshållare för bildnummer 8">
            <a:extLst>
              <a:ext uri="{FF2B5EF4-FFF2-40B4-BE49-F238E27FC236}">
                <a16:creationId xmlns:a16="http://schemas.microsoft.com/office/drawing/2014/main" id="{2BBADD83-8924-54BF-9E73-24C921305046}"/>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7">
            <a:extLst>
              <a:ext uri="{FF2B5EF4-FFF2-40B4-BE49-F238E27FC236}">
                <a16:creationId xmlns:a16="http://schemas.microsoft.com/office/drawing/2014/main" id="{19240BB7-2A48-89B0-9240-81C790F887DE}"/>
              </a:ext>
            </a:extLst>
          </p:cNvPr>
          <p:cNvSpPr/>
          <p:nvPr userDrawn="1"/>
        </p:nvSpPr>
        <p:spPr>
          <a:xfrm>
            <a:off x="0" y="-64"/>
            <a:ext cx="5117616" cy="6164629"/>
          </a:xfrm>
          <a:custGeom>
            <a:avLst/>
            <a:gdLst>
              <a:gd name="connsiteX0" fmla="*/ 4945193 w 5117616"/>
              <a:gd name="connsiteY0" fmla="*/ 3166044 h 6164629"/>
              <a:gd name="connsiteX1" fmla="*/ 3256628 w 5117616"/>
              <a:gd name="connsiteY1" fmla="*/ 1872958 h 6164629"/>
              <a:gd name="connsiteX2" fmla="*/ 2617485 w 5117616"/>
              <a:gd name="connsiteY2" fmla="*/ 1387339 h 6164629"/>
              <a:gd name="connsiteX3" fmla="*/ 2602177 w 5117616"/>
              <a:gd name="connsiteY3" fmla="*/ 1351788 h 6164629"/>
              <a:gd name="connsiteX4" fmla="*/ 2688965 w 5117616"/>
              <a:gd name="connsiteY4" fmla="*/ 553809 h 6164629"/>
              <a:gd name="connsiteX5" fmla="*/ 2973808 w 5117616"/>
              <a:gd name="connsiteY5" fmla="*/ 0 h 6164629"/>
              <a:gd name="connsiteX6" fmla="*/ 0 w 5117616"/>
              <a:gd name="connsiteY6" fmla="*/ 0 h 6164629"/>
              <a:gd name="connsiteX7" fmla="*/ 0 w 5117616"/>
              <a:gd name="connsiteY7" fmla="*/ 1242671 h 6164629"/>
              <a:gd name="connsiteX8" fmla="*/ 645341 w 5117616"/>
              <a:gd name="connsiteY8" fmla="*/ 1436742 h 6164629"/>
              <a:gd name="connsiteX9" fmla="*/ 1278348 w 5117616"/>
              <a:gd name="connsiteY9" fmla="*/ 1921539 h 6164629"/>
              <a:gd name="connsiteX10" fmla="*/ 1293593 w 5117616"/>
              <a:gd name="connsiteY10" fmla="*/ 1956962 h 6164629"/>
              <a:gd name="connsiteX11" fmla="*/ 1210474 w 5117616"/>
              <a:gd name="connsiteY11" fmla="*/ 2749944 h 6164629"/>
              <a:gd name="connsiteX12" fmla="*/ 980790 w 5117616"/>
              <a:gd name="connsiteY12" fmla="*/ 4860492 h 6164629"/>
              <a:gd name="connsiteX13" fmla="*/ 3812968 w 5117616"/>
              <a:gd name="connsiteY13" fmla="*/ 5988543 h 6164629"/>
              <a:gd name="connsiteX14" fmla="*/ 4945193 w 5117616"/>
              <a:gd name="connsiteY14" fmla="*/ 3166044 h 61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17616" h="6164629">
                <a:moveTo>
                  <a:pt x="4945193" y="3166044"/>
                </a:moveTo>
                <a:cubicBezTo>
                  <a:pt x="4637767" y="2442075"/>
                  <a:pt x="3981798" y="1974041"/>
                  <a:pt x="3256628" y="1872958"/>
                </a:cubicBezTo>
                <a:cubicBezTo>
                  <a:pt x="2973239" y="1833486"/>
                  <a:pt x="2730588" y="1650169"/>
                  <a:pt x="2617485" y="1387339"/>
                </a:cubicBezTo>
                <a:lnTo>
                  <a:pt x="2602177" y="1351788"/>
                </a:lnTo>
                <a:cubicBezTo>
                  <a:pt x="2489075" y="1089021"/>
                  <a:pt x="2522791" y="786719"/>
                  <a:pt x="2688965" y="553809"/>
                </a:cubicBezTo>
                <a:cubicBezTo>
                  <a:pt x="2810417" y="383523"/>
                  <a:pt x="2906187" y="196727"/>
                  <a:pt x="2973808" y="0"/>
                </a:cubicBezTo>
                <a:lnTo>
                  <a:pt x="0" y="0"/>
                </a:lnTo>
                <a:lnTo>
                  <a:pt x="0" y="1242671"/>
                </a:lnTo>
                <a:cubicBezTo>
                  <a:pt x="203053" y="1340276"/>
                  <a:pt x="420908" y="1406062"/>
                  <a:pt x="645341" y="1436742"/>
                </a:cubicBezTo>
                <a:cubicBezTo>
                  <a:pt x="926643" y="1475138"/>
                  <a:pt x="1166131" y="1660796"/>
                  <a:pt x="1278348" y="1921539"/>
                </a:cubicBezTo>
                <a:lnTo>
                  <a:pt x="1293593" y="1956962"/>
                </a:lnTo>
                <a:cubicBezTo>
                  <a:pt x="1405810" y="2217768"/>
                  <a:pt x="1375953" y="2519311"/>
                  <a:pt x="1210474" y="2749944"/>
                </a:cubicBezTo>
                <a:cubicBezTo>
                  <a:pt x="784252" y="3343921"/>
                  <a:pt x="670707" y="4140002"/>
                  <a:pt x="980790" y="4860492"/>
                </a:cubicBezTo>
                <a:cubicBezTo>
                  <a:pt x="1451417" y="5954068"/>
                  <a:pt x="2719391" y="6459107"/>
                  <a:pt x="3812968" y="5988543"/>
                </a:cubicBezTo>
                <a:cubicBezTo>
                  <a:pt x="4904140" y="5518991"/>
                  <a:pt x="5409495" y="4259494"/>
                  <a:pt x="4945193" y="3166044"/>
                </a:cubicBez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86391288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5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640860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640860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9" name="Platshållare för bildnummer 8">
            <a:extLst>
              <a:ext uri="{FF2B5EF4-FFF2-40B4-BE49-F238E27FC236}">
                <a16:creationId xmlns:a16="http://schemas.microsoft.com/office/drawing/2014/main" id="{2BBADD83-8924-54BF-9E73-24C921305046}"/>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7">
            <a:extLst>
              <a:ext uri="{FF2B5EF4-FFF2-40B4-BE49-F238E27FC236}">
                <a16:creationId xmlns:a16="http://schemas.microsoft.com/office/drawing/2014/main" id="{5A00DEAB-AA76-E16C-1476-8F8005783102}"/>
              </a:ext>
            </a:extLst>
          </p:cNvPr>
          <p:cNvSpPr/>
          <p:nvPr userDrawn="1"/>
        </p:nvSpPr>
        <p:spPr>
          <a:xfrm>
            <a:off x="0" y="707190"/>
            <a:ext cx="5779140" cy="6153089"/>
          </a:xfrm>
          <a:custGeom>
            <a:avLst/>
            <a:gdLst>
              <a:gd name="connsiteX0" fmla="*/ 5090596 w 5779140"/>
              <a:gd name="connsiteY0" fmla="*/ 689455 h 6153089"/>
              <a:gd name="connsiteX1" fmla="*/ 1774231 w 5779140"/>
              <a:gd name="connsiteY1" fmla="*/ 681283 h 6153089"/>
              <a:gd name="connsiteX2" fmla="*/ 1145531 w 5779140"/>
              <a:gd name="connsiteY2" fmla="*/ 2913752 h 6153089"/>
              <a:gd name="connsiteX3" fmla="*/ 911472 w 5779140"/>
              <a:gd name="connsiteY3" fmla="*/ 3757191 h 6153089"/>
              <a:gd name="connsiteX4" fmla="*/ 881636 w 5779140"/>
              <a:gd name="connsiteY4" fmla="*/ 3787027 h 6153089"/>
              <a:gd name="connsiteX5" fmla="*/ 38197 w 5779140"/>
              <a:gd name="connsiteY5" fmla="*/ 4021086 h 6153089"/>
              <a:gd name="connsiteX6" fmla="*/ 0 w 5779140"/>
              <a:gd name="connsiteY6" fmla="*/ 4012091 h 6153089"/>
              <a:gd name="connsiteX7" fmla="*/ 0 w 5779140"/>
              <a:gd name="connsiteY7" fmla="*/ 6153090 h 6153089"/>
              <a:gd name="connsiteX8" fmla="*/ 1821930 w 5779140"/>
              <a:gd name="connsiteY8" fmla="*/ 6153090 h 6153089"/>
              <a:gd name="connsiteX9" fmla="*/ 1757318 w 5779140"/>
              <a:gd name="connsiteY9" fmla="*/ 5735266 h 6153089"/>
              <a:gd name="connsiteX10" fmla="*/ 1993088 w 5779140"/>
              <a:gd name="connsiteY10" fmla="*/ 4898352 h 6153089"/>
              <a:gd name="connsiteX11" fmla="*/ 2022797 w 5779140"/>
              <a:gd name="connsiteY11" fmla="*/ 4868643 h 6153089"/>
              <a:gd name="connsiteX12" fmla="*/ 2859711 w 5779140"/>
              <a:gd name="connsiteY12" fmla="*/ 4632873 h 6153089"/>
              <a:gd name="connsiteX13" fmla="*/ 5090596 w 5779140"/>
              <a:gd name="connsiteY13" fmla="*/ 4013928 h 6153089"/>
              <a:gd name="connsiteX14" fmla="*/ 5090596 w 5779140"/>
              <a:gd name="connsiteY14" fmla="*/ 689455 h 615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9140" h="6153089">
                <a:moveTo>
                  <a:pt x="5090596" y="689455"/>
                </a:moveTo>
                <a:cubicBezTo>
                  <a:pt x="4174564" y="-226578"/>
                  <a:pt x="2694634" y="-230315"/>
                  <a:pt x="1774231" y="681283"/>
                </a:cubicBezTo>
                <a:cubicBezTo>
                  <a:pt x="1164788" y="1284898"/>
                  <a:pt x="955306" y="2138282"/>
                  <a:pt x="1145531" y="2913752"/>
                </a:cubicBezTo>
                <a:cubicBezTo>
                  <a:pt x="1219835" y="3216731"/>
                  <a:pt x="1132039" y="3536560"/>
                  <a:pt x="911472" y="3757191"/>
                </a:cubicBezTo>
                <a:lnTo>
                  <a:pt x="881636" y="3787027"/>
                </a:lnTo>
                <a:cubicBezTo>
                  <a:pt x="661005" y="4007657"/>
                  <a:pt x="341240" y="4095454"/>
                  <a:pt x="38197" y="4021086"/>
                </a:cubicBezTo>
                <a:cubicBezTo>
                  <a:pt x="25465" y="4017982"/>
                  <a:pt x="12732" y="4014942"/>
                  <a:pt x="0" y="4012091"/>
                </a:cubicBezTo>
                <a:lnTo>
                  <a:pt x="0" y="6153090"/>
                </a:lnTo>
                <a:lnTo>
                  <a:pt x="1821930" y="6153090"/>
                </a:lnTo>
                <a:cubicBezTo>
                  <a:pt x="1812935" y="6012527"/>
                  <a:pt x="1791461" y="5872662"/>
                  <a:pt x="1757318" y="5735266"/>
                </a:cubicBezTo>
                <a:cubicBezTo>
                  <a:pt x="1682697" y="5434821"/>
                  <a:pt x="1774167" y="5117272"/>
                  <a:pt x="1993088" y="4898352"/>
                </a:cubicBezTo>
                <a:lnTo>
                  <a:pt x="2022797" y="4868643"/>
                </a:lnTo>
                <a:cubicBezTo>
                  <a:pt x="2241717" y="4649723"/>
                  <a:pt x="2559266" y="4558252"/>
                  <a:pt x="2859711" y="4632873"/>
                </a:cubicBezTo>
                <a:cubicBezTo>
                  <a:pt x="3633470" y="4824998"/>
                  <a:pt x="4485778" y="4618747"/>
                  <a:pt x="5090596" y="4013928"/>
                </a:cubicBezTo>
                <a:cubicBezTo>
                  <a:pt x="6008656" y="3095869"/>
                  <a:pt x="6008656" y="1607451"/>
                  <a:pt x="5090596" y="689455"/>
                </a:cubicBez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216836697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5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640860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640860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9" name="Platshållare för bildnummer 8">
            <a:extLst>
              <a:ext uri="{FF2B5EF4-FFF2-40B4-BE49-F238E27FC236}">
                <a16:creationId xmlns:a16="http://schemas.microsoft.com/office/drawing/2014/main" id="{2BBADD83-8924-54BF-9E73-24C921305046}"/>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7">
            <a:extLst>
              <a:ext uri="{FF2B5EF4-FFF2-40B4-BE49-F238E27FC236}">
                <a16:creationId xmlns:a16="http://schemas.microsoft.com/office/drawing/2014/main" id="{287492E6-B037-1EBA-E77B-77F1341A68F1}"/>
              </a:ext>
            </a:extLst>
          </p:cNvPr>
          <p:cNvSpPr/>
          <p:nvPr userDrawn="1"/>
        </p:nvSpPr>
        <p:spPr>
          <a:xfrm>
            <a:off x="0" y="707190"/>
            <a:ext cx="5779140" cy="6153089"/>
          </a:xfrm>
          <a:custGeom>
            <a:avLst/>
            <a:gdLst>
              <a:gd name="connsiteX0" fmla="*/ 5090596 w 5779140"/>
              <a:gd name="connsiteY0" fmla="*/ 689455 h 6153089"/>
              <a:gd name="connsiteX1" fmla="*/ 1774231 w 5779140"/>
              <a:gd name="connsiteY1" fmla="*/ 681283 h 6153089"/>
              <a:gd name="connsiteX2" fmla="*/ 1145531 w 5779140"/>
              <a:gd name="connsiteY2" fmla="*/ 2913752 h 6153089"/>
              <a:gd name="connsiteX3" fmla="*/ 911472 w 5779140"/>
              <a:gd name="connsiteY3" fmla="*/ 3757191 h 6153089"/>
              <a:gd name="connsiteX4" fmla="*/ 881636 w 5779140"/>
              <a:gd name="connsiteY4" fmla="*/ 3787027 h 6153089"/>
              <a:gd name="connsiteX5" fmla="*/ 38197 w 5779140"/>
              <a:gd name="connsiteY5" fmla="*/ 4021086 h 6153089"/>
              <a:gd name="connsiteX6" fmla="*/ 0 w 5779140"/>
              <a:gd name="connsiteY6" fmla="*/ 4012091 h 6153089"/>
              <a:gd name="connsiteX7" fmla="*/ 0 w 5779140"/>
              <a:gd name="connsiteY7" fmla="*/ 6153090 h 6153089"/>
              <a:gd name="connsiteX8" fmla="*/ 1821930 w 5779140"/>
              <a:gd name="connsiteY8" fmla="*/ 6153090 h 6153089"/>
              <a:gd name="connsiteX9" fmla="*/ 1757318 w 5779140"/>
              <a:gd name="connsiteY9" fmla="*/ 5735266 h 6153089"/>
              <a:gd name="connsiteX10" fmla="*/ 1993088 w 5779140"/>
              <a:gd name="connsiteY10" fmla="*/ 4898352 h 6153089"/>
              <a:gd name="connsiteX11" fmla="*/ 2022797 w 5779140"/>
              <a:gd name="connsiteY11" fmla="*/ 4868643 h 6153089"/>
              <a:gd name="connsiteX12" fmla="*/ 2859711 w 5779140"/>
              <a:gd name="connsiteY12" fmla="*/ 4632873 h 6153089"/>
              <a:gd name="connsiteX13" fmla="*/ 5090596 w 5779140"/>
              <a:gd name="connsiteY13" fmla="*/ 4013928 h 6153089"/>
              <a:gd name="connsiteX14" fmla="*/ 5090596 w 5779140"/>
              <a:gd name="connsiteY14" fmla="*/ 689455 h 615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9140" h="6153089">
                <a:moveTo>
                  <a:pt x="5090596" y="689455"/>
                </a:moveTo>
                <a:cubicBezTo>
                  <a:pt x="4174564" y="-226578"/>
                  <a:pt x="2694634" y="-230315"/>
                  <a:pt x="1774231" y="681283"/>
                </a:cubicBezTo>
                <a:cubicBezTo>
                  <a:pt x="1164788" y="1284898"/>
                  <a:pt x="955306" y="2138282"/>
                  <a:pt x="1145531" y="2913752"/>
                </a:cubicBezTo>
                <a:cubicBezTo>
                  <a:pt x="1219835" y="3216731"/>
                  <a:pt x="1132039" y="3536560"/>
                  <a:pt x="911472" y="3757191"/>
                </a:cubicBezTo>
                <a:lnTo>
                  <a:pt x="881636" y="3787027"/>
                </a:lnTo>
                <a:cubicBezTo>
                  <a:pt x="661005" y="4007657"/>
                  <a:pt x="341240" y="4095454"/>
                  <a:pt x="38197" y="4021086"/>
                </a:cubicBezTo>
                <a:cubicBezTo>
                  <a:pt x="25465" y="4017982"/>
                  <a:pt x="12732" y="4014942"/>
                  <a:pt x="0" y="4012091"/>
                </a:cubicBezTo>
                <a:lnTo>
                  <a:pt x="0" y="6153090"/>
                </a:lnTo>
                <a:lnTo>
                  <a:pt x="1821930" y="6153090"/>
                </a:lnTo>
                <a:cubicBezTo>
                  <a:pt x="1812935" y="6012527"/>
                  <a:pt x="1791461" y="5872662"/>
                  <a:pt x="1757318" y="5735266"/>
                </a:cubicBezTo>
                <a:cubicBezTo>
                  <a:pt x="1682697" y="5434821"/>
                  <a:pt x="1774167" y="5117272"/>
                  <a:pt x="1993088" y="4898352"/>
                </a:cubicBezTo>
                <a:lnTo>
                  <a:pt x="2022797" y="4868643"/>
                </a:lnTo>
                <a:cubicBezTo>
                  <a:pt x="2241717" y="4649723"/>
                  <a:pt x="2559266" y="4558252"/>
                  <a:pt x="2859711" y="4632873"/>
                </a:cubicBezTo>
                <a:cubicBezTo>
                  <a:pt x="3633470" y="4824998"/>
                  <a:pt x="4485778" y="4618747"/>
                  <a:pt x="5090596" y="4013928"/>
                </a:cubicBezTo>
                <a:cubicBezTo>
                  <a:pt x="6008656" y="3095869"/>
                  <a:pt x="6008656" y="1607451"/>
                  <a:pt x="5090596" y="689455"/>
                </a:cubicBez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47508638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6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124605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124605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Bild 7">
            <a:extLst>
              <a:ext uri="{FF2B5EF4-FFF2-40B4-BE49-F238E27FC236}">
                <a16:creationId xmlns:a16="http://schemas.microsoft.com/office/drawing/2014/main" id="{AD1599CA-F3E5-6167-F449-C1ED55D0D4DF}"/>
              </a:ext>
            </a:extLst>
          </p:cNvPr>
          <p:cNvSpPr/>
          <p:nvPr userDrawn="1"/>
        </p:nvSpPr>
        <p:spPr>
          <a:xfrm>
            <a:off x="6899113" y="990351"/>
            <a:ext cx="5292506" cy="5867457"/>
          </a:xfrm>
          <a:custGeom>
            <a:avLst/>
            <a:gdLst>
              <a:gd name="connsiteX0" fmla="*/ 2191115 w 5292506"/>
              <a:gd name="connsiteY0" fmla="*/ 4265381 h 5867457"/>
              <a:gd name="connsiteX1" fmla="*/ 2886517 w 5292506"/>
              <a:gd name="connsiteY1" fmla="*/ 4637651 h 5867457"/>
              <a:gd name="connsiteX2" fmla="*/ 2907044 w 5292506"/>
              <a:gd name="connsiteY2" fmla="*/ 4669800 h 5867457"/>
              <a:gd name="connsiteX3" fmla="*/ 2952457 w 5292506"/>
              <a:gd name="connsiteY3" fmla="*/ 5457228 h 5867457"/>
              <a:gd name="connsiteX4" fmla="*/ 2799102 w 5292506"/>
              <a:gd name="connsiteY4" fmla="*/ 5867458 h 5867457"/>
              <a:gd name="connsiteX5" fmla="*/ 5292507 w 5292506"/>
              <a:gd name="connsiteY5" fmla="*/ 5867458 h 5867457"/>
              <a:gd name="connsiteX6" fmla="*/ 5292507 w 5292506"/>
              <a:gd name="connsiteY6" fmla="*/ 4317867 h 5867457"/>
              <a:gd name="connsiteX7" fmla="*/ 4810147 w 5292506"/>
              <a:gd name="connsiteY7" fmla="*/ 4274350 h 5867457"/>
              <a:gd name="connsiteX8" fmla="*/ 4108681 w 5292506"/>
              <a:gd name="connsiteY8" fmla="*/ 3902268 h 5867457"/>
              <a:gd name="connsiteX9" fmla="*/ 4088091 w 5292506"/>
              <a:gd name="connsiteY9" fmla="*/ 3869993 h 5867457"/>
              <a:gd name="connsiteX10" fmla="*/ 4045394 w 5292506"/>
              <a:gd name="connsiteY10" fmla="*/ 3077071 h 5867457"/>
              <a:gd name="connsiteX11" fmla="*/ 3924314 w 5292506"/>
              <a:gd name="connsiteY11" fmla="*/ 976527 h 5867457"/>
              <a:gd name="connsiteX12" fmla="*/ 984804 w 5292506"/>
              <a:gd name="connsiteY12" fmla="*/ 336328 h 5867457"/>
              <a:gd name="connsiteX13" fmla="*/ 335636 w 5292506"/>
              <a:gd name="connsiteY13" fmla="*/ 3281523 h 5867457"/>
              <a:gd name="connsiteX14" fmla="*/ 2191115 w 5292506"/>
              <a:gd name="connsiteY14" fmla="*/ 4265444 h 586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92506" h="5867457">
                <a:moveTo>
                  <a:pt x="2191115" y="4265381"/>
                </a:moveTo>
                <a:cubicBezTo>
                  <a:pt x="2471865" y="4257928"/>
                  <a:pt x="2735309" y="4400987"/>
                  <a:pt x="2886517" y="4637651"/>
                </a:cubicBezTo>
                <a:lnTo>
                  <a:pt x="2907044" y="4669800"/>
                </a:lnTo>
                <a:cubicBezTo>
                  <a:pt x="3058251" y="4906464"/>
                  <a:pt x="3077263" y="5205658"/>
                  <a:pt x="2952457" y="5457228"/>
                </a:cubicBezTo>
                <a:cubicBezTo>
                  <a:pt x="2887275" y="5588729"/>
                  <a:pt x="2835925" y="5726293"/>
                  <a:pt x="2799102" y="5867458"/>
                </a:cubicBezTo>
                <a:lnTo>
                  <a:pt x="5292507" y="5867458"/>
                </a:lnTo>
                <a:lnTo>
                  <a:pt x="5292507" y="4317867"/>
                </a:lnTo>
                <a:cubicBezTo>
                  <a:pt x="5134352" y="4285276"/>
                  <a:pt x="4972470" y="4270497"/>
                  <a:pt x="4810147" y="4274350"/>
                </a:cubicBezTo>
                <a:cubicBezTo>
                  <a:pt x="4527186" y="4281045"/>
                  <a:pt x="4261025" y="4140827"/>
                  <a:pt x="4108681" y="3902268"/>
                </a:cubicBezTo>
                <a:lnTo>
                  <a:pt x="4088091" y="3869993"/>
                </a:lnTo>
                <a:cubicBezTo>
                  <a:pt x="3935746" y="3631498"/>
                  <a:pt x="3920398" y="3331041"/>
                  <a:pt x="4045394" y="3077071"/>
                </a:cubicBezTo>
                <a:cubicBezTo>
                  <a:pt x="4365304" y="2427208"/>
                  <a:pt x="4346356" y="1630243"/>
                  <a:pt x="3924314" y="976527"/>
                </a:cubicBezTo>
                <a:cubicBezTo>
                  <a:pt x="3286957" y="-10678"/>
                  <a:pt x="1975167" y="-296292"/>
                  <a:pt x="984804" y="336328"/>
                </a:cubicBezTo>
                <a:cubicBezTo>
                  <a:pt x="-7770" y="970338"/>
                  <a:pt x="-298374" y="2288949"/>
                  <a:pt x="335636" y="3281523"/>
                </a:cubicBezTo>
                <a:cubicBezTo>
                  <a:pt x="753319" y="3935428"/>
                  <a:pt x="1468175" y="4284582"/>
                  <a:pt x="2191115" y="4265444"/>
                </a:cubicBez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14031169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6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124605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124605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Bild 7">
            <a:extLst>
              <a:ext uri="{FF2B5EF4-FFF2-40B4-BE49-F238E27FC236}">
                <a16:creationId xmlns:a16="http://schemas.microsoft.com/office/drawing/2014/main" id="{F17E9384-DAB8-DEF5-C4CB-BA22AE333486}"/>
              </a:ext>
            </a:extLst>
          </p:cNvPr>
          <p:cNvSpPr/>
          <p:nvPr userDrawn="1"/>
        </p:nvSpPr>
        <p:spPr>
          <a:xfrm>
            <a:off x="6899113" y="990351"/>
            <a:ext cx="5292506" cy="5867457"/>
          </a:xfrm>
          <a:custGeom>
            <a:avLst/>
            <a:gdLst>
              <a:gd name="connsiteX0" fmla="*/ 2191115 w 5292506"/>
              <a:gd name="connsiteY0" fmla="*/ 4265381 h 5867457"/>
              <a:gd name="connsiteX1" fmla="*/ 2886517 w 5292506"/>
              <a:gd name="connsiteY1" fmla="*/ 4637651 h 5867457"/>
              <a:gd name="connsiteX2" fmla="*/ 2907044 w 5292506"/>
              <a:gd name="connsiteY2" fmla="*/ 4669800 h 5867457"/>
              <a:gd name="connsiteX3" fmla="*/ 2952457 w 5292506"/>
              <a:gd name="connsiteY3" fmla="*/ 5457228 h 5867457"/>
              <a:gd name="connsiteX4" fmla="*/ 2799102 w 5292506"/>
              <a:gd name="connsiteY4" fmla="*/ 5867458 h 5867457"/>
              <a:gd name="connsiteX5" fmla="*/ 5292507 w 5292506"/>
              <a:gd name="connsiteY5" fmla="*/ 5867458 h 5867457"/>
              <a:gd name="connsiteX6" fmla="*/ 5292507 w 5292506"/>
              <a:gd name="connsiteY6" fmla="*/ 4317867 h 5867457"/>
              <a:gd name="connsiteX7" fmla="*/ 4810147 w 5292506"/>
              <a:gd name="connsiteY7" fmla="*/ 4274350 h 5867457"/>
              <a:gd name="connsiteX8" fmla="*/ 4108681 w 5292506"/>
              <a:gd name="connsiteY8" fmla="*/ 3902268 h 5867457"/>
              <a:gd name="connsiteX9" fmla="*/ 4088091 w 5292506"/>
              <a:gd name="connsiteY9" fmla="*/ 3869993 h 5867457"/>
              <a:gd name="connsiteX10" fmla="*/ 4045394 w 5292506"/>
              <a:gd name="connsiteY10" fmla="*/ 3077071 h 5867457"/>
              <a:gd name="connsiteX11" fmla="*/ 3924314 w 5292506"/>
              <a:gd name="connsiteY11" fmla="*/ 976527 h 5867457"/>
              <a:gd name="connsiteX12" fmla="*/ 984804 w 5292506"/>
              <a:gd name="connsiteY12" fmla="*/ 336328 h 5867457"/>
              <a:gd name="connsiteX13" fmla="*/ 335636 w 5292506"/>
              <a:gd name="connsiteY13" fmla="*/ 3281523 h 5867457"/>
              <a:gd name="connsiteX14" fmla="*/ 2191115 w 5292506"/>
              <a:gd name="connsiteY14" fmla="*/ 4265444 h 586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92506" h="5867457">
                <a:moveTo>
                  <a:pt x="2191115" y="4265381"/>
                </a:moveTo>
                <a:cubicBezTo>
                  <a:pt x="2471865" y="4257928"/>
                  <a:pt x="2735309" y="4400987"/>
                  <a:pt x="2886517" y="4637651"/>
                </a:cubicBezTo>
                <a:lnTo>
                  <a:pt x="2907044" y="4669800"/>
                </a:lnTo>
                <a:cubicBezTo>
                  <a:pt x="3058251" y="4906464"/>
                  <a:pt x="3077263" y="5205658"/>
                  <a:pt x="2952457" y="5457228"/>
                </a:cubicBezTo>
                <a:cubicBezTo>
                  <a:pt x="2887275" y="5588729"/>
                  <a:pt x="2835925" y="5726293"/>
                  <a:pt x="2799102" y="5867458"/>
                </a:cubicBezTo>
                <a:lnTo>
                  <a:pt x="5292507" y="5867458"/>
                </a:lnTo>
                <a:lnTo>
                  <a:pt x="5292507" y="4317867"/>
                </a:lnTo>
                <a:cubicBezTo>
                  <a:pt x="5134352" y="4285276"/>
                  <a:pt x="4972470" y="4270497"/>
                  <a:pt x="4810147" y="4274350"/>
                </a:cubicBezTo>
                <a:cubicBezTo>
                  <a:pt x="4527186" y="4281045"/>
                  <a:pt x="4261025" y="4140827"/>
                  <a:pt x="4108681" y="3902268"/>
                </a:cubicBezTo>
                <a:lnTo>
                  <a:pt x="4088091" y="3869993"/>
                </a:lnTo>
                <a:cubicBezTo>
                  <a:pt x="3935746" y="3631498"/>
                  <a:pt x="3920398" y="3331041"/>
                  <a:pt x="4045394" y="3077071"/>
                </a:cubicBezTo>
                <a:cubicBezTo>
                  <a:pt x="4365304" y="2427208"/>
                  <a:pt x="4346356" y="1630243"/>
                  <a:pt x="3924314" y="976527"/>
                </a:cubicBezTo>
                <a:cubicBezTo>
                  <a:pt x="3286957" y="-10678"/>
                  <a:pt x="1975167" y="-296292"/>
                  <a:pt x="984804" y="336328"/>
                </a:cubicBezTo>
                <a:cubicBezTo>
                  <a:pt x="-7770" y="970338"/>
                  <a:pt x="-298374" y="2288949"/>
                  <a:pt x="335636" y="3281523"/>
                </a:cubicBezTo>
                <a:cubicBezTo>
                  <a:pt x="753319" y="3935428"/>
                  <a:pt x="1468175" y="4284582"/>
                  <a:pt x="2191115" y="4265444"/>
                </a:cubicBez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42941004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vsnittsrubrik med bild">
    <p:spTree>
      <p:nvGrpSpPr>
        <p:cNvPr id="1" name=""/>
        <p:cNvGrpSpPr/>
        <p:nvPr/>
      </p:nvGrpSpPr>
      <p:grpSpPr>
        <a:xfrm>
          <a:off x="0" y="0"/>
          <a:ext cx="0" cy="0"/>
          <a:chOff x="0" y="0"/>
          <a:chExt cx="0" cy="0"/>
        </a:xfrm>
      </p:grpSpPr>
      <p:sp>
        <p:nvSpPr>
          <p:cNvPr id="8" name="Platshållare för bild 5">
            <a:extLst>
              <a:ext uri="{FF2B5EF4-FFF2-40B4-BE49-F238E27FC236}">
                <a16:creationId xmlns:a16="http://schemas.microsoft.com/office/drawing/2014/main" id="{E89F1A3B-CD83-40C2-B654-7491BD29FCD5}"/>
              </a:ext>
            </a:extLst>
          </p:cNvPr>
          <p:cNvSpPr>
            <a:spLocks noGrp="1"/>
          </p:cNvSpPr>
          <p:nvPr>
            <p:ph type="pic" sz="quarter" idx="11" hasCustomPrompt="1"/>
          </p:nvPr>
        </p:nvSpPr>
        <p:spPr>
          <a:xfrm>
            <a:off x="407989" y="404812"/>
            <a:ext cx="11376024" cy="5508625"/>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9" name="Title 1">
            <a:extLst>
              <a:ext uri="{FF2B5EF4-FFF2-40B4-BE49-F238E27FC236}">
                <a16:creationId xmlns:a16="http://schemas.microsoft.com/office/drawing/2014/main" id="{EAB74EFB-B5F9-4503-84BF-A1C8C3809B6F}"/>
              </a:ext>
            </a:extLst>
          </p:cNvPr>
          <p:cNvSpPr>
            <a:spLocks noGrp="1"/>
          </p:cNvSpPr>
          <p:nvPr>
            <p:ph type="ctrTitle"/>
          </p:nvPr>
        </p:nvSpPr>
        <p:spPr>
          <a:xfrm>
            <a:off x="1879600" y="1973603"/>
            <a:ext cx="8483640" cy="885112"/>
          </a:xfrm>
          <a:prstGeom prst="rect">
            <a:avLst/>
          </a:prstGeom>
        </p:spPr>
        <p:txBody>
          <a:bodyPr anchor="ctr" anchorCtr="0">
            <a:noAutofit/>
          </a:bodyPr>
          <a:lstStyle>
            <a:lvl1pPr algn="ctr">
              <a:lnSpc>
                <a:spcPct val="90000"/>
              </a:lnSpc>
              <a:defRPr sz="4000">
                <a:solidFill>
                  <a:schemeClr val="bg1"/>
                </a:solidFill>
              </a:defRPr>
            </a:lvl1pPr>
          </a:lstStyle>
          <a:p>
            <a:r>
              <a:rPr lang="sv-SE"/>
              <a:t>Klicka här för att ändra mall för rubrikformat</a:t>
            </a:r>
            <a:endParaRPr lang="en-US"/>
          </a:p>
        </p:txBody>
      </p:sp>
      <p:sp>
        <p:nvSpPr>
          <p:cNvPr id="6" name="textruta 5">
            <a:extLst>
              <a:ext uri="{FF2B5EF4-FFF2-40B4-BE49-F238E27FC236}">
                <a16:creationId xmlns:a16="http://schemas.microsoft.com/office/drawing/2014/main" id="{BE03C4AA-7F69-47DB-B0C7-C398C29343E8}"/>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solidFill>
                  <a:schemeClr val="tx1"/>
                </a:solidFill>
              </a:rPr>
              <a:t>Hållbar stad – öppen för världen</a:t>
            </a:r>
          </a:p>
        </p:txBody>
      </p:sp>
      <p:pic>
        <p:nvPicPr>
          <p:cNvPr id="7" name="Bildobjekt 6" descr="Logo" title="Logo">
            <a:extLst>
              <a:ext uri="{FF2B5EF4-FFF2-40B4-BE49-F238E27FC236}">
                <a16:creationId xmlns:a16="http://schemas.microsoft.com/office/drawing/2014/main" id="{A42DC399-9929-4DB1-86A7-EDD1619A0A0E}"/>
              </a:ext>
            </a:extLst>
          </p:cNvPr>
          <p:cNvPicPr>
            <a:picLocks noChangeAspect="1"/>
          </p:cNvPicPr>
          <p:nvPr userDrawn="1"/>
        </p:nvPicPr>
        <p:blipFill>
          <a:blip r:embed="rId2"/>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1706842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7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124605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124605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8" name="Platshållare för bildnummer 7">
            <a:extLst>
              <a:ext uri="{FF2B5EF4-FFF2-40B4-BE49-F238E27FC236}">
                <a16:creationId xmlns:a16="http://schemas.microsoft.com/office/drawing/2014/main" id="{0A0D95A5-860B-2CAA-9D17-45E38020A5DF}"/>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8">
            <a:extLst>
              <a:ext uri="{FF2B5EF4-FFF2-40B4-BE49-F238E27FC236}">
                <a16:creationId xmlns:a16="http://schemas.microsoft.com/office/drawing/2014/main" id="{7BA1FA73-35CF-8A39-C8B9-A00C8CEBDFFB}"/>
              </a:ext>
            </a:extLst>
          </p:cNvPr>
          <p:cNvSpPr/>
          <p:nvPr userDrawn="1"/>
        </p:nvSpPr>
        <p:spPr>
          <a:xfrm>
            <a:off x="7054439" y="0"/>
            <a:ext cx="5136617" cy="5918613"/>
          </a:xfrm>
          <a:custGeom>
            <a:avLst/>
            <a:gdLst>
              <a:gd name="connsiteX0" fmla="*/ 2290933 w 5136617"/>
              <a:gd name="connsiteY0" fmla="*/ 0 h 5918613"/>
              <a:gd name="connsiteX1" fmla="*/ 2526868 w 5136617"/>
              <a:gd name="connsiteY1" fmla="*/ 515071 h 5918613"/>
              <a:gd name="connsiteX2" fmla="*/ 2568999 w 5136617"/>
              <a:gd name="connsiteY2" fmla="*/ 1289657 h 5918613"/>
              <a:gd name="connsiteX3" fmla="*/ 2552398 w 5136617"/>
              <a:gd name="connsiteY3" fmla="*/ 1323174 h 5918613"/>
              <a:gd name="connsiteX4" fmla="*/ 1910305 w 5136617"/>
              <a:gd name="connsiteY4" fmla="*/ 1758509 h 5918613"/>
              <a:gd name="connsiteX5" fmla="*/ 213357 w 5136617"/>
              <a:gd name="connsiteY5" fmla="*/ 2918440 h 5918613"/>
              <a:gd name="connsiteX6" fmla="*/ 1158859 w 5136617"/>
              <a:gd name="connsiteY6" fmla="*/ 5701306 h 5918613"/>
              <a:gd name="connsiteX7" fmla="*/ 3950843 w 5136617"/>
              <a:gd name="connsiteY7" fmla="*/ 4760332 h 5918613"/>
              <a:gd name="connsiteX8" fmla="*/ 3839163 w 5136617"/>
              <a:gd name="connsiteY8" fmla="*/ 2711557 h 5918613"/>
              <a:gd name="connsiteX9" fmla="*/ 3800239 w 5136617"/>
              <a:gd name="connsiteY9" fmla="*/ 1941938 h 5918613"/>
              <a:gd name="connsiteX10" fmla="*/ 3816777 w 5136617"/>
              <a:gd name="connsiteY10" fmla="*/ 1908547 h 5918613"/>
              <a:gd name="connsiteX11" fmla="*/ 4452896 w 5136617"/>
              <a:gd name="connsiteY11" fmla="*/ 1473652 h 5918613"/>
              <a:gd name="connsiteX12" fmla="*/ 5136618 w 5136617"/>
              <a:gd name="connsiteY12" fmla="*/ 1298084 h 5918613"/>
              <a:gd name="connsiteX13" fmla="*/ 5136618 w 5136617"/>
              <a:gd name="connsiteY13" fmla="*/ 0 h 5918613"/>
              <a:gd name="connsiteX14" fmla="*/ 2290744 w 5136617"/>
              <a:gd name="connsiteY14" fmla="*/ 0 h 591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6617" h="5918613">
                <a:moveTo>
                  <a:pt x="2290933" y="0"/>
                </a:moveTo>
                <a:cubicBezTo>
                  <a:pt x="2345766" y="181039"/>
                  <a:pt x="2424998" y="354532"/>
                  <a:pt x="2526868" y="515071"/>
                </a:cubicBezTo>
                <a:cubicBezTo>
                  <a:pt x="2675019" y="748491"/>
                  <a:pt x="2691872" y="1041963"/>
                  <a:pt x="2568999" y="1289657"/>
                </a:cubicBezTo>
                <a:lnTo>
                  <a:pt x="2552398" y="1323174"/>
                </a:lnTo>
                <a:cubicBezTo>
                  <a:pt x="2429589" y="1570868"/>
                  <a:pt x="2185793" y="1735117"/>
                  <a:pt x="1910305" y="1758509"/>
                </a:cubicBezTo>
                <a:cubicBezTo>
                  <a:pt x="1205203" y="1818248"/>
                  <a:pt x="547767" y="2235788"/>
                  <a:pt x="213357" y="2918440"/>
                </a:cubicBezTo>
                <a:cubicBezTo>
                  <a:pt x="-291715" y="3949462"/>
                  <a:pt x="130290" y="5191266"/>
                  <a:pt x="1158859" y="5701306"/>
                </a:cubicBezTo>
                <a:cubicBezTo>
                  <a:pt x="2189692" y="6212415"/>
                  <a:pt x="3439733" y="5791165"/>
                  <a:pt x="3950843" y="4760332"/>
                </a:cubicBezTo>
                <a:cubicBezTo>
                  <a:pt x="4287578" y="4081201"/>
                  <a:pt x="4219539" y="3306991"/>
                  <a:pt x="3839163" y="2711557"/>
                </a:cubicBezTo>
                <a:cubicBezTo>
                  <a:pt x="3691452" y="2480338"/>
                  <a:pt x="3678372" y="2187808"/>
                  <a:pt x="3800239" y="1941938"/>
                </a:cubicBezTo>
                <a:lnTo>
                  <a:pt x="3816777" y="1908547"/>
                </a:lnTo>
                <a:cubicBezTo>
                  <a:pt x="3938643" y="1662739"/>
                  <a:pt x="4179483" y="1496038"/>
                  <a:pt x="4452896" y="1473652"/>
                </a:cubicBezTo>
                <a:cubicBezTo>
                  <a:pt x="4689586" y="1454284"/>
                  <a:pt x="4920931" y="1394545"/>
                  <a:pt x="5136618" y="1298084"/>
                </a:cubicBezTo>
                <a:lnTo>
                  <a:pt x="5136618" y="0"/>
                </a:lnTo>
                <a:lnTo>
                  <a:pt x="2290744" y="0"/>
                </a:ln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6571472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7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124605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124605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bildnummer 3">
            <a:extLst>
              <a:ext uri="{FF2B5EF4-FFF2-40B4-BE49-F238E27FC236}">
                <a16:creationId xmlns:a16="http://schemas.microsoft.com/office/drawing/2014/main" id="{59C57524-1BB1-29B7-048F-52249E3CE4B4}"/>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5" name="Bild 8">
            <a:extLst>
              <a:ext uri="{FF2B5EF4-FFF2-40B4-BE49-F238E27FC236}">
                <a16:creationId xmlns:a16="http://schemas.microsoft.com/office/drawing/2014/main" id="{B3AF2EE5-C320-162C-84EB-2399B077F0C8}"/>
              </a:ext>
            </a:extLst>
          </p:cNvPr>
          <p:cNvSpPr/>
          <p:nvPr userDrawn="1"/>
        </p:nvSpPr>
        <p:spPr>
          <a:xfrm>
            <a:off x="7054439" y="0"/>
            <a:ext cx="5136617" cy="5918613"/>
          </a:xfrm>
          <a:custGeom>
            <a:avLst/>
            <a:gdLst>
              <a:gd name="connsiteX0" fmla="*/ 2290933 w 5136617"/>
              <a:gd name="connsiteY0" fmla="*/ 0 h 5918613"/>
              <a:gd name="connsiteX1" fmla="*/ 2526868 w 5136617"/>
              <a:gd name="connsiteY1" fmla="*/ 515071 h 5918613"/>
              <a:gd name="connsiteX2" fmla="*/ 2568999 w 5136617"/>
              <a:gd name="connsiteY2" fmla="*/ 1289657 h 5918613"/>
              <a:gd name="connsiteX3" fmla="*/ 2552398 w 5136617"/>
              <a:gd name="connsiteY3" fmla="*/ 1323174 h 5918613"/>
              <a:gd name="connsiteX4" fmla="*/ 1910305 w 5136617"/>
              <a:gd name="connsiteY4" fmla="*/ 1758509 h 5918613"/>
              <a:gd name="connsiteX5" fmla="*/ 213357 w 5136617"/>
              <a:gd name="connsiteY5" fmla="*/ 2918440 h 5918613"/>
              <a:gd name="connsiteX6" fmla="*/ 1158859 w 5136617"/>
              <a:gd name="connsiteY6" fmla="*/ 5701306 h 5918613"/>
              <a:gd name="connsiteX7" fmla="*/ 3950843 w 5136617"/>
              <a:gd name="connsiteY7" fmla="*/ 4760332 h 5918613"/>
              <a:gd name="connsiteX8" fmla="*/ 3839163 w 5136617"/>
              <a:gd name="connsiteY8" fmla="*/ 2711557 h 5918613"/>
              <a:gd name="connsiteX9" fmla="*/ 3800239 w 5136617"/>
              <a:gd name="connsiteY9" fmla="*/ 1941938 h 5918613"/>
              <a:gd name="connsiteX10" fmla="*/ 3816777 w 5136617"/>
              <a:gd name="connsiteY10" fmla="*/ 1908547 h 5918613"/>
              <a:gd name="connsiteX11" fmla="*/ 4452896 w 5136617"/>
              <a:gd name="connsiteY11" fmla="*/ 1473652 h 5918613"/>
              <a:gd name="connsiteX12" fmla="*/ 5136618 w 5136617"/>
              <a:gd name="connsiteY12" fmla="*/ 1298084 h 5918613"/>
              <a:gd name="connsiteX13" fmla="*/ 5136618 w 5136617"/>
              <a:gd name="connsiteY13" fmla="*/ 0 h 5918613"/>
              <a:gd name="connsiteX14" fmla="*/ 2290744 w 5136617"/>
              <a:gd name="connsiteY14" fmla="*/ 0 h 591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6617" h="5918613">
                <a:moveTo>
                  <a:pt x="2290933" y="0"/>
                </a:moveTo>
                <a:cubicBezTo>
                  <a:pt x="2345766" y="181039"/>
                  <a:pt x="2424998" y="354532"/>
                  <a:pt x="2526868" y="515071"/>
                </a:cubicBezTo>
                <a:cubicBezTo>
                  <a:pt x="2675019" y="748491"/>
                  <a:pt x="2691872" y="1041963"/>
                  <a:pt x="2568999" y="1289657"/>
                </a:cubicBezTo>
                <a:lnTo>
                  <a:pt x="2552398" y="1323174"/>
                </a:lnTo>
                <a:cubicBezTo>
                  <a:pt x="2429589" y="1570868"/>
                  <a:pt x="2185793" y="1735117"/>
                  <a:pt x="1910305" y="1758509"/>
                </a:cubicBezTo>
                <a:cubicBezTo>
                  <a:pt x="1205203" y="1818248"/>
                  <a:pt x="547767" y="2235788"/>
                  <a:pt x="213357" y="2918440"/>
                </a:cubicBezTo>
                <a:cubicBezTo>
                  <a:pt x="-291715" y="3949462"/>
                  <a:pt x="130290" y="5191266"/>
                  <a:pt x="1158859" y="5701306"/>
                </a:cubicBezTo>
                <a:cubicBezTo>
                  <a:pt x="2189692" y="6212415"/>
                  <a:pt x="3439733" y="5791165"/>
                  <a:pt x="3950843" y="4760332"/>
                </a:cubicBezTo>
                <a:cubicBezTo>
                  <a:pt x="4287578" y="4081201"/>
                  <a:pt x="4219539" y="3306991"/>
                  <a:pt x="3839163" y="2711557"/>
                </a:cubicBezTo>
                <a:cubicBezTo>
                  <a:pt x="3691452" y="2480338"/>
                  <a:pt x="3678372" y="2187808"/>
                  <a:pt x="3800239" y="1941938"/>
                </a:cubicBezTo>
                <a:lnTo>
                  <a:pt x="3816777" y="1908547"/>
                </a:lnTo>
                <a:cubicBezTo>
                  <a:pt x="3938643" y="1662739"/>
                  <a:pt x="4179483" y="1496038"/>
                  <a:pt x="4452896" y="1473652"/>
                </a:cubicBezTo>
                <a:cubicBezTo>
                  <a:pt x="4689586" y="1454284"/>
                  <a:pt x="4920931" y="1394545"/>
                  <a:pt x="5136618" y="1298084"/>
                </a:cubicBezTo>
                <a:lnTo>
                  <a:pt x="5136618" y="0"/>
                </a:lnTo>
                <a:lnTo>
                  <a:pt x="2290744" y="0"/>
                </a:ln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153608027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8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124605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124605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8" name="Platshållare för bildnummer 7">
            <a:extLst>
              <a:ext uri="{FF2B5EF4-FFF2-40B4-BE49-F238E27FC236}">
                <a16:creationId xmlns:a16="http://schemas.microsoft.com/office/drawing/2014/main" id="{4ABAB682-468C-C13A-D998-4F41B1ECBCFC}"/>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Bild 8">
            <a:extLst>
              <a:ext uri="{FF2B5EF4-FFF2-40B4-BE49-F238E27FC236}">
                <a16:creationId xmlns:a16="http://schemas.microsoft.com/office/drawing/2014/main" id="{DE3A90B7-1628-99DD-EE5F-4F01618CEE3E}"/>
              </a:ext>
            </a:extLst>
          </p:cNvPr>
          <p:cNvSpPr/>
          <p:nvPr userDrawn="1"/>
        </p:nvSpPr>
        <p:spPr>
          <a:xfrm>
            <a:off x="6724202" y="1208212"/>
            <a:ext cx="5465151" cy="4422200"/>
          </a:xfrm>
          <a:custGeom>
            <a:avLst/>
            <a:gdLst>
              <a:gd name="connsiteX0" fmla="*/ 5465089 w 5465151"/>
              <a:gd name="connsiteY0" fmla="*/ 1211760 h 4422200"/>
              <a:gd name="connsiteX1" fmla="*/ 4859473 w 5465151"/>
              <a:gd name="connsiteY1" fmla="*/ 1471984 h 4422200"/>
              <a:gd name="connsiteX2" fmla="*/ 4819788 w 5465151"/>
              <a:gd name="connsiteY2" fmla="*/ 1471984 h 4422200"/>
              <a:gd name="connsiteX3" fmla="*/ 4103116 w 5465151"/>
              <a:gd name="connsiteY3" fmla="*/ 1066687 h 4422200"/>
              <a:gd name="connsiteX4" fmla="*/ 2200221 w 5465151"/>
              <a:gd name="connsiteY4" fmla="*/ 26 h 4422200"/>
              <a:gd name="connsiteX5" fmla="*/ 0 w 5465151"/>
              <a:gd name="connsiteY5" fmla="*/ 2211145 h 4422200"/>
              <a:gd name="connsiteX6" fmla="*/ 2211119 w 5465151"/>
              <a:gd name="connsiteY6" fmla="*/ 4422201 h 4422200"/>
              <a:gd name="connsiteX7" fmla="*/ 4106517 w 5465151"/>
              <a:gd name="connsiteY7" fmla="*/ 3350059 h 4422200"/>
              <a:gd name="connsiteX8" fmla="*/ 4819914 w 5465151"/>
              <a:gd name="connsiteY8" fmla="*/ 2950242 h 4422200"/>
              <a:gd name="connsiteX9" fmla="*/ 4859473 w 5465151"/>
              <a:gd name="connsiteY9" fmla="*/ 2950242 h 4422200"/>
              <a:gd name="connsiteX10" fmla="*/ 5465152 w 5465151"/>
              <a:gd name="connsiteY10" fmla="*/ 3208766 h 4422200"/>
              <a:gd name="connsiteX11" fmla="*/ 5465152 w 5465151"/>
              <a:gd name="connsiteY11" fmla="*/ 1211760 h 44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5151" h="4422200">
                <a:moveTo>
                  <a:pt x="5465089" y="1211760"/>
                </a:moveTo>
                <a:cubicBezTo>
                  <a:pt x="5308866" y="1375731"/>
                  <a:pt x="5091162" y="1471984"/>
                  <a:pt x="4859473" y="1471984"/>
                </a:cubicBezTo>
                <a:lnTo>
                  <a:pt x="4819788" y="1471984"/>
                </a:lnTo>
                <a:cubicBezTo>
                  <a:pt x="4526366" y="1471984"/>
                  <a:pt x="4255244" y="1317651"/>
                  <a:pt x="4103116" y="1066687"/>
                </a:cubicBezTo>
                <a:cubicBezTo>
                  <a:pt x="3713945" y="424410"/>
                  <a:pt x="3006974" y="-3817"/>
                  <a:pt x="2200221" y="26"/>
                </a:cubicBezTo>
                <a:cubicBezTo>
                  <a:pt x="981747" y="5884"/>
                  <a:pt x="0" y="992670"/>
                  <a:pt x="0" y="2211145"/>
                </a:cubicBezTo>
                <a:cubicBezTo>
                  <a:pt x="0" y="3432265"/>
                  <a:pt x="989936" y="4422201"/>
                  <a:pt x="2211119" y="4422201"/>
                </a:cubicBezTo>
                <a:cubicBezTo>
                  <a:pt x="3015604" y="4422201"/>
                  <a:pt x="3719677" y="3992462"/>
                  <a:pt x="4106517" y="3350059"/>
                </a:cubicBezTo>
                <a:cubicBezTo>
                  <a:pt x="4256756" y="3100607"/>
                  <a:pt x="4528760" y="2950242"/>
                  <a:pt x="4819914" y="2950242"/>
                </a:cubicBezTo>
                <a:lnTo>
                  <a:pt x="4859473" y="2950242"/>
                </a:lnTo>
                <a:cubicBezTo>
                  <a:pt x="5090532" y="2950242"/>
                  <a:pt x="5309496" y="3044984"/>
                  <a:pt x="5465152" y="3208766"/>
                </a:cubicBezTo>
                <a:lnTo>
                  <a:pt x="5465152" y="1211760"/>
                </a:ln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19064098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8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FD1F1D0A-997A-AC6F-C797-3C7631ECAA77}"/>
              </a:ext>
            </a:extLst>
          </p:cNvPr>
          <p:cNvSpPr>
            <a:spLocks noGrp="1"/>
          </p:cNvSpPr>
          <p:nvPr>
            <p:ph type="title" hasCustomPrompt="1"/>
          </p:nvPr>
        </p:nvSpPr>
        <p:spPr>
          <a:xfrm>
            <a:off x="1246053" y="1011998"/>
            <a:ext cx="4727397" cy="1232398"/>
          </a:xfrm>
        </p:spPr>
        <p:txBody>
          <a:bodyPr>
            <a:normAutofit/>
          </a:bodyPr>
          <a:lstStyle>
            <a:lvl1pPr>
              <a:defRPr sz="4000">
                <a:solidFill>
                  <a:schemeClr val="bg1"/>
                </a:solidFill>
              </a:defRPr>
            </a:lvl1pPr>
          </a:lstStyle>
          <a:p>
            <a:r>
              <a:rPr lang="sv-SE"/>
              <a:t>Rubrik</a:t>
            </a:r>
          </a:p>
        </p:txBody>
      </p:sp>
      <p:sp>
        <p:nvSpPr>
          <p:cNvPr id="6" name="Content Placeholder 2">
            <a:extLst>
              <a:ext uri="{FF2B5EF4-FFF2-40B4-BE49-F238E27FC236}">
                <a16:creationId xmlns:a16="http://schemas.microsoft.com/office/drawing/2014/main" id="{92557962-DACD-5E67-1B20-5F8F74F355F3}"/>
              </a:ext>
            </a:extLst>
          </p:cNvPr>
          <p:cNvSpPr>
            <a:spLocks noGrp="1"/>
          </p:cNvSpPr>
          <p:nvPr>
            <p:ph sz="half" idx="11"/>
          </p:nvPr>
        </p:nvSpPr>
        <p:spPr>
          <a:xfrm>
            <a:off x="124605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bildnummer 3">
            <a:extLst>
              <a:ext uri="{FF2B5EF4-FFF2-40B4-BE49-F238E27FC236}">
                <a16:creationId xmlns:a16="http://schemas.microsoft.com/office/drawing/2014/main" id="{383D9F1E-62DF-6276-B2CB-2B369E77DE79}"/>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7" name="Bild 8">
            <a:extLst>
              <a:ext uri="{FF2B5EF4-FFF2-40B4-BE49-F238E27FC236}">
                <a16:creationId xmlns:a16="http://schemas.microsoft.com/office/drawing/2014/main" id="{E7A5DD14-924F-3E11-74F3-655391C29C9E}"/>
              </a:ext>
            </a:extLst>
          </p:cNvPr>
          <p:cNvSpPr/>
          <p:nvPr userDrawn="1"/>
        </p:nvSpPr>
        <p:spPr>
          <a:xfrm>
            <a:off x="6724202" y="1208212"/>
            <a:ext cx="5465151" cy="4422200"/>
          </a:xfrm>
          <a:custGeom>
            <a:avLst/>
            <a:gdLst>
              <a:gd name="connsiteX0" fmla="*/ 5465089 w 5465151"/>
              <a:gd name="connsiteY0" fmla="*/ 1211760 h 4422200"/>
              <a:gd name="connsiteX1" fmla="*/ 4859473 w 5465151"/>
              <a:gd name="connsiteY1" fmla="*/ 1471984 h 4422200"/>
              <a:gd name="connsiteX2" fmla="*/ 4819788 w 5465151"/>
              <a:gd name="connsiteY2" fmla="*/ 1471984 h 4422200"/>
              <a:gd name="connsiteX3" fmla="*/ 4103116 w 5465151"/>
              <a:gd name="connsiteY3" fmla="*/ 1066687 h 4422200"/>
              <a:gd name="connsiteX4" fmla="*/ 2200221 w 5465151"/>
              <a:gd name="connsiteY4" fmla="*/ 26 h 4422200"/>
              <a:gd name="connsiteX5" fmla="*/ 0 w 5465151"/>
              <a:gd name="connsiteY5" fmla="*/ 2211145 h 4422200"/>
              <a:gd name="connsiteX6" fmla="*/ 2211119 w 5465151"/>
              <a:gd name="connsiteY6" fmla="*/ 4422201 h 4422200"/>
              <a:gd name="connsiteX7" fmla="*/ 4106517 w 5465151"/>
              <a:gd name="connsiteY7" fmla="*/ 3350059 h 4422200"/>
              <a:gd name="connsiteX8" fmla="*/ 4819914 w 5465151"/>
              <a:gd name="connsiteY8" fmla="*/ 2950242 h 4422200"/>
              <a:gd name="connsiteX9" fmla="*/ 4859473 w 5465151"/>
              <a:gd name="connsiteY9" fmla="*/ 2950242 h 4422200"/>
              <a:gd name="connsiteX10" fmla="*/ 5465152 w 5465151"/>
              <a:gd name="connsiteY10" fmla="*/ 3208766 h 4422200"/>
              <a:gd name="connsiteX11" fmla="*/ 5465152 w 5465151"/>
              <a:gd name="connsiteY11" fmla="*/ 1211760 h 44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5151" h="4422200">
                <a:moveTo>
                  <a:pt x="5465089" y="1211760"/>
                </a:moveTo>
                <a:cubicBezTo>
                  <a:pt x="5308866" y="1375731"/>
                  <a:pt x="5091162" y="1471984"/>
                  <a:pt x="4859473" y="1471984"/>
                </a:cubicBezTo>
                <a:lnTo>
                  <a:pt x="4819788" y="1471984"/>
                </a:lnTo>
                <a:cubicBezTo>
                  <a:pt x="4526366" y="1471984"/>
                  <a:pt x="4255244" y="1317651"/>
                  <a:pt x="4103116" y="1066687"/>
                </a:cubicBezTo>
                <a:cubicBezTo>
                  <a:pt x="3713945" y="424410"/>
                  <a:pt x="3006974" y="-3817"/>
                  <a:pt x="2200221" y="26"/>
                </a:cubicBezTo>
                <a:cubicBezTo>
                  <a:pt x="981747" y="5884"/>
                  <a:pt x="0" y="992670"/>
                  <a:pt x="0" y="2211145"/>
                </a:cubicBezTo>
                <a:cubicBezTo>
                  <a:pt x="0" y="3432265"/>
                  <a:pt x="989936" y="4422201"/>
                  <a:pt x="2211119" y="4422201"/>
                </a:cubicBezTo>
                <a:cubicBezTo>
                  <a:pt x="3015604" y="4422201"/>
                  <a:pt x="3719677" y="3992462"/>
                  <a:pt x="4106517" y="3350059"/>
                </a:cubicBezTo>
                <a:cubicBezTo>
                  <a:pt x="4256756" y="3100607"/>
                  <a:pt x="4528760" y="2950242"/>
                  <a:pt x="4819914" y="2950242"/>
                </a:cubicBezTo>
                <a:lnTo>
                  <a:pt x="4859473" y="2950242"/>
                </a:lnTo>
                <a:cubicBezTo>
                  <a:pt x="5090532" y="2950242"/>
                  <a:pt x="5309496" y="3044984"/>
                  <a:pt x="5465152" y="3208766"/>
                </a:cubicBezTo>
                <a:lnTo>
                  <a:pt x="5465152" y="1211760"/>
                </a:ln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10485438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9_Form och text_violet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8" name="Platshållare för bildnummer 7">
            <a:extLst>
              <a:ext uri="{FF2B5EF4-FFF2-40B4-BE49-F238E27FC236}">
                <a16:creationId xmlns:a16="http://schemas.microsoft.com/office/drawing/2014/main" id="{4ABAB682-468C-C13A-D998-4F41B1ECBCFC}"/>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4" name="Rubrik 2">
            <a:extLst>
              <a:ext uri="{FF2B5EF4-FFF2-40B4-BE49-F238E27FC236}">
                <a16:creationId xmlns:a16="http://schemas.microsoft.com/office/drawing/2014/main" id="{BF69D98A-BE26-4BC4-B387-3F29AA29D62F}"/>
              </a:ext>
            </a:extLst>
          </p:cNvPr>
          <p:cNvSpPr>
            <a:spLocks noGrp="1"/>
          </p:cNvSpPr>
          <p:nvPr>
            <p:ph type="title" hasCustomPrompt="1"/>
          </p:nvPr>
        </p:nvSpPr>
        <p:spPr>
          <a:xfrm>
            <a:off x="6408603" y="1011998"/>
            <a:ext cx="4727397" cy="1232398"/>
          </a:xfrm>
        </p:spPr>
        <p:txBody>
          <a:bodyPr>
            <a:normAutofit/>
          </a:bodyPr>
          <a:lstStyle>
            <a:lvl1pPr>
              <a:defRPr sz="4000">
                <a:solidFill>
                  <a:schemeClr val="bg1"/>
                </a:solidFill>
              </a:defRPr>
            </a:lvl1pPr>
          </a:lstStyle>
          <a:p>
            <a:r>
              <a:rPr lang="sv-SE"/>
              <a:t>Rubrik</a:t>
            </a:r>
          </a:p>
        </p:txBody>
      </p:sp>
      <p:sp>
        <p:nvSpPr>
          <p:cNvPr id="7" name="Content Placeholder 2">
            <a:extLst>
              <a:ext uri="{FF2B5EF4-FFF2-40B4-BE49-F238E27FC236}">
                <a16:creationId xmlns:a16="http://schemas.microsoft.com/office/drawing/2014/main" id="{55901FCA-EDE2-29DB-E71F-ED2D478EE67F}"/>
              </a:ext>
            </a:extLst>
          </p:cNvPr>
          <p:cNvSpPr>
            <a:spLocks noGrp="1"/>
          </p:cNvSpPr>
          <p:nvPr>
            <p:ph sz="half" idx="11"/>
          </p:nvPr>
        </p:nvSpPr>
        <p:spPr>
          <a:xfrm>
            <a:off x="640860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Bild 8">
            <a:extLst>
              <a:ext uri="{FF2B5EF4-FFF2-40B4-BE49-F238E27FC236}">
                <a16:creationId xmlns:a16="http://schemas.microsoft.com/office/drawing/2014/main" id="{BF0E4774-9EF6-2EEF-B203-4D7A8FC2A930}"/>
              </a:ext>
            </a:extLst>
          </p:cNvPr>
          <p:cNvSpPr/>
          <p:nvPr userDrawn="1"/>
        </p:nvSpPr>
        <p:spPr>
          <a:xfrm rot="10800000">
            <a:off x="0" y="1225983"/>
            <a:ext cx="5465151" cy="4422200"/>
          </a:xfrm>
          <a:custGeom>
            <a:avLst/>
            <a:gdLst>
              <a:gd name="connsiteX0" fmla="*/ 5465089 w 5465151"/>
              <a:gd name="connsiteY0" fmla="*/ 1211760 h 4422200"/>
              <a:gd name="connsiteX1" fmla="*/ 4859473 w 5465151"/>
              <a:gd name="connsiteY1" fmla="*/ 1471984 h 4422200"/>
              <a:gd name="connsiteX2" fmla="*/ 4819788 w 5465151"/>
              <a:gd name="connsiteY2" fmla="*/ 1471984 h 4422200"/>
              <a:gd name="connsiteX3" fmla="*/ 4103116 w 5465151"/>
              <a:gd name="connsiteY3" fmla="*/ 1066687 h 4422200"/>
              <a:gd name="connsiteX4" fmla="*/ 2200221 w 5465151"/>
              <a:gd name="connsiteY4" fmla="*/ 26 h 4422200"/>
              <a:gd name="connsiteX5" fmla="*/ 0 w 5465151"/>
              <a:gd name="connsiteY5" fmla="*/ 2211145 h 4422200"/>
              <a:gd name="connsiteX6" fmla="*/ 2211119 w 5465151"/>
              <a:gd name="connsiteY6" fmla="*/ 4422201 h 4422200"/>
              <a:gd name="connsiteX7" fmla="*/ 4106517 w 5465151"/>
              <a:gd name="connsiteY7" fmla="*/ 3350059 h 4422200"/>
              <a:gd name="connsiteX8" fmla="*/ 4819914 w 5465151"/>
              <a:gd name="connsiteY8" fmla="*/ 2950242 h 4422200"/>
              <a:gd name="connsiteX9" fmla="*/ 4859473 w 5465151"/>
              <a:gd name="connsiteY9" fmla="*/ 2950242 h 4422200"/>
              <a:gd name="connsiteX10" fmla="*/ 5465152 w 5465151"/>
              <a:gd name="connsiteY10" fmla="*/ 3208766 h 4422200"/>
              <a:gd name="connsiteX11" fmla="*/ 5465152 w 5465151"/>
              <a:gd name="connsiteY11" fmla="*/ 1211760 h 44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5151" h="4422200">
                <a:moveTo>
                  <a:pt x="5465089" y="1211760"/>
                </a:moveTo>
                <a:cubicBezTo>
                  <a:pt x="5308866" y="1375731"/>
                  <a:pt x="5091162" y="1471984"/>
                  <a:pt x="4859473" y="1471984"/>
                </a:cubicBezTo>
                <a:lnTo>
                  <a:pt x="4819788" y="1471984"/>
                </a:lnTo>
                <a:cubicBezTo>
                  <a:pt x="4526366" y="1471984"/>
                  <a:pt x="4255244" y="1317651"/>
                  <a:pt x="4103116" y="1066687"/>
                </a:cubicBezTo>
                <a:cubicBezTo>
                  <a:pt x="3713945" y="424410"/>
                  <a:pt x="3006974" y="-3817"/>
                  <a:pt x="2200221" y="26"/>
                </a:cubicBezTo>
                <a:cubicBezTo>
                  <a:pt x="981747" y="5884"/>
                  <a:pt x="0" y="992670"/>
                  <a:pt x="0" y="2211145"/>
                </a:cubicBezTo>
                <a:cubicBezTo>
                  <a:pt x="0" y="3432265"/>
                  <a:pt x="989936" y="4422201"/>
                  <a:pt x="2211119" y="4422201"/>
                </a:cubicBezTo>
                <a:cubicBezTo>
                  <a:pt x="3015604" y="4422201"/>
                  <a:pt x="3719677" y="3992462"/>
                  <a:pt x="4106517" y="3350059"/>
                </a:cubicBezTo>
                <a:cubicBezTo>
                  <a:pt x="4256756" y="3100607"/>
                  <a:pt x="4528760" y="2950242"/>
                  <a:pt x="4819914" y="2950242"/>
                </a:cubicBezTo>
                <a:lnTo>
                  <a:pt x="4859473" y="2950242"/>
                </a:lnTo>
                <a:cubicBezTo>
                  <a:pt x="5090532" y="2950242"/>
                  <a:pt x="5309496" y="3044984"/>
                  <a:pt x="5465152" y="3208766"/>
                </a:cubicBezTo>
                <a:lnTo>
                  <a:pt x="5465152" y="1211760"/>
                </a:ln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40379581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9_Form och text_ljusrosa">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D302FCD-62D7-440F-56A3-A60541E4AF0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4" name="Platshållare för bildnummer 3">
            <a:extLst>
              <a:ext uri="{FF2B5EF4-FFF2-40B4-BE49-F238E27FC236}">
                <a16:creationId xmlns:a16="http://schemas.microsoft.com/office/drawing/2014/main" id="{383D9F1E-62DF-6276-B2CB-2B369E77DE79}"/>
              </a:ext>
            </a:extLst>
          </p:cNvPr>
          <p:cNvSpPr>
            <a:spLocks noGrp="1"/>
          </p:cNvSpPr>
          <p:nvPr>
            <p:ph type="sldNum" sz="quarter" idx="12"/>
          </p:nvPr>
        </p:nvSpPr>
        <p:spPr/>
        <p:txBody>
          <a:bodyPr/>
          <a:lstStyle>
            <a:lvl1pPr>
              <a:defRPr>
                <a:solidFill>
                  <a:schemeClr val="bg1"/>
                </a:solidFill>
              </a:defRPr>
            </a:lvl1pPr>
          </a:lstStyle>
          <a:p>
            <a:fld id="{59C8BBA8-F427-4879-AAC6-186856FF899B}" type="slidenum">
              <a:rPr lang="sv-SE" smtClean="0"/>
              <a:pPr/>
              <a:t>‹#›</a:t>
            </a:fld>
            <a:endParaRPr lang="sv-SE"/>
          </a:p>
        </p:txBody>
      </p:sp>
      <p:sp>
        <p:nvSpPr>
          <p:cNvPr id="7" name="Rubrik 2">
            <a:extLst>
              <a:ext uri="{FF2B5EF4-FFF2-40B4-BE49-F238E27FC236}">
                <a16:creationId xmlns:a16="http://schemas.microsoft.com/office/drawing/2014/main" id="{9B03F1CF-9A6A-EF57-B598-25F1F9C0EBEA}"/>
              </a:ext>
            </a:extLst>
          </p:cNvPr>
          <p:cNvSpPr>
            <a:spLocks noGrp="1"/>
          </p:cNvSpPr>
          <p:nvPr>
            <p:ph type="title" hasCustomPrompt="1"/>
          </p:nvPr>
        </p:nvSpPr>
        <p:spPr>
          <a:xfrm>
            <a:off x="6408603" y="1011998"/>
            <a:ext cx="4727397" cy="1232398"/>
          </a:xfrm>
        </p:spPr>
        <p:txBody>
          <a:bodyPr>
            <a:normAutofit/>
          </a:bodyPr>
          <a:lstStyle>
            <a:lvl1pPr>
              <a:defRPr sz="4000">
                <a:solidFill>
                  <a:schemeClr val="bg1"/>
                </a:solidFill>
              </a:defRPr>
            </a:lvl1pPr>
          </a:lstStyle>
          <a:p>
            <a:r>
              <a:rPr lang="sv-SE"/>
              <a:t>Rubrik</a:t>
            </a:r>
          </a:p>
        </p:txBody>
      </p:sp>
      <p:sp>
        <p:nvSpPr>
          <p:cNvPr id="8" name="Content Placeholder 2">
            <a:extLst>
              <a:ext uri="{FF2B5EF4-FFF2-40B4-BE49-F238E27FC236}">
                <a16:creationId xmlns:a16="http://schemas.microsoft.com/office/drawing/2014/main" id="{47731785-98BC-8DBD-F90F-223C99142015}"/>
              </a:ext>
            </a:extLst>
          </p:cNvPr>
          <p:cNvSpPr>
            <a:spLocks noGrp="1"/>
          </p:cNvSpPr>
          <p:nvPr>
            <p:ph sz="half" idx="11"/>
          </p:nvPr>
        </p:nvSpPr>
        <p:spPr>
          <a:xfrm>
            <a:off x="6408603" y="2504746"/>
            <a:ext cx="4727397" cy="31256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Bild 8">
            <a:extLst>
              <a:ext uri="{FF2B5EF4-FFF2-40B4-BE49-F238E27FC236}">
                <a16:creationId xmlns:a16="http://schemas.microsoft.com/office/drawing/2014/main" id="{EA29FF0B-E61F-249F-4862-FA666BE557C0}"/>
              </a:ext>
            </a:extLst>
          </p:cNvPr>
          <p:cNvSpPr/>
          <p:nvPr userDrawn="1"/>
        </p:nvSpPr>
        <p:spPr>
          <a:xfrm rot="10800000">
            <a:off x="0" y="1225983"/>
            <a:ext cx="5465151" cy="4422200"/>
          </a:xfrm>
          <a:custGeom>
            <a:avLst/>
            <a:gdLst>
              <a:gd name="connsiteX0" fmla="*/ 5465089 w 5465151"/>
              <a:gd name="connsiteY0" fmla="*/ 1211760 h 4422200"/>
              <a:gd name="connsiteX1" fmla="*/ 4859473 w 5465151"/>
              <a:gd name="connsiteY1" fmla="*/ 1471984 h 4422200"/>
              <a:gd name="connsiteX2" fmla="*/ 4819788 w 5465151"/>
              <a:gd name="connsiteY2" fmla="*/ 1471984 h 4422200"/>
              <a:gd name="connsiteX3" fmla="*/ 4103116 w 5465151"/>
              <a:gd name="connsiteY3" fmla="*/ 1066687 h 4422200"/>
              <a:gd name="connsiteX4" fmla="*/ 2200221 w 5465151"/>
              <a:gd name="connsiteY4" fmla="*/ 26 h 4422200"/>
              <a:gd name="connsiteX5" fmla="*/ 0 w 5465151"/>
              <a:gd name="connsiteY5" fmla="*/ 2211145 h 4422200"/>
              <a:gd name="connsiteX6" fmla="*/ 2211119 w 5465151"/>
              <a:gd name="connsiteY6" fmla="*/ 4422201 h 4422200"/>
              <a:gd name="connsiteX7" fmla="*/ 4106517 w 5465151"/>
              <a:gd name="connsiteY7" fmla="*/ 3350059 h 4422200"/>
              <a:gd name="connsiteX8" fmla="*/ 4819914 w 5465151"/>
              <a:gd name="connsiteY8" fmla="*/ 2950242 h 4422200"/>
              <a:gd name="connsiteX9" fmla="*/ 4859473 w 5465151"/>
              <a:gd name="connsiteY9" fmla="*/ 2950242 h 4422200"/>
              <a:gd name="connsiteX10" fmla="*/ 5465152 w 5465151"/>
              <a:gd name="connsiteY10" fmla="*/ 3208766 h 4422200"/>
              <a:gd name="connsiteX11" fmla="*/ 5465152 w 5465151"/>
              <a:gd name="connsiteY11" fmla="*/ 1211760 h 44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5151" h="4422200">
                <a:moveTo>
                  <a:pt x="5465089" y="1211760"/>
                </a:moveTo>
                <a:cubicBezTo>
                  <a:pt x="5308866" y="1375731"/>
                  <a:pt x="5091162" y="1471984"/>
                  <a:pt x="4859473" y="1471984"/>
                </a:cubicBezTo>
                <a:lnTo>
                  <a:pt x="4819788" y="1471984"/>
                </a:lnTo>
                <a:cubicBezTo>
                  <a:pt x="4526366" y="1471984"/>
                  <a:pt x="4255244" y="1317651"/>
                  <a:pt x="4103116" y="1066687"/>
                </a:cubicBezTo>
                <a:cubicBezTo>
                  <a:pt x="3713945" y="424410"/>
                  <a:pt x="3006974" y="-3817"/>
                  <a:pt x="2200221" y="26"/>
                </a:cubicBezTo>
                <a:cubicBezTo>
                  <a:pt x="981747" y="5884"/>
                  <a:pt x="0" y="992670"/>
                  <a:pt x="0" y="2211145"/>
                </a:cubicBezTo>
                <a:cubicBezTo>
                  <a:pt x="0" y="3432265"/>
                  <a:pt x="989936" y="4422201"/>
                  <a:pt x="2211119" y="4422201"/>
                </a:cubicBezTo>
                <a:cubicBezTo>
                  <a:pt x="3015604" y="4422201"/>
                  <a:pt x="3719677" y="3992462"/>
                  <a:pt x="4106517" y="3350059"/>
                </a:cubicBezTo>
                <a:cubicBezTo>
                  <a:pt x="4256756" y="3100607"/>
                  <a:pt x="4528760" y="2950242"/>
                  <a:pt x="4819914" y="2950242"/>
                </a:cubicBezTo>
                <a:lnTo>
                  <a:pt x="4859473" y="2950242"/>
                </a:lnTo>
                <a:cubicBezTo>
                  <a:pt x="5090532" y="2950242"/>
                  <a:pt x="5309496" y="3044984"/>
                  <a:pt x="5465152" y="3208766"/>
                </a:cubicBezTo>
                <a:lnTo>
                  <a:pt x="5465152" y="1211760"/>
                </a:ln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22040384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tandard_Text och 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mall för rubrik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17075" y="1736728"/>
            <a:ext cx="5678925"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6540137" y="1738313"/>
            <a:ext cx="5234788" cy="4175125"/>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5" name="Platshållare för bildnummer 4">
            <a:extLst>
              <a:ext uri="{FF2B5EF4-FFF2-40B4-BE49-F238E27FC236}">
                <a16:creationId xmlns:a16="http://schemas.microsoft.com/office/drawing/2014/main" id="{BA6D7259-E2CF-428A-9B5C-9AEE444FC13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1594675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Text och bild_mörk">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97B73348-747C-D97A-4E26-75BD2FF8CD9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Picture Placeholder 2">
            <a:extLst>
              <a:ext uri="{FF2B5EF4-FFF2-40B4-BE49-F238E27FC236}">
                <a16:creationId xmlns:a16="http://schemas.microsoft.com/office/drawing/2014/main" id="{B1A44E6B-4DAF-9C74-1BA6-F970A9DCB33C}"/>
              </a:ext>
            </a:extLst>
          </p:cNvPr>
          <p:cNvSpPr>
            <a:spLocks noGrp="1"/>
          </p:cNvSpPr>
          <p:nvPr>
            <p:ph type="pic" idx="1" hasCustomPrompt="1"/>
          </p:nvPr>
        </p:nvSpPr>
        <p:spPr>
          <a:xfrm>
            <a:off x="6096000" y="0"/>
            <a:ext cx="6096000" cy="68580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Rubrik 1">
            <a:extLst>
              <a:ext uri="{FF2B5EF4-FFF2-40B4-BE49-F238E27FC236}">
                <a16:creationId xmlns:a16="http://schemas.microsoft.com/office/drawing/2014/main" id="{34B30ED1-CD6E-C908-4A2A-D0EFD6F13860}"/>
              </a:ext>
            </a:extLst>
          </p:cNvPr>
          <p:cNvSpPr>
            <a:spLocks noGrp="1"/>
          </p:cNvSpPr>
          <p:nvPr>
            <p:ph type="title"/>
          </p:nvPr>
        </p:nvSpPr>
        <p:spPr>
          <a:xfrm>
            <a:off x="974893" y="964119"/>
            <a:ext cx="4146216" cy="1291401"/>
          </a:xfrm>
        </p:spPr>
        <p:txBody>
          <a:bodyPr/>
          <a:lstStyle>
            <a:lvl1pPr>
              <a:defRPr>
                <a:solidFill>
                  <a:schemeClr val="bg1"/>
                </a:solidFill>
              </a:defRPr>
            </a:lvl1pPr>
          </a:lstStyle>
          <a:p>
            <a:r>
              <a:rPr lang="sv-SE"/>
              <a:t>Klicka här för att ändra mall för rubrikformat</a:t>
            </a:r>
          </a:p>
        </p:txBody>
      </p:sp>
      <p:sp>
        <p:nvSpPr>
          <p:cNvPr id="5" name="Content Placeholder 2">
            <a:extLst>
              <a:ext uri="{FF2B5EF4-FFF2-40B4-BE49-F238E27FC236}">
                <a16:creationId xmlns:a16="http://schemas.microsoft.com/office/drawing/2014/main" id="{31AFBC46-F925-1F9C-7B60-C71659EA9B9E}"/>
              </a:ext>
            </a:extLst>
          </p:cNvPr>
          <p:cNvSpPr>
            <a:spLocks noGrp="1"/>
          </p:cNvSpPr>
          <p:nvPr>
            <p:ph sz="half" idx="10"/>
          </p:nvPr>
        </p:nvSpPr>
        <p:spPr>
          <a:xfrm>
            <a:off x="974892" y="2525486"/>
            <a:ext cx="4146216" cy="366712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6" name="textruta 5">
            <a:extLst>
              <a:ext uri="{FF2B5EF4-FFF2-40B4-BE49-F238E27FC236}">
                <a16:creationId xmlns:a16="http://schemas.microsoft.com/office/drawing/2014/main" id="{A3D60723-0D50-8610-0A75-D12EDFBB5C70}"/>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spTree>
    <p:extLst>
      <p:ext uri="{BB962C8B-B14F-4D97-AF65-F5344CB8AC3E}">
        <p14:creationId xmlns:p14="http://schemas.microsoft.com/office/powerpoint/2010/main" val="12483082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Text och bild_ljus">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97B73348-747C-D97A-4E26-75BD2FF8CD99}"/>
              </a:ext>
            </a:extLst>
          </p:cNvPr>
          <p:cNvSpPr/>
          <p:nvPr userDrawn="1"/>
        </p:nvSpPr>
        <p:spPr>
          <a:xfrm>
            <a:off x="0" y="0"/>
            <a:ext cx="12192000" cy="6858000"/>
          </a:xfrm>
          <a:prstGeom prst="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Picture Placeholder 2">
            <a:extLst>
              <a:ext uri="{FF2B5EF4-FFF2-40B4-BE49-F238E27FC236}">
                <a16:creationId xmlns:a16="http://schemas.microsoft.com/office/drawing/2014/main" id="{B1A44E6B-4DAF-9C74-1BA6-F970A9DCB33C}"/>
              </a:ext>
            </a:extLst>
          </p:cNvPr>
          <p:cNvSpPr>
            <a:spLocks noGrp="1"/>
          </p:cNvSpPr>
          <p:nvPr>
            <p:ph type="pic" idx="1" hasCustomPrompt="1"/>
          </p:nvPr>
        </p:nvSpPr>
        <p:spPr>
          <a:xfrm>
            <a:off x="6096000" y="0"/>
            <a:ext cx="6096000" cy="68580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Rubrik 1">
            <a:extLst>
              <a:ext uri="{FF2B5EF4-FFF2-40B4-BE49-F238E27FC236}">
                <a16:creationId xmlns:a16="http://schemas.microsoft.com/office/drawing/2014/main" id="{34B30ED1-CD6E-C908-4A2A-D0EFD6F13860}"/>
              </a:ext>
            </a:extLst>
          </p:cNvPr>
          <p:cNvSpPr>
            <a:spLocks noGrp="1"/>
          </p:cNvSpPr>
          <p:nvPr>
            <p:ph type="title"/>
          </p:nvPr>
        </p:nvSpPr>
        <p:spPr>
          <a:xfrm>
            <a:off x="974893" y="964119"/>
            <a:ext cx="4146216" cy="1291401"/>
          </a:xfrm>
        </p:spPr>
        <p:txBody>
          <a:bodyPr/>
          <a:lstStyle>
            <a:lvl1pPr>
              <a:defRPr>
                <a:solidFill>
                  <a:schemeClr val="bg1"/>
                </a:solidFill>
              </a:defRPr>
            </a:lvl1pPr>
          </a:lstStyle>
          <a:p>
            <a:r>
              <a:rPr lang="sv-SE"/>
              <a:t>Klicka här för att ändra mall för rubrikformat</a:t>
            </a:r>
          </a:p>
        </p:txBody>
      </p:sp>
      <p:sp>
        <p:nvSpPr>
          <p:cNvPr id="5" name="Content Placeholder 2">
            <a:extLst>
              <a:ext uri="{FF2B5EF4-FFF2-40B4-BE49-F238E27FC236}">
                <a16:creationId xmlns:a16="http://schemas.microsoft.com/office/drawing/2014/main" id="{31AFBC46-F925-1F9C-7B60-C71659EA9B9E}"/>
              </a:ext>
            </a:extLst>
          </p:cNvPr>
          <p:cNvSpPr>
            <a:spLocks noGrp="1"/>
          </p:cNvSpPr>
          <p:nvPr>
            <p:ph sz="half" idx="10"/>
          </p:nvPr>
        </p:nvSpPr>
        <p:spPr>
          <a:xfrm>
            <a:off x="974892" y="2525486"/>
            <a:ext cx="4146216" cy="366712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6" name="textruta 5">
            <a:extLst>
              <a:ext uri="{FF2B5EF4-FFF2-40B4-BE49-F238E27FC236}">
                <a16:creationId xmlns:a16="http://schemas.microsoft.com/office/drawing/2014/main" id="{7B5B6913-8364-CFEE-3BC6-BC02C07AEE72}"/>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bg1"/>
                </a:solidFill>
              </a:rPr>
              <a:t>Inköps- och upphandlingsförvaltningen</a:t>
            </a:r>
          </a:p>
        </p:txBody>
      </p:sp>
    </p:spTree>
    <p:extLst>
      <p:ext uri="{BB962C8B-B14F-4D97-AF65-F5344CB8AC3E}">
        <p14:creationId xmlns:p14="http://schemas.microsoft.com/office/powerpoint/2010/main" val="19056799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ext och bild_vit">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B1A44E6B-4DAF-9C74-1BA6-F970A9DCB33C}"/>
              </a:ext>
            </a:extLst>
          </p:cNvPr>
          <p:cNvSpPr>
            <a:spLocks noGrp="1"/>
          </p:cNvSpPr>
          <p:nvPr>
            <p:ph type="pic" idx="1" hasCustomPrompt="1"/>
          </p:nvPr>
        </p:nvSpPr>
        <p:spPr>
          <a:xfrm>
            <a:off x="6096000" y="0"/>
            <a:ext cx="6096000" cy="68580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5" name="Content Placeholder 2">
            <a:extLst>
              <a:ext uri="{FF2B5EF4-FFF2-40B4-BE49-F238E27FC236}">
                <a16:creationId xmlns:a16="http://schemas.microsoft.com/office/drawing/2014/main" id="{31AFBC46-F925-1F9C-7B60-C71659EA9B9E}"/>
              </a:ext>
            </a:extLst>
          </p:cNvPr>
          <p:cNvSpPr>
            <a:spLocks noGrp="1"/>
          </p:cNvSpPr>
          <p:nvPr>
            <p:ph sz="half" idx="10"/>
          </p:nvPr>
        </p:nvSpPr>
        <p:spPr>
          <a:xfrm>
            <a:off x="974892" y="2525486"/>
            <a:ext cx="4146216" cy="366712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9" name="Rubrik 1">
            <a:extLst>
              <a:ext uri="{FF2B5EF4-FFF2-40B4-BE49-F238E27FC236}">
                <a16:creationId xmlns:a16="http://schemas.microsoft.com/office/drawing/2014/main" id="{AAA49CE4-E54A-EAEB-4FEE-5785AD9C4EAE}"/>
              </a:ext>
            </a:extLst>
          </p:cNvPr>
          <p:cNvSpPr>
            <a:spLocks noGrp="1"/>
          </p:cNvSpPr>
          <p:nvPr>
            <p:ph type="title"/>
          </p:nvPr>
        </p:nvSpPr>
        <p:spPr>
          <a:xfrm>
            <a:off x="974893" y="964119"/>
            <a:ext cx="4146216" cy="1291401"/>
          </a:xfrm>
        </p:spPr>
        <p:txBody>
          <a:bodyPr/>
          <a:lstStyle>
            <a:lvl1pPr>
              <a:defRPr>
                <a:solidFill>
                  <a:schemeClr val="tx1"/>
                </a:solidFill>
              </a:defRPr>
            </a:lvl1pPr>
          </a:lstStyle>
          <a:p>
            <a:r>
              <a:rPr lang="sv-SE"/>
              <a:t>Klicka här för att ändra mall för rubrikformat</a:t>
            </a:r>
          </a:p>
        </p:txBody>
      </p:sp>
      <p:sp>
        <p:nvSpPr>
          <p:cNvPr id="10" name="textruta 9">
            <a:extLst>
              <a:ext uri="{FF2B5EF4-FFF2-40B4-BE49-F238E27FC236}">
                <a16:creationId xmlns:a16="http://schemas.microsoft.com/office/drawing/2014/main" id="{AF8FD314-9139-571E-EF13-71EE73B494D1}"/>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spTree>
    <p:extLst>
      <p:ext uri="{BB962C8B-B14F-4D97-AF65-F5344CB8AC3E}">
        <p14:creationId xmlns:p14="http://schemas.microsoft.com/office/powerpoint/2010/main" val="17145094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vsnittsrubrik">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528841" y="2404809"/>
            <a:ext cx="9134323" cy="1349829"/>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sp>
        <p:nvSpPr>
          <p:cNvPr id="15" name="textruta 14">
            <a:extLst>
              <a:ext uri="{FF2B5EF4-FFF2-40B4-BE49-F238E27FC236}">
                <a16:creationId xmlns:a16="http://schemas.microsoft.com/office/drawing/2014/main" id="{F8CA43A6-7E16-4DBD-AD75-D68133193CDD}"/>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solidFill>
                  <a:schemeClr val="tx1"/>
                </a:solidFill>
              </a:rPr>
              <a:t>Hållbar stad – öppen för världen</a:t>
            </a:r>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150302456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Text och två bilder_vit">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B1A44E6B-4DAF-9C74-1BA6-F970A9DCB33C}"/>
              </a:ext>
            </a:extLst>
          </p:cNvPr>
          <p:cNvSpPr>
            <a:spLocks noGrp="1"/>
          </p:cNvSpPr>
          <p:nvPr>
            <p:ph type="pic" idx="1" hasCustomPrompt="1"/>
          </p:nvPr>
        </p:nvSpPr>
        <p:spPr>
          <a:xfrm>
            <a:off x="6515100" y="0"/>
            <a:ext cx="5676900" cy="33528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5" name="Content Placeholder 2">
            <a:extLst>
              <a:ext uri="{FF2B5EF4-FFF2-40B4-BE49-F238E27FC236}">
                <a16:creationId xmlns:a16="http://schemas.microsoft.com/office/drawing/2014/main" id="{31AFBC46-F925-1F9C-7B60-C71659EA9B9E}"/>
              </a:ext>
            </a:extLst>
          </p:cNvPr>
          <p:cNvSpPr>
            <a:spLocks noGrp="1"/>
          </p:cNvSpPr>
          <p:nvPr>
            <p:ph sz="half" idx="10"/>
          </p:nvPr>
        </p:nvSpPr>
        <p:spPr>
          <a:xfrm>
            <a:off x="974892" y="2525486"/>
            <a:ext cx="4146216" cy="366712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9" name="Rubrik 1">
            <a:extLst>
              <a:ext uri="{FF2B5EF4-FFF2-40B4-BE49-F238E27FC236}">
                <a16:creationId xmlns:a16="http://schemas.microsoft.com/office/drawing/2014/main" id="{AAA49CE4-E54A-EAEB-4FEE-5785AD9C4EAE}"/>
              </a:ext>
            </a:extLst>
          </p:cNvPr>
          <p:cNvSpPr>
            <a:spLocks noGrp="1"/>
          </p:cNvSpPr>
          <p:nvPr>
            <p:ph type="title"/>
          </p:nvPr>
        </p:nvSpPr>
        <p:spPr>
          <a:xfrm>
            <a:off x="974893" y="964119"/>
            <a:ext cx="4146216" cy="1291401"/>
          </a:xfrm>
        </p:spPr>
        <p:txBody>
          <a:bodyPr/>
          <a:lstStyle>
            <a:lvl1pPr>
              <a:defRPr>
                <a:solidFill>
                  <a:schemeClr val="tx1"/>
                </a:solidFill>
              </a:defRPr>
            </a:lvl1pPr>
          </a:lstStyle>
          <a:p>
            <a:r>
              <a:rPr lang="sv-SE"/>
              <a:t>Klicka här för att ändra mall för rubrikformat</a:t>
            </a:r>
          </a:p>
        </p:txBody>
      </p:sp>
      <p:sp>
        <p:nvSpPr>
          <p:cNvPr id="10" name="textruta 9">
            <a:extLst>
              <a:ext uri="{FF2B5EF4-FFF2-40B4-BE49-F238E27FC236}">
                <a16:creationId xmlns:a16="http://schemas.microsoft.com/office/drawing/2014/main" id="{AF8FD314-9139-571E-EF13-71EE73B494D1}"/>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sp>
        <p:nvSpPr>
          <p:cNvPr id="3" name="Picture Placeholder 2">
            <a:extLst>
              <a:ext uri="{FF2B5EF4-FFF2-40B4-BE49-F238E27FC236}">
                <a16:creationId xmlns:a16="http://schemas.microsoft.com/office/drawing/2014/main" id="{14AD97FB-AA68-A1DB-A69D-C4D8853B4EFE}"/>
              </a:ext>
            </a:extLst>
          </p:cNvPr>
          <p:cNvSpPr>
            <a:spLocks noGrp="1"/>
          </p:cNvSpPr>
          <p:nvPr>
            <p:ph type="pic" idx="11" hasCustomPrompt="1"/>
          </p:nvPr>
        </p:nvSpPr>
        <p:spPr>
          <a:xfrm>
            <a:off x="6515100" y="3505200"/>
            <a:ext cx="5676900" cy="33528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116358529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Text och bild_mörk">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97B73348-747C-D97A-4E26-75BD2FF8CD99}"/>
              </a:ext>
            </a:extLst>
          </p:cNvPr>
          <p:cNvSpPr/>
          <p:nvPr userDrawn="1"/>
        </p:nvSpPr>
        <p:spPr>
          <a:xfrm>
            <a:off x="0" y="0"/>
            <a:ext cx="12192000" cy="685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Picture Placeholder 2">
            <a:extLst>
              <a:ext uri="{FF2B5EF4-FFF2-40B4-BE49-F238E27FC236}">
                <a16:creationId xmlns:a16="http://schemas.microsoft.com/office/drawing/2014/main" id="{B1A44E6B-4DAF-9C74-1BA6-F970A9DCB33C}"/>
              </a:ext>
            </a:extLst>
          </p:cNvPr>
          <p:cNvSpPr>
            <a:spLocks noGrp="1"/>
          </p:cNvSpPr>
          <p:nvPr>
            <p:ph type="pic" idx="1" hasCustomPrompt="1"/>
          </p:nvPr>
        </p:nvSpPr>
        <p:spPr>
          <a:xfrm>
            <a:off x="0" y="0"/>
            <a:ext cx="6096000" cy="68580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Rubrik 1">
            <a:extLst>
              <a:ext uri="{FF2B5EF4-FFF2-40B4-BE49-F238E27FC236}">
                <a16:creationId xmlns:a16="http://schemas.microsoft.com/office/drawing/2014/main" id="{34B30ED1-CD6E-C908-4A2A-D0EFD6F13860}"/>
              </a:ext>
            </a:extLst>
          </p:cNvPr>
          <p:cNvSpPr>
            <a:spLocks noGrp="1"/>
          </p:cNvSpPr>
          <p:nvPr>
            <p:ph type="title"/>
          </p:nvPr>
        </p:nvSpPr>
        <p:spPr>
          <a:xfrm>
            <a:off x="7105727" y="1051205"/>
            <a:ext cx="4146216" cy="1291401"/>
          </a:xfrm>
        </p:spPr>
        <p:txBody>
          <a:bodyPr/>
          <a:lstStyle>
            <a:lvl1pPr>
              <a:defRPr>
                <a:solidFill>
                  <a:schemeClr val="bg1"/>
                </a:solidFill>
              </a:defRPr>
            </a:lvl1pPr>
          </a:lstStyle>
          <a:p>
            <a:r>
              <a:rPr lang="sv-SE"/>
              <a:t>Klicka här för att ändra mall för rubrikformat</a:t>
            </a:r>
          </a:p>
        </p:txBody>
      </p:sp>
      <p:sp>
        <p:nvSpPr>
          <p:cNvPr id="5" name="Content Placeholder 2">
            <a:extLst>
              <a:ext uri="{FF2B5EF4-FFF2-40B4-BE49-F238E27FC236}">
                <a16:creationId xmlns:a16="http://schemas.microsoft.com/office/drawing/2014/main" id="{31AFBC46-F925-1F9C-7B60-C71659EA9B9E}"/>
              </a:ext>
            </a:extLst>
          </p:cNvPr>
          <p:cNvSpPr>
            <a:spLocks noGrp="1"/>
          </p:cNvSpPr>
          <p:nvPr>
            <p:ph sz="half" idx="10"/>
          </p:nvPr>
        </p:nvSpPr>
        <p:spPr>
          <a:xfrm>
            <a:off x="7105726" y="2612572"/>
            <a:ext cx="4146216" cy="366712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bildnummer 6">
            <a:extLst>
              <a:ext uri="{FF2B5EF4-FFF2-40B4-BE49-F238E27FC236}">
                <a16:creationId xmlns:a16="http://schemas.microsoft.com/office/drawing/2014/main" id="{C92D4F12-FD17-44B8-F390-7755F3EBE1D8}"/>
              </a:ext>
            </a:extLst>
          </p:cNvPr>
          <p:cNvSpPr>
            <a:spLocks noGrp="1"/>
          </p:cNvSpPr>
          <p:nvPr>
            <p:ph type="sldNum" sz="quarter" idx="11"/>
          </p:nvPr>
        </p:nvSpPr>
        <p:spPr/>
        <p:txBody>
          <a:bodyPr/>
          <a:lstStyle>
            <a:lvl1pPr>
              <a:defRPr>
                <a:solidFill>
                  <a:schemeClr val="bg1"/>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8824064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Text och bild_ljus">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97B73348-747C-D97A-4E26-75BD2FF8CD99}"/>
              </a:ext>
            </a:extLst>
          </p:cNvPr>
          <p:cNvSpPr/>
          <p:nvPr userDrawn="1"/>
        </p:nvSpPr>
        <p:spPr>
          <a:xfrm>
            <a:off x="0" y="0"/>
            <a:ext cx="12192000" cy="6858000"/>
          </a:xfrm>
          <a:prstGeom prst="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Picture Placeholder 2">
            <a:extLst>
              <a:ext uri="{FF2B5EF4-FFF2-40B4-BE49-F238E27FC236}">
                <a16:creationId xmlns:a16="http://schemas.microsoft.com/office/drawing/2014/main" id="{B1A44E6B-4DAF-9C74-1BA6-F970A9DCB33C}"/>
              </a:ext>
            </a:extLst>
          </p:cNvPr>
          <p:cNvSpPr>
            <a:spLocks noGrp="1"/>
          </p:cNvSpPr>
          <p:nvPr>
            <p:ph type="pic" idx="1" hasCustomPrompt="1"/>
          </p:nvPr>
        </p:nvSpPr>
        <p:spPr>
          <a:xfrm>
            <a:off x="0" y="0"/>
            <a:ext cx="6096000" cy="68580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Rubrik 1">
            <a:extLst>
              <a:ext uri="{FF2B5EF4-FFF2-40B4-BE49-F238E27FC236}">
                <a16:creationId xmlns:a16="http://schemas.microsoft.com/office/drawing/2014/main" id="{34B30ED1-CD6E-C908-4A2A-D0EFD6F13860}"/>
              </a:ext>
            </a:extLst>
          </p:cNvPr>
          <p:cNvSpPr>
            <a:spLocks noGrp="1"/>
          </p:cNvSpPr>
          <p:nvPr>
            <p:ph type="title"/>
          </p:nvPr>
        </p:nvSpPr>
        <p:spPr>
          <a:xfrm>
            <a:off x="7105727" y="1051205"/>
            <a:ext cx="4146216" cy="1291401"/>
          </a:xfrm>
        </p:spPr>
        <p:txBody>
          <a:bodyPr/>
          <a:lstStyle>
            <a:lvl1pPr>
              <a:defRPr>
                <a:solidFill>
                  <a:schemeClr val="bg1"/>
                </a:solidFill>
              </a:defRPr>
            </a:lvl1pPr>
          </a:lstStyle>
          <a:p>
            <a:r>
              <a:rPr lang="sv-SE"/>
              <a:t>Klicka här för att ändra mall för rubrikformat</a:t>
            </a:r>
          </a:p>
        </p:txBody>
      </p:sp>
      <p:sp>
        <p:nvSpPr>
          <p:cNvPr id="5" name="Content Placeholder 2">
            <a:extLst>
              <a:ext uri="{FF2B5EF4-FFF2-40B4-BE49-F238E27FC236}">
                <a16:creationId xmlns:a16="http://schemas.microsoft.com/office/drawing/2014/main" id="{31AFBC46-F925-1F9C-7B60-C71659EA9B9E}"/>
              </a:ext>
            </a:extLst>
          </p:cNvPr>
          <p:cNvSpPr>
            <a:spLocks noGrp="1"/>
          </p:cNvSpPr>
          <p:nvPr>
            <p:ph sz="half" idx="10"/>
          </p:nvPr>
        </p:nvSpPr>
        <p:spPr>
          <a:xfrm>
            <a:off x="7105726" y="2612572"/>
            <a:ext cx="4146216" cy="366712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bildnummer 6">
            <a:extLst>
              <a:ext uri="{FF2B5EF4-FFF2-40B4-BE49-F238E27FC236}">
                <a16:creationId xmlns:a16="http://schemas.microsoft.com/office/drawing/2014/main" id="{C92D4F12-FD17-44B8-F390-7755F3EBE1D8}"/>
              </a:ext>
            </a:extLst>
          </p:cNvPr>
          <p:cNvSpPr>
            <a:spLocks noGrp="1"/>
          </p:cNvSpPr>
          <p:nvPr>
            <p:ph type="sldNum" sz="quarter" idx="11"/>
          </p:nvPr>
        </p:nvSpPr>
        <p:spPr/>
        <p:txBody>
          <a:bodyPr/>
          <a:lstStyle>
            <a:lvl1pPr>
              <a:defRPr>
                <a:solidFill>
                  <a:schemeClr val="bg1"/>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16201955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_Text och bild_vit">
    <p:spTree>
      <p:nvGrpSpPr>
        <p:cNvPr id="1" name=""/>
        <p:cNvGrpSpPr/>
        <p:nvPr/>
      </p:nvGrpSpPr>
      <p:grpSpPr>
        <a:xfrm>
          <a:off x="0" y="0"/>
          <a:ext cx="0" cy="0"/>
          <a:chOff x="0" y="0"/>
          <a:chExt cx="0" cy="0"/>
        </a:xfrm>
      </p:grpSpPr>
      <p:sp>
        <p:nvSpPr>
          <p:cNvPr id="4" name="Rubrik 1">
            <a:extLst>
              <a:ext uri="{FF2B5EF4-FFF2-40B4-BE49-F238E27FC236}">
                <a16:creationId xmlns:a16="http://schemas.microsoft.com/office/drawing/2014/main" id="{34B30ED1-CD6E-C908-4A2A-D0EFD6F13860}"/>
              </a:ext>
            </a:extLst>
          </p:cNvPr>
          <p:cNvSpPr>
            <a:spLocks noGrp="1"/>
          </p:cNvSpPr>
          <p:nvPr>
            <p:ph type="title"/>
          </p:nvPr>
        </p:nvSpPr>
        <p:spPr>
          <a:xfrm>
            <a:off x="7105726" y="1460507"/>
            <a:ext cx="4146216" cy="1291401"/>
          </a:xfrm>
        </p:spPr>
        <p:txBody>
          <a:bodyPr/>
          <a:lstStyle>
            <a:lvl1pPr>
              <a:defRPr>
                <a:solidFill>
                  <a:schemeClr val="tx1"/>
                </a:solidFill>
              </a:defRPr>
            </a:lvl1pPr>
          </a:lstStyle>
          <a:p>
            <a:r>
              <a:rPr lang="sv-SE"/>
              <a:t>Klicka här för att ändra mall för rubrikformat</a:t>
            </a:r>
          </a:p>
        </p:txBody>
      </p:sp>
      <p:sp>
        <p:nvSpPr>
          <p:cNvPr id="5" name="Content Placeholder 2">
            <a:extLst>
              <a:ext uri="{FF2B5EF4-FFF2-40B4-BE49-F238E27FC236}">
                <a16:creationId xmlns:a16="http://schemas.microsoft.com/office/drawing/2014/main" id="{31AFBC46-F925-1F9C-7B60-C71659EA9B9E}"/>
              </a:ext>
            </a:extLst>
          </p:cNvPr>
          <p:cNvSpPr>
            <a:spLocks noGrp="1"/>
          </p:cNvSpPr>
          <p:nvPr>
            <p:ph sz="half" idx="10"/>
          </p:nvPr>
        </p:nvSpPr>
        <p:spPr>
          <a:xfrm>
            <a:off x="7105726" y="2960915"/>
            <a:ext cx="4146216" cy="29993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bildnummer 6">
            <a:extLst>
              <a:ext uri="{FF2B5EF4-FFF2-40B4-BE49-F238E27FC236}">
                <a16:creationId xmlns:a16="http://schemas.microsoft.com/office/drawing/2014/main" id="{C92D4F12-FD17-44B8-F390-7755F3EBE1D8}"/>
              </a:ext>
            </a:extLst>
          </p:cNvPr>
          <p:cNvSpPr>
            <a:spLocks noGrp="1"/>
          </p:cNvSpPr>
          <p:nvPr>
            <p:ph type="sldNum" sz="quarter" idx="11"/>
          </p:nvPr>
        </p:nvSpPr>
        <p:spPr/>
        <p:txBody>
          <a:bodyPr/>
          <a:lstStyle>
            <a:lvl1pPr>
              <a:defRPr>
                <a:solidFill>
                  <a:schemeClr val="tx1"/>
                </a:solidFill>
              </a:defRPr>
            </a:lvl1pPr>
          </a:lstStyle>
          <a:p>
            <a:fld id="{59C8BBA8-F427-4879-AAC6-186856FF899B}" type="slidenum">
              <a:rPr lang="sv-SE" smtClean="0"/>
              <a:pPr/>
              <a:t>‹#›</a:t>
            </a:fld>
            <a:endParaRPr lang="sv-SE"/>
          </a:p>
        </p:txBody>
      </p:sp>
      <p:pic>
        <p:nvPicPr>
          <p:cNvPr id="6" name="Bildobjekt 5" descr="Logo" title="Logo">
            <a:extLst>
              <a:ext uri="{FF2B5EF4-FFF2-40B4-BE49-F238E27FC236}">
                <a16:creationId xmlns:a16="http://schemas.microsoft.com/office/drawing/2014/main" id="{8997D605-4F8B-7905-2E40-E0762B53E0BB}"/>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8" name="Picture Placeholder 2">
            <a:extLst>
              <a:ext uri="{FF2B5EF4-FFF2-40B4-BE49-F238E27FC236}">
                <a16:creationId xmlns:a16="http://schemas.microsoft.com/office/drawing/2014/main" id="{A3C79854-7755-8404-57EE-9F8F09CAA4C1}"/>
              </a:ext>
            </a:extLst>
          </p:cNvPr>
          <p:cNvSpPr>
            <a:spLocks noGrp="1"/>
          </p:cNvSpPr>
          <p:nvPr>
            <p:ph type="pic" idx="1" hasCustomPrompt="1"/>
          </p:nvPr>
        </p:nvSpPr>
        <p:spPr>
          <a:xfrm>
            <a:off x="0" y="0"/>
            <a:ext cx="5676900" cy="68580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236178270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2_Text och två bilder_vit">
    <p:spTree>
      <p:nvGrpSpPr>
        <p:cNvPr id="1" name=""/>
        <p:cNvGrpSpPr/>
        <p:nvPr/>
      </p:nvGrpSpPr>
      <p:grpSpPr>
        <a:xfrm>
          <a:off x="0" y="0"/>
          <a:ext cx="0" cy="0"/>
          <a:chOff x="0" y="0"/>
          <a:chExt cx="0" cy="0"/>
        </a:xfrm>
      </p:grpSpPr>
      <p:sp>
        <p:nvSpPr>
          <p:cNvPr id="4" name="Rubrik 1">
            <a:extLst>
              <a:ext uri="{FF2B5EF4-FFF2-40B4-BE49-F238E27FC236}">
                <a16:creationId xmlns:a16="http://schemas.microsoft.com/office/drawing/2014/main" id="{34B30ED1-CD6E-C908-4A2A-D0EFD6F13860}"/>
              </a:ext>
            </a:extLst>
          </p:cNvPr>
          <p:cNvSpPr>
            <a:spLocks noGrp="1"/>
          </p:cNvSpPr>
          <p:nvPr>
            <p:ph type="title"/>
          </p:nvPr>
        </p:nvSpPr>
        <p:spPr>
          <a:xfrm>
            <a:off x="7105726" y="1460507"/>
            <a:ext cx="4146216" cy="1291401"/>
          </a:xfrm>
        </p:spPr>
        <p:txBody>
          <a:bodyPr/>
          <a:lstStyle>
            <a:lvl1pPr>
              <a:defRPr>
                <a:solidFill>
                  <a:schemeClr val="tx1"/>
                </a:solidFill>
              </a:defRPr>
            </a:lvl1pPr>
          </a:lstStyle>
          <a:p>
            <a:r>
              <a:rPr lang="sv-SE"/>
              <a:t>Klicka här för att ändra mall för rubrikformat</a:t>
            </a:r>
          </a:p>
        </p:txBody>
      </p:sp>
      <p:sp>
        <p:nvSpPr>
          <p:cNvPr id="5" name="Content Placeholder 2">
            <a:extLst>
              <a:ext uri="{FF2B5EF4-FFF2-40B4-BE49-F238E27FC236}">
                <a16:creationId xmlns:a16="http://schemas.microsoft.com/office/drawing/2014/main" id="{31AFBC46-F925-1F9C-7B60-C71659EA9B9E}"/>
              </a:ext>
            </a:extLst>
          </p:cNvPr>
          <p:cNvSpPr>
            <a:spLocks noGrp="1"/>
          </p:cNvSpPr>
          <p:nvPr>
            <p:ph sz="half" idx="10"/>
          </p:nvPr>
        </p:nvSpPr>
        <p:spPr>
          <a:xfrm>
            <a:off x="7105726" y="2960915"/>
            <a:ext cx="4146216" cy="29993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bildnummer 6">
            <a:extLst>
              <a:ext uri="{FF2B5EF4-FFF2-40B4-BE49-F238E27FC236}">
                <a16:creationId xmlns:a16="http://schemas.microsoft.com/office/drawing/2014/main" id="{C92D4F12-FD17-44B8-F390-7755F3EBE1D8}"/>
              </a:ext>
            </a:extLst>
          </p:cNvPr>
          <p:cNvSpPr>
            <a:spLocks noGrp="1"/>
          </p:cNvSpPr>
          <p:nvPr>
            <p:ph type="sldNum" sz="quarter" idx="11"/>
          </p:nvPr>
        </p:nvSpPr>
        <p:spPr/>
        <p:txBody>
          <a:bodyPr/>
          <a:lstStyle>
            <a:lvl1pPr>
              <a:defRPr>
                <a:solidFill>
                  <a:schemeClr val="tx1"/>
                </a:solidFill>
              </a:defRPr>
            </a:lvl1pPr>
          </a:lstStyle>
          <a:p>
            <a:fld id="{59C8BBA8-F427-4879-AAC6-186856FF899B}" type="slidenum">
              <a:rPr lang="sv-SE" smtClean="0"/>
              <a:pPr/>
              <a:t>‹#›</a:t>
            </a:fld>
            <a:endParaRPr lang="sv-SE"/>
          </a:p>
        </p:txBody>
      </p:sp>
      <p:pic>
        <p:nvPicPr>
          <p:cNvPr id="6" name="Bildobjekt 5" descr="Logo" title="Logo">
            <a:extLst>
              <a:ext uri="{FF2B5EF4-FFF2-40B4-BE49-F238E27FC236}">
                <a16:creationId xmlns:a16="http://schemas.microsoft.com/office/drawing/2014/main" id="{8997D605-4F8B-7905-2E40-E0762B53E0BB}"/>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8" name="Picture Placeholder 2">
            <a:extLst>
              <a:ext uri="{FF2B5EF4-FFF2-40B4-BE49-F238E27FC236}">
                <a16:creationId xmlns:a16="http://schemas.microsoft.com/office/drawing/2014/main" id="{A3C79854-7755-8404-57EE-9F8F09CAA4C1}"/>
              </a:ext>
            </a:extLst>
          </p:cNvPr>
          <p:cNvSpPr>
            <a:spLocks noGrp="1"/>
          </p:cNvSpPr>
          <p:nvPr>
            <p:ph type="pic" idx="1" hasCustomPrompt="1"/>
          </p:nvPr>
        </p:nvSpPr>
        <p:spPr>
          <a:xfrm>
            <a:off x="0" y="0"/>
            <a:ext cx="5676900" cy="33528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9" name="Picture Placeholder 2">
            <a:extLst>
              <a:ext uri="{FF2B5EF4-FFF2-40B4-BE49-F238E27FC236}">
                <a16:creationId xmlns:a16="http://schemas.microsoft.com/office/drawing/2014/main" id="{3EB362DE-9DA5-4134-2A4B-E88BBAD2B551}"/>
              </a:ext>
            </a:extLst>
          </p:cNvPr>
          <p:cNvSpPr>
            <a:spLocks noGrp="1"/>
          </p:cNvSpPr>
          <p:nvPr>
            <p:ph type="pic" idx="12" hasCustomPrompt="1"/>
          </p:nvPr>
        </p:nvSpPr>
        <p:spPr>
          <a:xfrm>
            <a:off x="0" y="3505200"/>
            <a:ext cx="5676900" cy="3352800"/>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298658507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Flera bilder helsida">
    <p:spTree>
      <p:nvGrpSpPr>
        <p:cNvPr id="1" name=""/>
        <p:cNvGrpSpPr/>
        <p:nvPr/>
      </p:nvGrpSpPr>
      <p:grpSpPr>
        <a:xfrm>
          <a:off x="0" y="0"/>
          <a:ext cx="0" cy="0"/>
          <a:chOff x="0" y="0"/>
          <a:chExt cx="0" cy="0"/>
        </a:xfrm>
      </p:grpSpPr>
      <p:sp>
        <p:nvSpPr>
          <p:cNvPr id="5" name="Platshållare för bild 4"/>
          <p:cNvSpPr>
            <a:spLocks noGrp="1"/>
          </p:cNvSpPr>
          <p:nvPr>
            <p:ph type="pic" sz="quarter" idx="10" hasCustomPrompt="1"/>
          </p:nvPr>
        </p:nvSpPr>
        <p:spPr>
          <a:xfrm>
            <a:off x="0" y="0"/>
            <a:ext cx="6000750" cy="333375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r>
              <a:rPr lang="sv-SE"/>
              <a:t>för att lägga till en bild</a:t>
            </a:r>
            <a:endParaRPr lang="en-US"/>
          </a:p>
        </p:txBody>
      </p:sp>
      <p:sp>
        <p:nvSpPr>
          <p:cNvPr id="2" name="Platshållare för bild 4">
            <a:extLst>
              <a:ext uri="{FF2B5EF4-FFF2-40B4-BE49-F238E27FC236}">
                <a16:creationId xmlns:a16="http://schemas.microsoft.com/office/drawing/2014/main" id="{F66B7129-959D-E5BA-5DE3-F73A615C5F0C}"/>
              </a:ext>
            </a:extLst>
          </p:cNvPr>
          <p:cNvSpPr>
            <a:spLocks noGrp="1"/>
          </p:cNvSpPr>
          <p:nvPr>
            <p:ph type="pic" sz="quarter" idx="11" hasCustomPrompt="1"/>
          </p:nvPr>
        </p:nvSpPr>
        <p:spPr>
          <a:xfrm>
            <a:off x="0" y="3524250"/>
            <a:ext cx="6000750" cy="333375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r>
              <a:rPr lang="sv-SE"/>
              <a:t>för att lägga till en bild</a:t>
            </a:r>
            <a:endParaRPr lang="en-US"/>
          </a:p>
        </p:txBody>
      </p:sp>
      <p:sp>
        <p:nvSpPr>
          <p:cNvPr id="3" name="Platshållare för bild 4">
            <a:extLst>
              <a:ext uri="{FF2B5EF4-FFF2-40B4-BE49-F238E27FC236}">
                <a16:creationId xmlns:a16="http://schemas.microsoft.com/office/drawing/2014/main" id="{00ABFE08-E33B-C450-0E7D-F18617CD3A2A}"/>
              </a:ext>
            </a:extLst>
          </p:cNvPr>
          <p:cNvSpPr>
            <a:spLocks noGrp="1"/>
          </p:cNvSpPr>
          <p:nvPr>
            <p:ph type="pic" sz="quarter" idx="12" hasCustomPrompt="1"/>
          </p:nvPr>
        </p:nvSpPr>
        <p:spPr>
          <a:xfrm>
            <a:off x="6191250" y="0"/>
            <a:ext cx="6000750" cy="333375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r>
              <a:rPr lang="sv-SE"/>
              <a:t>för att lägga till en bild</a:t>
            </a:r>
            <a:endParaRPr lang="en-US"/>
          </a:p>
        </p:txBody>
      </p:sp>
      <p:sp>
        <p:nvSpPr>
          <p:cNvPr id="4" name="Platshållare för bild 4">
            <a:extLst>
              <a:ext uri="{FF2B5EF4-FFF2-40B4-BE49-F238E27FC236}">
                <a16:creationId xmlns:a16="http://schemas.microsoft.com/office/drawing/2014/main" id="{C40FB6F4-4BDE-E37D-5410-4F2F409CB2B4}"/>
              </a:ext>
            </a:extLst>
          </p:cNvPr>
          <p:cNvSpPr>
            <a:spLocks noGrp="1"/>
          </p:cNvSpPr>
          <p:nvPr>
            <p:ph type="pic" sz="quarter" idx="13" hasCustomPrompt="1"/>
          </p:nvPr>
        </p:nvSpPr>
        <p:spPr>
          <a:xfrm>
            <a:off x="6191250" y="3524250"/>
            <a:ext cx="6000750" cy="333375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r>
              <a:rPr lang="sv-SE"/>
              <a:t>för att lägga till en bild</a:t>
            </a:r>
            <a:endParaRPr lang="en-US"/>
          </a:p>
        </p:txBody>
      </p:sp>
    </p:spTree>
    <p:extLst>
      <p:ext uri="{BB962C8B-B14F-4D97-AF65-F5344CB8AC3E}">
        <p14:creationId xmlns:p14="http://schemas.microsoft.com/office/powerpoint/2010/main" val="32987548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ild helsida">
    <p:spTree>
      <p:nvGrpSpPr>
        <p:cNvPr id="1" name=""/>
        <p:cNvGrpSpPr/>
        <p:nvPr/>
      </p:nvGrpSpPr>
      <p:grpSpPr>
        <a:xfrm>
          <a:off x="0" y="0"/>
          <a:ext cx="0" cy="0"/>
          <a:chOff x="0" y="0"/>
          <a:chExt cx="0" cy="0"/>
        </a:xfrm>
      </p:grpSpPr>
      <p:sp>
        <p:nvSpPr>
          <p:cNvPr id="5" name="Platshållare för bild 4"/>
          <p:cNvSpPr>
            <a:spLocks noGrp="1"/>
          </p:cNvSpPr>
          <p:nvPr>
            <p:ph type="pic" sz="quarter" idx="10" hasCustomPrompt="1"/>
          </p:nvPr>
        </p:nvSpPr>
        <p:spPr>
          <a:xfrm>
            <a:off x="0" y="0"/>
            <a:ext cx="12192000" cy="685800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r>
              <a:rPr lang="sv-SE"/>
              <a:t>för att lägga till en bild</a:t>
            </a:r>
            <a:endParaRPr lang="en-US"/>
          </a:p>
        </p:txBody>
      </p:sp>
    </p:spTree>
    <p:extLst>
      <p:ext uri="{BB962C8B-B14F-4D97-AF65-F5344CB8AC3E}">
        <p14:creationId xmlns:p14="http://schemas.microsoft.com/office/powerpoint/2010/main" val="120089280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Bild helsida med rubrik">
    <p:spTree>
      <p:nvGrpSpPr>
        <p:cNvPr id="1" name=""/>
        <p:cNvGrpSpPr/>
        <p:nvPr/>
      </p:nvGrpSpPr>
      <p:grpSpPr>
        <a:xfrm>
          <a:off x="0" y="0"/>
          <a:ext cx="0" cy="0"/>
          <a:chOff x="0" y="0"/>
          <a:chExt cx="0" cy="0"/>
        </a:xfrm>
      </p:grpSpPr>
      <p:sp>
        <p:nvSpPr>
          <p:cNvPr id="4" name="Platshållare för bild 5">
            <a:extLst>
              <a:ext uri="{FF2B5EF4-FFF2-40B4-BE49-F238E27FC236}">
                <a16:creationId xmlns:a16="http://schemas.microsoft.com/office/drawing/2014/main" id="{1566CF40-59BE-4449-B880-5CCAFCC9D997}"/>
              </a:ext>
            </a:extLst>
          </p:cNvPr>
          <p:cNvSpPr>
            <a:spLocks noGrp="1"/>
          </p:cNvSpPr>
          <p:nvPr>
            <p:ph type="pic" sz="quarter" idx="10" hasCustomPrompt="1"/>
          </p:nvPr>
        </p:nvSpPr>
        <p:spPr>
          <a:xfrm>
            <a:off x="0" y="0"/>
            <a:ext cx="12192000" cy="685800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a:t>
            </a:r>
            <a:br>
              <a:rPr lang="sv-SE"/>
            </a:br>
            <a:r>
              <a:rPr lang="sv-SE"/>
              <a:t>för att lägga till en bild</a:t>
            </a:r>
            <a:endParaRPr lang="en-US"/>
          </a:p>
        </p:txBody>
      </p:sp>
      <p:sp>
        <p:nvSpPr>
          <p:cNvPr id="6" name="Title 1">
            <a:extLst>
              <a:ext uri="{FF2B5EF4-FFF2-40B4-BE49-F238E27FC236}">
                <a16:creationId xmlns:a16="http://schemas.microsoft.com/office/drawing/2014/main" id="{5F556A3A-7138-45B2-8593-FAB5296ADD6C}"/>
              </a:ext>
            </a:extLst>
          </p:cNvPr>
          <p:cNvSpPr>
            <a:spLocks noGrp="1"/>
          </p:cNvSpPr>
          <p:nvPr>
            <p:ph type="ctrTitle" hasCustomPrompt="1"/>
          </p:nvPr>
        </p:nvSpPr>
        <p:spPr>
          <a:xfrm>
            <a:off x="407988" y="404813"/>
            <a:ext cx="5000625" cy="1703434"/>
          </a:xfrm>
          <a:prstGeom prst="rect">
            <a:avLst/>
          </a:prstGeom>
          <a:solidFill>
            <a:schemeClr val="tx2"/>
          </a:solidFill>
        </p:spPr>
        <p:txBody>
          <a:bodyPr wrap="square" lIns="432000" tIns="432000" rIns="432000" bIns="432000" anchor="ctr" anchorCtr="0">
            <a:spAutoFit/>
          </a:bodyPr>
          <a:lstStyle>
            <a:lvl1pPr algn="l">
              <a:lnSpc>
                <a:spcPct val="90000"/>
              </a:lnSpc>
              <a:defRPr sz="3000">
                <a:solidFill>
                  <a:schemeClr val="bg1"/>
                </a:solidFill>
              </a:defRPr>
            </a:lvl1pPr>
          </a:lstStyle>
          <a:p>
            <a:r>
              <a:rPr lang="sv-SE"/>
              <a:t>Rubrik på</a:t>
            </a:r>
            <a:br>
              <a:rPr lang="sv-SE"/>
            </a:br>
            <a:r>
              <a:rPr lang="sv-SE"/>
              <a:t>två rader</a:t>
            </a:r>
            <a:endParaRPr lang="en-US"/>
          </a:p>
        </p:txBody>
      </p:sp>
    </p:spTree>
    <p:extLst>
      <p:ext uri="{BB962C8B-B14F-4D97-AF65-F5344CB8AC3E}">
        <p14:creationId xmlns:p14="http://schemas.microsoft.com/office/powerpoint/2010/main" val="296616515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2_Bild helsida med rubrik">
    <p:spTree>
      <p:nvGrpSpPr>
        <p:cNvPr id="1" name=""/>
        <p:cNvGrpSpPr/>
        <p:nvPr/>
      </p:nvGrpSpPr>
      <p:grpSpPr>
        <a:xfrm>
          <a:off x="0" y="0"/>
          <a:ext cx="0" cy="0"/>
          <a:chOff x="0" y="0"/>
          <a:chExt cx="0" cy="0"/>
        </a:xfrm>
      </p:grpSpPr>
      <p:sp>
        <p:nvSpPr>
          <p:cNvPr id="4" name="Platshållare för bild 5">
            <a:extLst>
              <a:ext uri="{FF2B5EF4-FFF2-40B4-BE49-F238E27FC236}">
                <a16:creationId xmlns:a16="http://schemas.microsoft.com/office/drawing/2014/main" id="{1566CF40-59BE-4449-B880-5CCAFCC9D997}"/>
              </a:ext>
            </a:extLst>
          </p:cNvPr>
          <p:cNvSpPr>
            <a:spLocks noGrp="1"/>
          </p:cNvSpPr>
          <p:nvPr>
            <p:ph type="pic" sz="quarter" idx="10" hasCustomPrompt="1"/>
          </p:nvPr>
        </p:nvSpPr>
        <p:spPr>
          <a:xfrm>
            <a:off x="0" y="0"/>
            <a:ext cx="12192000" cy="685800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a:t>
            </a:r>
            <a:br>
              <a:rPr lang="sv-SE"/>
            </a:br>
            <a:r>
              <a:rPr lang="sv-SE"/>
              <a:t>för att lägga till en bild</a:t>
            </a:r>
            <a:endParaRPr lang="en-US"/>
          </a:p>
        </p:txBody>
      </p:sp>
      <p:sp>
        <p:nvSpPr>
          <p:cNvPr id="6" name="Title 1">
            <a:extLst>
              <a:ext uri="{FF2B5EF4-FFF2-40B4-BE49-F238E27FC236}">
                <a16:creationId xmlns:a16="http://schemas.microsoft.com/office/drawing/2014/main" id="{5F556A3A-7138-45B2-8593-FAB5296ADD6C}"/>
              </a:ext>
            </a:extLst>
          </p:cNvPr>
          <p:cNvSpPr>
            <a:spLocks noGrp="1"/>
          </p:cNvSpPr>
          <p:nvPr>
            <p:ph type="ctrTitle" hasCustomPrompt="1"/>
          </p:nvPr>
        </p:nvSpPr>
        <p:spPr>
          <a:xfrm>
            <a:off x="407988" y="404813"/>
            <a:ext cx="5000625" cy="1703434"/>
          </a:xfrm>
          <a:prstGeom prst="rect">
            <a:avLst/>
          </a:prstGeom>
          <a:solidFill>
            <a:srgbClr val="34274D"/>
          </a:solidFill>
        </p:spPr>
        <p:txBody>
          <a:bodyPr wrap="square" lIns="432000" tIns="432000" rIns="432000" bIns="432000" anchor="ctr" anchorCtr="0">
            <a:spAutoFit/>
          </a:bodyPr>
          <a:lstStyle>
            <a:lvl1pPr algn="l">
              <a:lnSpc>
                <a:spcPct val="90000"/>
              </a:lnSpc>
              <a:defRPr sz="3000">
                <a:solidFill>
                  <a:schemeClr val="bg1"/>
                </a:solidFill>
              </a:defRPr>
            </a:lvl1pPr>
          </a:lstStyle>
          <a:p>
            <a:r>
              <a:rPr lang="sv-SE"/>
              <a:t>Rubrik på</a:t>
            </a:r>
            <a:br>
              <a:rPr lang="sv-SE"/>
            </a:br>
            <a:r>
              <a:rPr lang="sv-SE"/>
              <a:t>två rader</a:t>
            </a:r>
            <a:endParaRPr lang="en-US"/>
          </a:p>
        </p:txBody>
      </p:sp>
    </p:spTree>
    <p:extLst>
      <p:ext uri="{BB962C8B-B14F-4D97-AF65-F5344CB8AC3E}">
        <p14:creationId xmlns:p14="http://schemas.microsoft.com/office/powerpoint/2010/main" val="12867075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Tom med logotyp">
    <p:spTree>
      <p:nvGrpSpPr>
        <p:cNvPr id="1" name=""/>
        <p:cNvGrpSpPr/>
        <p:nvPr/>
      </p:nvGrpSpPr>
      <p:grpSpPr>
        <a:xfrm>
          <a:off x="0" y="0"/>
          <a:ext cx="0" cy="0"/>
          <a:chOff x="0" y="0"/>
          <a:chExt cx="0" cy="0"/>
        </a:xfrm>
      </p:grpSpPr>
      <p:sp>
        <p:nvSpPr>
          <p:cNvPr id="3" name="Platshållare för bildnummer 2">
            <a:extLst>
              <a:ext uri="{FF2B5EF4-FFF2-40B4-BE49-F238E27FC236}">
                <a16:creationId xmlns:a16="http://schemas.microsoft.com/office/drawing/2014/main" id="{474F5195-589E-4BA5-AA31-A11EABAE756F}"/>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2917127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vsluts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4" name="Rubrik 3">
            <a:extLst>
              <a:ext uri="{FF2B5EF4-FFF2-40B4-BE49-F238E27FC236}">
                <a16:creationId xmlns:a16="http://schemas.microsoft.com/office/drawing/2014/main" id="{7A284E58-B676-47B0-B49B-D281A884EF27}"/>
              </a:ext>
            </a:extLst>
          </p:cNvPr>
          <p:cNvSpPr>
            <a:spLocks noGrp="1"/>
          </p:cNvSpPr>
          <p:nvPr>
            <p:ph type="title" hasCustomPrompt="1"/>
          </p:nvPr>
        </p:nvSpPr>
        <p:spPr>
          <a:xfrm>
            <a:off x="1420650" y="2399545"/>
            <a:ext cx="6148878" cy="309600"/>
          </a:xfrm>
        </p:spPr>
        <p:txBody>
          <a:bodyPr>
            <a:normAutofit/>
          </a:bodyPr>
          <a:lstStyle>
            <a:lvl1pPr>
              <a:defRPr sz="1700">
                <a:solidFill>
                  <a:schemeClr val="bg1"/>
                </a:solidFill>
              </a:defRPr>
            </a:lvl1pPr>
          </a:lstStyle>
          <a:p>
            <a:r>
              <a:rPr lang="sv-SE"/>
              <a:t>Kontakt</a:t>
            </a:r>
          </a:p>
        </p:txBody>
      </p:sp>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bg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solidFill>
                  <a:schemeClr val="tx1"/>
                </a:solidFill>
                <a:latin typeface="+mn-lt"/>
              </a:rPr>
              <a:t>Hållbar stad – öppen för världen</a:t>
            </a:r>
          </a:p>
        </p:txBody>
      </p:sp>
    </p:spTree>
    <p:extLst>
      <p:ext uri="{BB962C8B-B14F-4D97-AF65-F5344CB8AC3E}">
        <p14:creationId xmlns:p14="http://schemas.microsoft.com/office/powerpoint/2010/main" val="11104959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Helt 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97425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Avsnittsrubrik_ljus">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528841" y="2404809"/>
            <a:ext cx="9134323" cy="1349829"/>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F54FBE38-BAA0-4913-A593-C4237FC13E33}"/>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b="1">
                <a:solidFill>
                  <a:schemeClr val="tx1"/>
                </a:solidFill>
              </a:rPr>
              <a:t>Inköps- och upphandlingsförvaltningen</a:t>
            </a:r>
          </a:p>
        </p:txBody>
      </p:sp>
    </p:spTree>
    <p:extLst>
      <p:ext uri="{BB962C8B-B14F-4D97-AF65-F5344CB8AC3E}">
        <p14:creationId xmlns:p14="http://schemas.microsoft.com/office/powerpoint/2010/main" val="181769669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2_Avsnittsrubrik_mörk">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528841" y="2404809"/>
            <a:ext cx="9134323" cy="1349829"/>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F54FBE38-BAA0-4913-A593-C4237FC13E33}"/>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b="1">
                <a:solidFill>
                  <a:schemeClr val="tx1"/>
                </a:solidFill>
              </a:rPr>
              <a:t>Inköps- och upphandlingsförvaltningen</a:t>
            </a:r>
          </a:p>
        </p:txBody>
      </p:sp>
    </p:spTree>
    <p:extLst>
      <p:ext uri="{BB962C8B-B14F-4D97-AF65-F5344CB8AC3E}">
        <p14:creationId xmlns:p14="http://schemas.microsoft.com/office/powerpoint/2010/main" val="304948921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3_Avsnittsrubrik_violet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615927" y="2422226"/>
            <a:ext cx="6726885" cy="1349829"/>
          </a:xfrm>
          <a:prstGeom prst="rect">
            <a:avLst/>
          </a:prstGeom>
        </p:spPr>
        <p:txBody>
          <a:bodyPr anchor="ctr" anchorCtr="0">
            <a:noAutofit/>
          </a:bodyPr>
          <a:lstStyle>
            <a:lvl1pPr algn="l">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F54FBE38-BAA0-4913-A593-C4237FC13E33}"/>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b="1">
                <a:solidFill>
                  <a:schemeClr val="tx1"/>
                </a:solidFill>
              </a:rPr>
              <a:t>Inköps- och upphandlingsförvaltningen</a:t>
            </a:r>
          </a:p>
        </p:txBody>
      </p:sp>
      <p:sp>
        <p:nvSpPr>
          <p:cNvPr id="3" name="Bild 8">
            <a:extLst>
              <a:ext uri="{FF2B5EF4-FFF2-40B4-BE49-F238E27FC236}">
                <a16:creationId xmlns:a16="http://schemas.microsoft.com/office/drawing/2014/main" id="{80D0E8CF-5D77-6DCC-2462-E03786BF68EE}"/>
              </a:ext>
            </a:extLst>
          </p:cNvPr>
          <p:cNvSpPr/>
          <p:nvPr userDrawn="1"/>
        </p:nvSpPr>
        <p:spPr>
          <a:xfrm>
            <a:off x="7589629" y="885823"/>
            <a:ext cx="4191693" cy="5024954"/>
          </a:xfrm>
          <a:custGeom>
            <a:avLst/>
            <a:gdLst>
              <a:gd name="connsiteX0" fmla="*/ 3905118 w 4191693"/>
              <a:gd name="connsiteY0" fmla="*/ 190733 h 5024954"/>
              <a:gd name="connsiteX1" fmla="*/ 3791186 w 4191693"/>
              <a:gd name="connsiteY1" fmla="*/ 783689 h 5024954"/>
              <a:gd name="connsiteX2" fmla="*/ 3747961 w 4191693"/>
              <a:gd name="connsiteY2" fmla="*/ 1018599 h 5024954"/>
              <a:gd name="connsiteX3" fmla="*/ 3747643 w 4191693"/>
              <a:gd name="connsiteY3" fmla="*/ 1019044 h 5024954"/>
              <a:gd name="connsiteX4" fmla="*/ 3525936 w 4191693"/>
              <a:gd name="connsiteY4" fmla="*/ 1103398 h 5024954"/>
              <a:gd name="connsiteX5" fmla="*/ 2962621 w 4191693"/>
              <a:gd name="connsiteY5" fmla="*/ 1317870 h 5024954"/>
              <a:gd name="connsiteX6" fmla="*/ 2851164 w 4191693"/>
              <a:gd name="connsiteY6" fmla="*/ 1910255 h 5024954"/>
              <a:gd name="connsiteX7" fmla="*/ 2807369 w 4191693"/>
              <a:gd name="connsiteY7" fmla="*/ 2143388 h 5024954"/>
              <a:gd name="connsiteX8" fmla="*/ 2806988 w 4191693"/>
              <a:gd name="connsiteY8" fmla="*/ 2143832 h 5024954"/>
              <a:gd name="connsiteX9" fmla="*/ 2585280 w 4191693"/>
              <a:gd name="connsiteY9" fmla="*/ 2228186 h 5024954"/>
              <a:gd name="connsiteX10" fmla="*/ 2021966 w 4191693"/>
              <a:gd name="connsiteY10" fmla="*/ 2442658 h 5024954"/>
              <a:gd name="connsiteX11" fmla="*/ 1910509 w 4191693"/>
              <a:gd name="connsiteY11" fmla="*/ 3035043 h 5024954"/>
              <a:gd name="connsiteX12" fmla="*/ 1866713 w 4191693"/>
              <a:gd name="connsiteY12" fmla="*/ 3268176 h 5024954"/>
              <a:gd name="connsiteX13" fmla="*/ 1866332 w 4191693"/>
              <a:gd name="connsiteY13" fmla="*/ 3268620 h 5024954"/>
              <a:gd name="connsiteX14" fmla="*/ 1644624 w 4191693"/>
              <a:gd name="connsiteY14" fmla="*/ 3352974 h 5024954"/>
              <a:gd name="connsiteX15" fmla="*/ 1081310 w 4191693"/>
              <a:gd name="connsiteY15" fmla="*/ 3567446 h 5024954"/>
              <a:gd name="connsiteX16" fmla="*/ 969853 w 4191693"/>
              <a:gd name="connsiteY16" fmla="*/ 4159831 h 5024954"/>
              <a:gd name="connsiteX17" fmla="*/ 926057 w 4191693"/>
              <a:gd name="connsiteY17" fmla="*/ 4392964 h 5024954"/>
              <a:gd name="connsiteX18" fmla="*/ 925740 w 4191693"/>
              <a:gd name="connsiteY18" fmla="*/ 4393408 h 5024954"/>
              <a:gd name="connsiteX19" fmla="*/ 702191 w 4191693"/>
              <a:gd name="connsiteY19" fmla="*/ 4477509 h 5024954"/>
              <a:gd name="connsiteX20" fmla="*/ 138750 w 4191693"/>
              <a:gd name="connsiteY20" fmla="*/ 4694583 h 5024954"/>
              <a:gd name="connsiteX21" fmla="*/ 0 w 4191693"/>
              <a:gd name="connsiteY21" fmla="*/ 5024955 h 5024954"/>
              <a:gd name="connsiteX22" fmla="*/ 1227105 w 4191693"/>
              <a:gd name="connsiteY22" fmla="*/ 5024955 h 5024954"/>
              <a:gd name="connsiteX23" fmla="*/ 1198162 w 4191693"/>
              <a:gd name="connsiteY23" fmla="*/ 4891093 h 5024954"/>
              <a:gd name="connsiteX24" fmla="*/ 1241958 w 4191693"/>
              <a:gd name="connsiteY24" fmla="*/ 4657960 h 5024954"/>
              <a:gd name="connsiteX25" fmla="*/ 1242338 w 4191693"/>
              <a:gd name="connsiteY25" fmla="*/ 4657515 h 5024954"/>
              <a:gd name="connsiteX26" fmla="*/ 1464046 w 4191693"/>
              <a:gd name="connsiteY26" fmla="*/ 4573161 h 5024954"/>
              <a:gd name="connsiteX27" fmla="*/ 2027361 w 4191693"/>
              <a:gd name="connsiteY27" fmla="*/ 4358689 h 5024954"/>
              <a:gd name="connsiteX28" fmla="*/ 2138818 w 4191693"/>
              <a:gd name="connsiteY28" fmla="*/ 3766304 h 5024954"/>
              <a:gd name="connsiteX29" fmla="*/ 2182613 w 4191693"/>
              <a:gd name="connsiteY29" fmla="*/ 3533172 h 5024954"/>
              <a:gd name="connsiteX30" fmla="*/ 2182994 w 4191693"/>
              <a:gd name="connsiteY30" fmla="*/ 3532727 h 5024954"/>
              <a:gd name="connsiteX31" fmla="*/ 2404702 w 4191693"/>
              <a:gd name="connsiteY31" fmla="*/ 3448373 h 5024954"/>
              <a:gd name="connsiteX32" fmla="*/ 2968016 w 4191693"/>
              <a:gd name="connsiteY32" fmla="*/ 3233901 h 5024954"/>
              <a:gd name="connsiteX33" fmla="*/ 3079473 w 4191693"/>
              <a:gd name="connsiteY33" fmla="*/ 2641516 h 5024954"/>
              <a:gd name="connsiteX34" fmla="*/ 3123269 w 4191693"/>
              <a:gd name="connsiteY34" fmla="*/ 2408383 h 5024954"/>
              <a:gd name="connsiteX35" fmla="*/ 3123650 w 4191693"/>
              <a:gd name="connsiteY35" fmla="*/ 2407939 h 5024954"/>
              <a:gd name="connsiteX36" fmla="*/ 3345358 w 4191693"/>
              <a:gd name="connsiteY36" fmla="*/ 2323585 h 5024954"/>
              <a:gd name="connsiteX37" fmla="*/ 3908672 w 4191693"/>
              <a:gd name="connsiteY37" fmla="*/ 2109113 h 5024954"/>
              <a:gd name="connsiteX38" fmla="*/ 4020129 w 4191693"/>
              <a:gd name="connsiteY38" fmla="*/ 1516728 h 5024954"/>
              <a:gd name="connsiteX39" fmla="*/ 4063925 w 4191693"/>
              <a:gd name="connsiteY39" fmla="*/ 1283595 h 5024954"/>
              <a:gd name="connsiteX40" fmla="*/ 4064306 w 4191693"/>
              <a:gd name="connsiteY40" fmla="*/ 1283151 h 5024954"/>
              <a:gd name="connsiteX41" fmla="*/ 4191694 w 4191693"/>
              <a:gd name="connsiteY41" fmla="*/ 1203494 h 5024954"/>
              <a:gd name="connsiteX42" fmla="*/ 4191694 w 4191693"/>
              <a:gd name="connsiteY42" fmla="*/ 0 h 5024954"/>
              <a:gd name="connsiteX43" fmla="*/ 3905181 w 4191693"/>
              <a:gd name="connsiteY43" fmla="*/ 190733 h 502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91693" h="5024954">
                <a:moveTo>
                  <a:pt x="3905118" y="190733"/>
                </a:moveTo>
                <a:cubicBezTo>
                  <a:pt x="3761163" y="361219"/>
                  <a:pt x="3725682" y="586672"/>
                  <a:pt x="3791186" y="783689"/>
                </a:cubicBezTo>
                <a:cubicBezTo>
                  <a:pt x="3818034" y="864489"/>
                  <a:pt x="3802610" y="953287"/>
                  <a:pt x="3747961" y="1018599"/>
                </a:cubicBezTo>
                <a:lnTo>
                  <a:pt x="3747643" y="1019044"/>
                </a:lnTo>
                <a:cubicBezTo>
                  <a:pt x="3693438" y="1083849"/>
                  <a:pt x="3609465" y="1115648"/>
                  <a:pt x="3525936" y="1103398"/>
                </a:cubicBezTo>
                <a:cubicBezTo>
                  <a:pt x="3320857" y="1073249"/>
                  <a:pt x="3105370" y="1147194"/>
                  <a:pt x="2962621" y="1317870"/>
                </a:cubicBezTo>
                <a:cubicBezTo>
                  <a:pt x="2819873" y="1488546"/>
                  <a:pt x="2785217" y="1713745"/>
                  <a:pt x="2851164" y="1910255"/>
                </a:cubicBezTo>
                <a:cubicBezTo>
                  <a:pt x="2878013" y="1990356"/>
                  <a:pt x="2861574" y="2078583"/>
                  <a:pt x="2807369" y="2143388"/>
                </a:cubicBezTo>
                <a:lnTo>
                  <a:pt x="2806988" y="2143832"/>
                </a:lnTo>
                <a:cubicBezTo>
                  <a:pt x="2752783" y="2208637"/>
                  <a:pt x="2668809" y="2240436"/>
                  <a:pt x="2585280" y="2228186"/>
                </a:cubicBezTo>
                <a:cubicBezTo>
                  <a:pt x="2380202" y="2198037"/>
                  <a:pt x="2164714" y="2271982"/>
                  <a:pt x="2021966" y="2442658"/>
                </a:cubicBezTo>
                <a:cubicBezTo>
                  <a:pt x="1879217" y="2613335"/>
                  <a:pt x="1844561" y="2838533"/>
                  <a:pt x="1910509" y="3035043"/>
                </a:cubicBezTo>
                <a:cubicBezTo>
                  <a:pt x="1937357" y="3115145"/>
                  <a:pt x="1920918" y="3203371"/>
                  <a:pt x="1866713" y="3268176"/>
                </a:cubicBezTo>
                <a:lnTo>
                  <a:pt x="1866332" y="3268620"/>
                </a:lnTo>
                <a:cubicBezTo>
                  <a:pt x="1812127" y="3333425"/>
                  <a:pt x="1728217" y="3365225"/>
                  <a:pt x="1644624" y="3352974"/>
                </a:cubicBezTo>
                <a:cubicBezTo>
                  <a:pt x="1439546" y="3322825"/>
                  <a:pt x="1224058" y="3396770"/>
                  <a:pt x="1081310" y="3567446"/>
                </a:cubicBezTo>
                <a:cubicBezTo>
                  <a:pt x="938561" y="3738123"/>
                  <a:pt x="903905" y="3963321"/>
                  <a:pt x="969853" y="4159831"/>
                </a:cubicBezTo>
                <a:cubicBezTo>
                  <a:pt x="996702" y="4239933"/>
                  <a:pt x="980262" y="4328159"/>
                  <a:pt x="926057" y="4392964"/>
                </a:cubicBezTo>
                <a:lnTo>
                  <a:pt x="925740" y="4393408"/>
                </a:lnTo>
                <a:cubicBezTo>
                  <a:pt x="871154" y="4458721"/>
                  <a:pt x="786482" y="4489632"/>
                  <a:pt x="702191" y="4477509"/>
                </a:cubicBezTo>
                <a:cubicBezTo>
                  <a:pt x="496669" y="4447931"/>
                  <a:pt x="281054" y="4522701"/>
                  <a:pt x="138750" y="4694583"/>
                </a:cubicBezTo>
                <a:cubicBezTo>
                  <a:pt x="57760" y="4792393"/>
                  <a:pt x="11996" y="4907595"/>
                  <a:pt x="0" y="5024955"/>
                </a:cubicBezTo>
                <a:lnTo>
                  <a:pt x="1227105" y="5024955"/>
                </a:lnTo>
                <a:cubicBezTo>
                  <a:pt x="1222472" y="4979509"/>
                  <a:pt x="1212824" y="4934635"/>
                  <a:pt x="1198162" y="4891093"/>
                </a:cubicBezTo>
                <a:cubicBezTo>
                  <a:pt x="1171313" y="4810991"/>
                  <a:pt x="1187752" y="4722765"/>
                  <a:pt x="1241958" y="4657960"/>
                </a:cubicBezTo>
                <a:lnTo>
                  <a:pt x="1242338" y="4657515"/>
                </a:lnTo>
                <a:cubicBezTo>
                  <a:pt x="1296544" y="4592711"/>
                  <a:pt x="1380517" y="4560911"/>
                  <a:pt x="1464046" y="4573161"/>
                </a:cubicBezTo>
                <a:cubicBezTo>
                  <a:pt x="1669125" y="4603310"/>
                  <a:pt x="1884612" y="4529365"/>
                  <a:pt x="2027361" y="4358689"/>
                </a:cubicBezTo>
                <a:cubicBezTo>
                  <a:pt x="2170109" y="4188013"/>
                  <a:pt x="2204765" y="3962814"/>
                  <a:pt x="2138818" y="3766304"/>
                </a:cubicBezTo>
                <a:cubicBezTo>
                  <a:pt x="2111969" y="3686203"/>
                  <a:pt x="2128408" y="3597976"/>
                  <a:pt x="2182613" y="3533172"/>
                </a:cubicBezTo>
                <a:lnTo>
                  <a:pt x="2182994" y="3532727"/>
                </a:lnTo>
                <a:cubicBezTo>
                  <a:pt x="2237199" y="3467922"/>
                  <a:pt x="2321173" y="3436123"/>
                  <a:pt x="2404702" y="3448373"/>
                </a:cubicBezTo>
                <a:cubicBezTo>
                  <a:pt x="2609780" y="3478522"/>
                  <a:pt x="2825268" y="3404577"/>
                  <a:pt x="2968016" y="3233901"/>
                </a:cubicBezTo>
                <a:cubicBezTo>
                  <a:pt x="3110765" y="3063224"/>
                  <a:pt x="3145421" y="2838026"/>
                  <a:pt x="3079473" y="2641516"/>
                </a:cubicBezTo>
                <a:cubicBezTo>
                  <a:pt x="3052625" y="2561414"/>
                  <a:pt x="3069064" y="2473188"/>
                  <a:pt x="3123269" y="2408383"/>
                </a:cubicBezTo>
                <a:lnTo>
                  <a:pt x="3123650" y="2407939"/>
                </a:lnTo>
                <a:cubicBezTo>
                  <a:pt x="3177855" y="2343134"/>
                  <a:pt x="3261765" y="2311335"/>
                  <a:pt x="3345358" y="2323585"/>
                </a:cubicBezTo>
                <a:cubicBezTo>
                  <a:pt x="3550436" y="2353734"/>
                  <a:pt x="3765923" y="2279789"/>
                  <a:pt x="3908672" y="2109113"/>
                </a:cubicBezTo>
                <a:cubicBezTo>
                  <a:pt x="4051421" y="1938436"/>
                  <a:pt x="4086076" y="1713238"/>
                  <a:pt x="4020129" y="1516728"/>
                </a:cubicBezTo>
                <a:cubicBezTo>
                  <a:pt x="3993280" y="1436626"/>
                  <a:pt x="4009720" y="1348400"/>
                  <a:pt x="4063925" y="1283595"/>
                </a:cubicBezTo>
                <a:lnTo>
                  <a:pt x="4064306" y="1283151"/>
                </a:lnTo>
                <a:cubicBezTo>
                  <a:pt x="4097755" y="1243164"/>
                  <a:pt x="4142630" y="1215744"/>
                  <a:pt x="4191694" y="1203494"/>
                </a:cubicBezTo>
                <a:lnTo>
                  <a:pt x="4191694" y="0"/>
                </a:lnTo>
                <a:cubicBezTo>
                  <a:pt x="4083728" y="33831"/>
                  <a:pt x="3983696" y="97810"/>
                  <a:pt x="3905181" y="190733"/>
                </a:cubicBezTo>
                <a:close/>
              </a:path>
            </a:pathLst>
          </a:custGeom>
          <a:solidFill>
            <a:schemeClr val="bg2"/>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222613413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3_Avsnittsrubrik_ljus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615927" y="2422226"/>
            <a:ext cx="6726885" cy="1349829"/>
          </a:xfrm>
          <a:prstGeom prst="rect">
            <a:avLst/>
          </a:prstGeom>
        </p:spPr>
        <p:txBody>
          <a:bodyPr anchor="ctr" anchorCtr="0">
            <a:noAutofit/>
          </a:bodyPr>
          <a:lstStyle>
            <a:lvl1pPr algn="l">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F54FBE38-BAA0-4913-A593-C4237FC13E33}"/>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b="1">
                <a:solidFill>
                  <a:schemeClr val="tx1"/>
                </a:solidFill>
              </a:rPr>
              <a:t>Inköps- och upphandlingsförvaltningen</a:t>
            </a:r>
          </a:p>
        </p:txBody>
      </p:sp>
      <p:sp>
        <p:nvSpPr>
          <p:cNvPr id="3" name="Bild 8">
            <a:extLst>
              <a:ext uri="{FF2B5EF4-FFF2-40B4-BE49-F238E27FC236}">
                <a16:creationId xmlns:a16="http://schemas.microsoft.com/office/drawing/2014/main" id="{A13AA30D-2618-82CD-B3F3-F77CBFE1124F}"/>
              </a:ext>
            </a:extLst>
          </p:cNvPr>
          <p:cNvSpPr/>
          <p:nvPr userDrawn="1"/>
        </p:nvSpPr>
        <p:spPr>
          <a:xfrm>
            <a:off x="7589629" y="885823"/>
            <a:ext cx="4191693" cy="5024954"/>
          </a:xfrm>
          <a:custGeom>
            <a:avLst/>
            <a:gdLst>
              <a:gd name="connsiteX0" fmla="*/ 3905118 w 4191693"/>
              <a:gd name="connsiteY0" fmla="*/ 190733 h 5024954"/>
              <a:gd name="connsiteX1" fmla="*/ 3791186 w 4191693"/>
              <a:gd name="connsiteY1" fmla="*/ 783689 h 5024954"/>
              <a:gd name="connsiteX2" fmla="*/ 3747961 w 4191693"/>
              <a:gd name="connsiteY2" fmla="*/ 1018599 h 5024954"/>
              <a:gd name="connsiteX3" fmla="*/ 3747643 w 4191693"/>
              <a:gd name="connsiteY3" fmla="*/ 1019044 h 5024954"/>
              <a:gd name="connsiteX4" fmla="*/ 3525936 w 4191693"/>
              <a:gd name="connsiteY4" fmla="*/ 1103398 h 5024954"/>
              <a:gd name="connsiteX5" fmla="*/ 2962621 w 4191693"/>
              <a:gd name="connsiteY5" fmla="*/ 1317870 h 5024954"/>
              <a:gd name="connsiteX6" fmla="*/ 2851164 w 4191693"/>
              <a:gd name="connsiteY6" fmla="*/ 1910255 h 5024954"/>
              <a:gd name="connsiteX7" fmla="*/ 2807369 w 4191693"/>
              <a:gd name="connsiteY7" fmla="*/ 2143388 h 5024954"/>
              <a:gd name="connsiteX8" fmla="*/ 2806988 w 4191693"/>
              <a:gd name="connsiteY8" fmla="*/ 2143832 h 5024954"/>
              <a:gd name="connsiteX9" fmla="*/ 2585280 w 4191693"/>
              <a:gd name="connsiteY9" fmla="*/ 2228186 h 5024954"/>
              <a:gd name="connsiteX10" fmla="*/ 2021966 w 4191693"/>
              <a:gd name="connsiteY10" fmla="*/ 2442658 h 5024954"/>
              <a:gd name="connsiteX11" fmla="*/ 1910509 w 4191693"/>
              <a:gd name="connsiteY11" fmla="*/ 3035043 h 5024954"/>
              <a:gd name="connsiteX12" fmla="*/ 1866713 w 4191693"/>
              <a:gd name="connsiteY12" fmla="*/ 3268176 h 5024954"/>
              <a:gd name="connsiteX13" fmla="*/ 1866332 w 4191693"/>
              <a:gd name="connsiteY13" fmla="*/ 3268620 h 5024954"/>
              <a:gd name="connsiteX14" fmla="*/ 1644624 w 4191693"/>
              <a:gd name="connsiteY14" fmla="*/ 3352974 h 5024954"/>
              <a:gd name="connsiteX15" fmla="*/ 1081310 w 4191693"/>
              <a:gd name="connsiteY15" fmla="*/ 3567446 h 5024954"/>
              <a:gd name="connsiteX16" fmla="*/ 969853 w 4191693"/>
              <a:gd name="connsiteY16" fmla="*/ 4159831 h 5024954"/>
              <a:gd name="connsiteX17" fmla="*/ 926057 w 4191693"/>
              <a:gd name="connsiteY17" fmla="*/ 4392964 h 5024954"/>
              <a:gd name="connsiteX18" fmla="*/ 925740 w 4191693"/>
              <a:gd name="connsiteY18" fmla="*/ 4393408 h 5024954"/>
              <a:gd name="connsiteX19" fmla="*/ 702191 w 4191693"/>
              <a:gd name="connsiteY19" fmla="*/ 4477509 h 5024954"/>
              <a:gd name="connsiteX20" fmla="*/ 138750 w 4191693"/>
              <a:gd name="connsiteY20" fmla="*/ 4694583 h 5024954"/>
              <a:gd name="connsiteX21" fmla="*/ 0 w 4191693"/>
              <a:gd name="connsiteY21" fmla="*/ 5024955 h 5024954"/>
              <a:gd name="connsiteX22" fmla="*/ 1227105 w 4191693"/>
              <a:gd name="connsiteY22" fmla="*/ 5024955 h 5024954"/>
              <a:gd name="connsiteX23" fmla="*/ 1198162 w 4191693"/>
              <a:gd name="connsiteY23" fmla="*/ 4891093 h 5024954"/>
              <a:gd name="connsiteX24" fmla="*/ 1241958 w 4191693"/>
              <a:gd name="connsiteY24" fmla="*/ 4657960 h 5024954"/>
              <a:gd name="connsiteX25" fmla="*/ 1242338 w 4191693"/>
              <a:gd name="connsiteY25" fmla="*/ 4657515 h 5024954"/>
              <a:gd name="connsiteX26" fmla="*/ 1464046 w 4191693"/>
              <a:gd name="connsiteY26" fmla="*/ 4573161 h 5024954"/>
              <a:gd name="connsiteX27" fmla="*/ 2027361 w 4191693"/>
              <a:gd name="connsiteY27" fmla="*/ 4358689 h 5024954"/>
              <a:gd name="connsiteX28" fmla="*/ 2138818 w 4191693"/>
              <a:gd name="connsiteY28" fmla="*/ 3766304 h 5024954"/>
              <a:gd name="connsiteX29" fmla="*/ 2182613 w 4191693"/>
              <a:gd name="connsiteY29" fmla="*/ 3533172 h 5024954"/>
              <a:gd name="connsiteX30" fmla="*/ 2182994 w 4191693"/>
              <a:gd name="connsiteY30" fmla="*/ 3532727 h 5024954"/>
              <a:gd name="connsiteX31" fmla="*/ 2404702 w 4191693"/>
              <a:gd name="connsiteY31" fmla="*/ 3448373 h 5024954"/>
              <a:gd name="connsiteX32" fmla="*/ 2968016 w 4191693"/>
              <a:gd name="connsiteY32" fmla="*/ 3233901 h 5024954"/>
              <a:gd name="connsiteX33" fmla="*/ 3079473 w 4191693"/>
              <a:gd name="connsiteY33" fmla="*/ 2641516 h 5024954"/>
              <a:gd name="connsiteX34" fmla="*/ 3123269 w 4191693"/>
              <a:gd name="connsiteY34" fmla="*/ 2408383 h 5024954"/>
              <a:gd name="connsiteX35" fmla="*/ 3123650 w 4191693"/>
              <a:gd name="connsiteY35" fmla="*/ 2407939 h 5024954"/>
              <a:gd name="connsiteX36" fmla="*/ 3345358 w 4191693"/>
              <a:gd name="connsiteY36" fmla="*/ 2323585 h 5024954"/>
              <a:gd name="connsiteX37" fmla="*/ 3908672 w 4191693"/>
              <a:gd name="connsiteY37" fmla="*/ 2109113 h 5024954"/>
              <a:gd name="connsiteX38" fmla="*/ 4020129 w 4191693"/>
              <a:gd name="connsiteY38" fmla="*/ 1516728 h 5024954"/>
              <a:gd name="connsiteX39" fmla="*/ 4063925 w 4191693"/>
              <a:gd name="connsiteY39" fmla="*/ 1283595 h 5024954"/>
              <a:gd name="connsiteX40" fmla="*/ 4064306 w 4191693"/>
              <a:gd name="connsiteY40" fmla="*/ 1283151 h 5024954"/>
              <a:gd name="connsiteX41" fmla="*/ 4191694 w 4191693"/>
              <a:gd name="connsiteY41" fmla="*/ 1203494 h 5024954"/>
              <a:gd name="connsiteX42" fmla="*/ 4191694 w 4191693"/>
              <a:gd name="connsiteY42" fmla="*/ 0 h 5024954"/>
              <a:gd name="connsiteX43" fmla="*/ 3905181 w 4191693"/>
              <a:gd name="connsiteY43" fmla="*/ 190733 h 502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91693" h="5024954">
                <a:moveTo>
                  <a:pt x="3905118" y="190733"/>
                </a:moveTo>
                <a:cubicBezTo>
                  <a:pt x="3761163" y="361219"/>
                  <a:pt x="3725682" y="586672"/>
                  <a:pt x="3791186" y="783689"/>
                </a:cubicBezTo>
                <a:cubicBezTo>
                  <a:pt x="3818034" y="864489"/>
                  <a:pt x="3802610" y="953287"/>
                  <a:pt x="3747961" y="1018599"/>
                </a:cubicBezTo>
                <a:lnTo>
                  <a:pt x="3747643" y="1019044"/>
                </a:lnTo>
                <a:cubicBezTo>
                  <a:pt x="3693438" y="1083849"/>
                  <a:pt x="3609465" y="1115648"/>
                  <a:pt x="3525936" y="1103398"/>
                </a:cubicBezTo>
                <a:cubicBezTo>
                  <a:pt x="3320857" y="1073249"/>
                  <a:pt x="3105370" y="1147194"/>
                  <a:pt x="2962621" y="1317870"/>
                </a:cubicBezTo>
                <a:cubicBezTo>
                  <a:pt x="2819873" y="1488546"/>
                  <a:pt x="2785217" y="1713745"/>
                  <a:pt x="2851164" y="1910255"/>
                </a:cubicBezTo>
                <a:cubicBezTo>
                  <a:pt x="2878013" y="1990356"/>
                  <a:pt x="2861574" y="2078583"/>
                  <a:pt x="2807369" y="2143388"/>
                </a:cubicBezTo>
                <a:lnTo>
                  <a:pt x="2806988" y="2143832"/>
                </a:lnTo>
                <a:cubicBezTo>
                  <a:pt x="2752783" y="2208637"/>
                  <a:pt x="2668809" y="2240436"/>
                  <a:pt x="2585280" y="2228186"/>
                </a:cubicBezTo>
                <a:cubicBezTo>
                  <a:pt x="2380202" y="2198037"/>
                  <a:pt x="2164714" y="2271982"/>
                  <a:pt x="2021966" y="2442658"/>
                </a:cubicBezTo>
                <a:cubicBezTo>
                  <a:pt x="1879217" y="2613335"/>
                  <a:pt x="1844561" y="2838533"/>
                  <a:pt x="1910509" y="3035043"/>
                </a:cubicBezTo>
                <a:cubicBezTo>
                  <a:pt x="1937357" y="3115145"/>
                  <a:pt x="1920918" y="3203371"/>
                  <a:pt x="1866713" y="3268176"/>
                </a:cubicBezTo>
                <a:lnTo>
                  <a:pt x="1866332" y="3268620"/>
                </a:lnTo>
                <a:cubicBezTo>
                  <a:pt x="1812127" y="3333425"/>
                  <a:pt x="1728217" y="3365225"/>
                  <a:pt x="1644624" y="3352974"/>
                </a:cubicBezTo>
                <a:cubicBezTo>
                  <a:pt x="1439546" y="3322825"/>
                  <a:pt x="1224058" y="3396770"/>
                  <a:pt x="1081310" y="3567446"/>
                </a:cubicBezTo>
                <a:cubicBezTo>
                  <a:pt x="938561" y="3738123"/>
                  <a:pt x="903905" y="3963321"/>
                  <a:pt x="969853" y="4159831"/>
                </a:cubicBezTo>
                <a:cubicBezTo>
                  <a:pt x="996702" y="4239933"/>
                  <a:pt x="980262" y="4328159"/>
                  <a:pt x="926057" y="4392964"/>
                </a:cubicBezTo>
                <a:lnTo>
                  <a:pt x="925740" y="4393408"/>
                </a:lnTo>
                <a:cubicBezTo>
                  <a:pt x="871154" y="4458721"/>
                  <a:pt x="786482" y="4489632"/>
                  <a:pt x="702191" y="4477509"/>
                </a:cubicBezTo>
                <a:cubicBezTo>
                  <a:pt x="496669" y="4447931"/>
                  <a:pt x="281054" y="4522701"/>
                  <a:pt x="138750" y="4694583"/>
                </a:cubicBezTo>
                <a:cubicBezTo>
                  <a:pt x="57760" y="4792393"/>
                  <a:pt x="11996" y="4907595"/>
                  <a:pt x="0" y="5024955"/>
                </a:cubicBezTo>
                <a:lnTo>
                  <a:pt x="1227105" y="5024955"/>
                </a:lnTo>
                <a:cubicBezTo>
                  <a:pt x="1222472" y="4979509"/>
                  <a:pt x="1212824" y="4934635"/>
                  <a:pt x="1198162" y="4891093"/>
                </a:cubicBezTo>
                <a:cubicBezTo>
                  <a:pt x="1171313" y="4810991"/>
                  <a:pt x="1187752" y="4722765"/>
                  <a:pt x="1241958" y="4657960"/>
                </a:cubicBezTo>
                <a:lnTo>
                  <a:pt x="1242338" y="4657515"/>
                </a:lnTo>
                <a:cubicBezTo>
                  <a:pt x="1296544" y="4592711"/>
                  <a:pt x="1380517" y="4560911"/>
                  <a:pt x="1464046" y="4573161"/>
                </a:cubicBezTo>
                <a:cubicBezTo>
                  <a:pt x="1669125" y="4603310"/>
                  <a:pt x="1884612" y="4529365"/>
                  <a:pt x="2027361" y="4358689"/>
                </a:cubicBezTo>
                <a:cubicBezTo>
                  <a:pt x="2170109" y="4188013"/>
                  <a:pt x="2204765" y="3962814"/>
                  <a:pt x="2138818" y="3766304"/>
                </a:cubicBezTo>
                <a:cubicBezTo>
                  <a:pt x="2111969" y="3686203"/>
                  <a:pt x="2128408" y="3597976"/>
                  <a:pt x="2182613" y="3533172"/>
                </a:cubicBezTo>
                <a:lnTo>
                  <a:pt x="2182994" y="3532727"/>
                </a:lnTo>
                <a:cubicBezTo>
                  <a:pt x="2237199" y="3467922"/>
                  <a:pt x="2321173" y="3436123"/>
                  <a:pt x="2404702" y="3448373"/>
                </a:cubicBezTo>
                <a:cubicBezTo>
                  <a:pt x="2609780" y="3478522"/>
                  <a:pt x="2825268" y="3404577"/>
                  <a:pt x="2968016" y="3233901"/>
                </a:cubicBezTo>
                <a:cubicBezTo>
                  <a:pt x="3110765" y="3063224"/>
                  <a:pt x="3145421" y="2838026"/>
                  <a:pt x="3079473" y="2641516"/>
                </a:cubicBezTo>
                <a:cubicBezTo>
                  <a:pt x="3052625" y="2561414"/>
                  <a:pt x="3069064" y="2473188"/>
                  <a:pt x="3123269" y="2408383"/>
                </a:cubicBezTo>
                <a:lnTo>
                  <a:pt x="3123650" y="2407939"/>
                </a:lnTo>
                <a:cubicBezTo>
                  <a:pt x="3177855" y="2343134"/>
                  <a:pt x="3261765" y="2311335"/>
                  <a:pt x="3345358" y="2323585"/>
                </a:cubicBezTo>
                <a:cubicBezTo>
                  <a:pt x="3550436" y="2353734"/>
                  <a:pt x="3765923" y="2279789"/>
                  <a:pt x="3908672" y="2109113"/>
                </a:cubicBezTo>
                <a:cubicBezTo>
                  <a:pt x="4051421" y="1938436"/>
                  <a:pt x="4086076" y="1713238"/>
                  <a:pt x="4020129" y="1516728"/>
                </a:cubicBezTo>
                <a:cubicBezTo>
                  <a:pt x="3993280" y="1436626"/>
                  <a:pt x="4009720" y="1348400"/>
                  <a:pt x="4063925" y="1283595"/>
                </a:cubicBezTo>
                <a:lnTo>
                  <a:pt x="4064306" y="1283151"/>
                </a:lnTo>
                <a:cubicBezTo>
                  <a:pt x="4097755" y="1243164"/>
                  <a:pt x="4142630" y="1215744"/>
                  <a:pt x="4191694" y="1203494"/>
                </a:cubicBezTo>
                <a:lnTo>
                  <a:pt x="4191694" y="0"/>
                </a:lnTo>
                <a:cubicBezTo>
                  <a:pt x="4083728" y="33831"/>
                  <a:pt x="3983696" y="97810"/>
                  <a:pt x="3905181" y="190733"/>
                </a:cubicBezTo>
                <a:close/>
              </a:path>
            </a:pathLst>
          </a:custGeom>
          <a:solidFill>
            <a:schemeClr val="accent5"/>
          </a:solidFill>
          <a:ln w="0" cap="flat">
            <a:noFill/>
            <a:prstDash val="solid"/>
            <a:miter/>
          </a:ln>
        </p:spPr>
        <p:txBody>
          <a:bodyPr rtlCol="0" anchor="ctr"/>
          <a:lstStyle/>
          <a:p>
            <a:endParaRPr lang="sv-SE"/>
          </a:p>
        </p:txBody>
      </p:sp>
    </p:spTree>
    <p:extLst>
      <p:ext uri="{BB962C8B-B14F-4D97-AF65-F5344CB8AC3E}">
        <p14:creationId xmlns:p14="http://schemas.microsoft.com/office/powerpoint/2010/main" val="245537024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4_Avsnittsrubrik_violet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3771756" y="2613814"/>
            <a:ext cx="6726885" cy="1349829"/>
          </a:xfrm>
          <a:prstGeom prst="rect">
            <a:avLst/>
          </a:prstGeom>
        </p:spPr>
        <p:txBody>
          <a:bodyPr anchor="ctr" anchorCtr="0">
            <a:noAutofit/>
          </a:bodyPr>
          <a:lstStyle>
            <a:lvl1pPr algn="l">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F54FBE38-BAA0-4913-A593-C4237FC13E33}"/>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b="1">
                <a:solidFill>
                  <a:schemeClr val="tx1"/>
                </a:solidFill>
              </a:rPr>
              <a:t>Inköps- och upphandlingsförvaltningen</a:t>
            </a:r>
          </a:p>
        </p:txBody>
      </p:sp>
      <p:grpSp>
        <p:nvGrpSpPr>
          <p:cNvPr id="4" name="Grupp 3">
            <a:extLst>
              <a:ext uri="{FF2B5EF4-FFF2-40B4-BE49-F238E27FC236}">
                <a16:creationId xmlns:a16="http://schemas.microsoft.com/office/drawing/2014/main" id="{D532F73F-C1A1-B789-E5DC-B25144B5867E}"/>
              </a:ext>
            </a:extLst>
          </p:cNvPr>
          <p:cNvGrpSpPr/>
          <p:nvPr userDrawn="1"/>
        </p:nvGrpSpPr>
        <p:grpSpPr>
          <a:xfrm>
            <a:off x="407922" y="404811"/>
            <a:ext cx="3137432" cy="4913253"/>
            <a:chOff x="407922" y="404811"/>
            <a:chExt cx="3137432" cy="4913253"/>
          </a:xfrm>
          <a:solidFill>
            <a:schemeClr val="bg2"/>
          </a:solidFill>
        </p:grpSpPr>
        <p:sp>
          <p:nvSpPr>
            <p:cNvPr id="5" name="Frihandsfigur: Form 4">
              <a:extLst>
                <a:ext uri="{FF2B5EF4-FFF2-40B4-BE49-F238E27FC236}">
                  <a16:creationId xmlns:a16="http://schemas.microsoft.com/office/drawing/2014/main" id="{3CAF310B-3F7A-5842-5C55-4FDE317B9451}"/>
                </a:ext>
              </a:extLst>
            </p:cNvPr>
            <p:cNvSpPr/>
            <p:nvPr/>
          </p:nvSpPr>
          <p:spPr>
            <a:xfrm>
              <a:off x="959826" y="943293"/>
              <a:ext cx="787209" cy="787209"/>
            </a:xfrm>
            <a:custGeom>
              <a:avLst/>
              <a:gdLst>
                <a:gd name="connsiteX0" fmla="*/ 393605 w 787209"/>
                <a:gd name="connsiteY0" fmla="*/ 787210 h 787209"/>
                <a:gd name="connsiteX1" fmla="*/ 0 w 787209"/>
                <a:gd name="connsiteY1" fmla="*/ 393605 h 787209"/>
                <a:gd name="connsiteX2" fmla="*/ 393605 w 787209"/>
                <a:gd name="connsiteY2" fmla="*/ 0 h 787209"/>
                <a:gd name="connsiteX3" fmla="*/ 787210 w 787209"/>
                <a:gd name="connsiteY3" fmla="*/ 393605 h 787209"/>
                <a:gd name="connsiteX4" fmla="*/ 393605 w 787209"/>
                <a:gd name="connsiteY4" fmla="*/ 787210 h 787209"/>
                <a:gd name="connsiteX5" fmla="*/ 393605 w 787209"/>
                <a:gd name="connsiteY5" fmla="*/ 29240 h 787209"/>
                <a:gd name="connsiteX6" fmla="*/ 29240 w 787209"/>
                <a:gd name="connsiteY6" fmla="*/ 393605 h 787209"/>
                <a:gd name="connsiteX7" fmla="*/ 393605 w 787209"/>
                <a:gd name="connsiteY7" fmla="*/ 757970 h 787209"/>
                <a:gd name="connsiteX8" fmla="*/ 757970 w 787209"/>
                <a:gd name="connsiteY8" fmla="*/ 393605 h 787209"/>
                <a:gd name="connsiteX9" fmla="*/ 393605 w 787209"/>
                <a:gd name="connsiteY9" fmla="*/ 29240 h 78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209" h="787209">
                  <a:moveTo>
                    <a:pt x="393605" y="787210"/>
                  </a:moveTo>
                  <a:cubicBezTo>
                    <a:pt x="176574" y="787210"/>
                    <a:pt x="0" y="610636"/>
                    <a:pt x="0" y="393605"/>
                  </a:cubicBezTo>
                  <a:cubicBezTo>
                    <a:pt x="0" y="176574"/>
                    <a:pt x="176574" y="0"/>
                    <a:pt x="393605" y="0"/>
                  </a:cubicBezTo>
                  <a:cubicBezTo>
                    <a:pt x="610636" y="0"/>
                    <a:pt x="787210" y="176574"/>
                    <a:pt x="787210" y="393605"/>
                  </a:cubicBezTo>
                  <a:cubicBezTo>
                    <a:pt x="787210" y="610636"/>
                    <a:pt x="610636" y="787210"/>
                    <a:pt x="393605" y="787210"/>
                  </a:cubicBezTo>
                  <a:close/>
                  <a:moveTo>
                    <a:pt x="393605" y="29240"/>
                  </a:moveTo>
                  <a:cubicBezTo>
                    <a:pt x="192706" y="29240"/>
                    <a:pt x="29240" y="192706"/>
                    <a:pt x="29240" y="393605"/>
                  </a:cubicBezTo>
                  <a:cubicBezTo>
                    <a:pt x="29240" y="594503"/>
                    <a:pt x="192706" y="757970"/>
                    <a:pt x="393605" y="757970"/>
                  </a:cubicBezTo>
                  <a:cubicBezTo>
                    <a:pt x="594503" y="757970"/>
                    <a:pt x="757970" y="594503"/>
                    <a:pt x="757970" y="393605"/>
                  </a:cubicBezTo>
                  <a:cubicBezTo>
                    <a:pt x="757970" y="192706"/>
                    <a:pt x="594503" y="29240"/>
                    <a:pt x="393605" y="29240"/>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670AEEA8-BABA-18F1-F5F3-8131D72CB7CA}"/>
                </a:ext>
              </a:extLst>
            </p:cNvPr>
            <p:cNvSpPr/>
            <p:nvPr/>
          </p:nvSpPr>
          <p:spPr>
            <a:xfrm>
              <a:off x="1875464" y="957912"/>
              <a:ext cx="757969" cy="757969"/>
            </a:xfrm>
            <a:custGeom>
              <a:avLst/>
              <a:gdLst>
                <a:gd name="connsiteX0" fmla="*/ 757970 w 757969"/>
                <a:gd name="connsiteY0" fmla="*/ 378985 h 757969"/>
                <a:gd name="connsiteX1" fmla="*/ 378985 w 757969"/>
                <a:gd name="connsiteY1" fmla="*/ 757970 h 757969"/>
                <a:gd name="connsiteX2" fmla="*/ 0 w 757969"/>
                <a:gd name="connsiteY2" fmla="*/ 378985 h 757969"/>
                <a:gd name="connsiteX3" fmla="*/ 378985 w 757969"/>
                <a:gd name="connsiteY3" fmla="*/ 0 h 757969"/>
                <a:gd name="connsiteX4" fmla="*/ 757970 w 757969"/>
                <a:gd name="connsiteY4" fmla="*/ 378985 h 75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9" h="757969">
                  <a:moveTo>
                    <a:pt x="757970" y="378985"/>
                  </a:moveTo>
                  <a:cubicBezTo>
                    <a:pt x="757970" y="588292"/>
                    <a:pt x="588292" y="757970"/>
                    <a:pt x="378985" y="757970"/>
                  </a:cubicBezTo>
                  <a:cubicBezTo>
                    <a:pt x="169677" y="757970"/>
                    <a:pt x="0" y="588292"/>
                    <a:pt x="0" y="378985"/>
                  </a:cubicBezTo>
                  <a:cubicBezTo>
                    <a:pt x="0" y="169677"/>
                    <a:pt x="169677" y="0"/>
                    <a:pt x="378985" y="0"/>
                  </a:cubicBezTo>
                  <a:cubicBezTo>
                    <a:pt x="588292" y="0"/>
                    <a:pt x="757970" y="169677"/>
                    <a:pt x="757970" y="378985"/>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B742056E-20B1-C924-7D49-673438E10605}"/>
                </a:ext>
              </a:extLst>
            </p:cNvPr>
            <p:cNvSpPr/>
            <p:nvPr/>
          </p:nvSpPr>
          <p:spPr>
            <a:xfrm>
              <a:off x="1860844" y="1843303"/>
              <a:ext cx="787209" cy="787209"/>
            </a:xfrm>
            <a:custGeom>
              <a:avLst/>
              <a:gdLst>
                <a:gd name="connsiteX0" fmla="*/ 393605 w 787209"/>
                <a:gd name="connsiteY0" fmla="*/ 787210 h 787209"/>
                <a:gd name="connsiteX1" fmla="*/ 0 w 787209"/>
                <a:gd name="connsiteY1" fmla="*/ 393605 h 787209"/>
                <a:gd name="connsiteX2" fmla="*/ 393605 w 787209"/>
                <a:gd name="connsiteY2" fmla="*/ 0 h 787209"/>
                <a:gd name="connsiteX3" fmla="*/ 787209 w 787209"/>
                <a:gd name="connsiteY3" fmla="*/ 393605 h 787209"/>
                <a:gd name="connsiteX4" fmla="*/ 393605 w 787209"/>
                <a:gd name="connsiteY4" fmla="*/ 787210 h 787209"/>
                <a:gd name="connsiteX5" fmla="*/ 393605 w 787209"/>
                <a:gd name="connsiteY5" fmla="*/ 29303 h 787209"/>
                <a:gd name="connsiteX6" fmla="*/ 29240 w 787209"/>
                <a:gd name="connsiteY6" fmla="*/ 393668 h 787209"/>
                <a:gd name="connsiteX7" fmla="*/ 393605 w 787209"/>
                <a:gd name="connsiteY7" fmla="*/ 758033 h 787209"/>
                <a:gd name="connsiteX8" fmla="*/ 757969 w 787209"/>
                <a:gd name="connsiteY8" fmla="*/ 393668 h 787209"/>
                <a:gd name="connsiteX9" fmla="*/ 393605 w 787209"/>
                <a:gd name="connsiteY9" fmla="*/ 29303 h 78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209" h="787209">
                  <a:moveTo>
                    <a:pt x="393605" y="787210"/>
                  </a:moveTo>
                  <a:cubicBezTo>
                    <a:pt x="176574" y="787210"/>
                    <a:pt x="0" y="610636"/>
                    <a:pt x="0" y="393605"/>
                  </a:cubicBezTo>
                  <a:cubicBezTo>
                    <a:pt x="0" y="176574"/>
                    <a:pt x="176574" y="0"/>
                    <a:pt x="393605" y="0"/>
                  </a:cubicBezTo>
                  <a:cubicBezTo>
                    <a:pt x="610636" y="0"/>
                    <a:pt x="787209" y="176574"/>
                    <a:pt x="787209" y="393605"/>
                  </a:cubicBezTo>
                  <a:cubicBezTo>
                    <a:pt x="787209" y="610636"/>
                    <a:pt x="610636" y="787210"/>
                    <a:pt x="393605" y="787210"/>
                  </a:cubicBezTo>
                  <a:close/>
                  <a:moveTo>
                    <a:pt x="393605" y="29303"/>
                  </a:moveTo>
                  <a:cubicBezTo>
                    <a:pt x="192706" y="29303"/>
                    <a:pt x="29240" y="192769"/>
                    <a:pt x="29240" y="393668"/>
                  </a:cubicBezTo>
                  <a:cubicBezTo>
                    <a:pt x="29240" y="594566"/>
                    <a:pt x="192706" y="758033"/>
                    <a:pt x="393605" y="758033"/>
                  </a:cubicBezTo>
                  <a:cubicBezTo>
                    <a:pt x="594503" y="758033"/>
                    <a:pt x="757969" y="594566"/>
                    <a:pt x="757969" y="393668"/>
                  </a:cubicBezTo>
                  <a:cubicBezTo>
                    <a:pt x="757969" y="192769"/>
                    <a:pt x="594503" y="29303"/>
                    <a:pt x="393605" y="29303"/>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1D5B2A7B-F2D8-9A50-D788-3F1BAE709C8F}"/>
                </a:ext>
              </a:extLst>
            </p:cNvPr>
            <p:cNvSpPr/>
            <p:nvPr/>
          </p:nvSpPr>
          <p:spPr>
            <a:xfrm>
              <a:off x="1853534" y="2743376"/>
              <a:ext cx="787209" cy="787209"/>
            </a:xfrm>
            <a:custGeom>
              <a:avLst/>
              <a:gdLst>
                <a:gd name="connsiteX0" fmla="*/ 393605 w 787209"/>
                <a:gd name="connsiteY0" fmla="*/ 787209 h 787209"/>
                <a:gd name="connsiteX1" fmla="*/ 0 w 787209"/>
                <a:gd name="connsiteY1" fmla="*/ 393605 h 787209"/>
                <a:gd name="connsiteX2" fmla="*/ 393605 w 787209"/>
                <a:gd name="connsiteY2" fmla="*/ 0 h 787209"/>
                <a:gd name="connsiteX3" fmla="*/ 787209 w 787209"/>
                <a:gd name="connsiteY3" fmla="*/ 393605 h 787209"/>
                <a:gd name="connsiteX4" fmla="*/ 393605 w 787209"/>
                <a:gd name="connsiteY4" fmla="*/ 787209 h 787209"/>
                <a:gd name="connsiteX5" fmla="*/ 393605 w 787209"/>
                <a:gd name="connsiteY5" fmla="*/ 29240 h 787209"/>
                <a:gd name="connsiteX6" fmla="*/ 29240 w 787209"/>
                <a:gd name="connsiteY6" fmla="*/ 393605 h 787209"/>
                <a:gd name="connsiteX7" fmla="*/ 393605 w 787209"/>
                <a:gd name="connsiteY7" fmla="*/ 757970 h 787209"/>
                <a:gd name="connsiteX8" fmla="*/ 757970 w 787209"/>
                <a:gd name="connsiteY8" fmla="*/ 393605 h 787209"/>
                <a:gd name="connsiteX9" fmla="*/ 393605 w 787209"/>
                <a:gd name="connsiteY9" fmla="*/ 29240 h 78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209" h="787209">
                  <a:moveTo>
                    <a:pt x="393605" y="787209"/>
                  </a:moveTo>
                  <a:cubicBezTo>
                    <a:pt x="176574" y="787209"/>
                    <a:pt x="0" y="610636"/>
                    <a:pt x="0" y="393605"/>
                  </a:cubicBezTo>
                  <a:cubicBezTo>
                    <a:pt x="0" y="176574"/>
                    <a:pt x="176574" y="0"/>
                    <a:pt x="393605" y="0"/>
                  </a:cubicBezTo>
                  <a:cubicBezTo>
                    <a:pt x="610636" y="0"/>
                    <a:pt x="787209" y="176574"/>
                    <a:pt x="787209" y="393605"/>
                  </a:cubicBezTo>
                  <a:cubicBezTo>
                    <a:pt x="787209" y="610636"/>
                    <a:pt x="610636" y="787209"/>
                    <a:pt x="393605" y="787209"/>
                  </a:cubicBezTo>
                  <a:close/>
                  <a:moveTo>
                    <a:pt x="393605" y="29240"/>
                  </a:moveTo>
                  <a:cubicBezTo>
                    <a:pt x="192706" y="29240"/>
                    <a:pt x="29240" y="192706"/>
                    <a:pt x="29240" y="393605"/>
                  </a:cubicBezTo>
                  <a:cubicBezTo>
                    <a:pt x="29240" y="594503"/>
                    <a:pt x="192706" y="757970"/>
                    <a:pt x="393605" y="757970"/>
                  </a:cubicBezTo>
                  <a:cubicBezTo>
                    <a:pt x="594503" y="757970"/>
                    <a:pt x="757970" y="594503"/>
                    <a:pt x="757970" y="393605"/>
                  </a:cubicBezTo>
                  <a:cubicBezTo>
                    <a:pt x="757970" y="192706"/>
                    <a:pt x="594503" y="29240"/>
                    <a:pt x="393605" y="29240"/>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44CA78A2-C129-1635-C239-60ED62BC2D58}"/>
                </a:ext>
              </a:extLst>
            </p:cNvPr>
            <p:cNvSpPr/>
            <p:nvPr/>
          </p:nvSpPr>
          <p:spPr>
            <a:xfrm>
              <a:off x="1868154" y="3658069"/>
              <a:ext cx="757969" cy="757969"/>
            </a:xfrm>
            <a:custGeom>
              <a:avLst/>
              <a:gdLst>
                <a:gd name="connsiteX0" fmla="*/ 757970 w 757969"/>
                <a:gd name="connsiteY0" fmla="*/ 378985 h 757969"/>
                <a:gd name="connsiteX1" fmla="*/ 378985 w 757969"/>
                <a:gd name="connsiteY1" fmla="*/ 757970 h 757969"/>
                <a:gd name="connsiteX2" fmla="*/ 0 w 757969"/>
                <a:gd name="connsiteY2" fmla="*/ 378985 h 757969"/>
                <a:gd name="connsiteX3" fmla="*/ 378985 w 757969"/>
                <a:gd name="connsiteY3" fmla="*/ 0 h 757969"/>
                <a:gd name="connsiteX4" fmla="*/ 757970 w 757969"/>
                <a:gd name="connsiteY4" fmla="*/ 378985 h 75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9" h="757969">
                  <a:moveTo>
                    <a:pt x="757970" y="378985"/>
                  </a:moveTo>
                  <a:cubicBezTo>
                    <a:pt x="757970" y="588292"/>
                    <a:pt x="588292" y="757970"/>
                    <a:pt x="378985" y="757970"/>
                  </a:cubicBezTo>
                  <a:cubicBezTo>
                    <a:pt x="169677" y="757970"/>
                    <a:pt x="0" y="588292"/>
                    <a:pt x="0" y="378985"/>
                  </a:cubicBezTo>
                  <a:cubicBezTo>
                    <a:pt x="0" y="169677"/>
                    <a:pt x="169677" y="0"/>
                    <a:pt x="378985" y="0"/>
                  </a:cubicBezTo>
                  <a:cubicBezTo>
                    <a:pt x="588292" y="0"/>
                    <a:pt x="757970" y="169677"/>
                    <a:pt x="757970" y="378985"/>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7EA4CA0E-3692-1029-2C14-D3F72F432D04}"/>
                </a:ext>
              </a:extLst>
            </p:cNvPr>
            <p:cNvSpPr/>
            <p:nvPr/>
          </p:nvSpPr>
          <p:spPr>
            <a:xfrm>
              <a:off x="1000409" y="2766251"/>
              <a:ext cx="475148" cy="232722"/>
            </a:xfrm>
            <a:custGeom>
              <a:avLst/>
              <a:gdLst>
                <a:gd name="connsiteX0" fmla="*/ 431667 w 475148"/>
                <a:gd name="connsiteY0" fmla="*/ 0 h 232722"/>
                <a:gd name="connsiteX1" fmla="*/ 18905 w 475148"/>
                <a:gd name="connsiteY1" fmla="*/ 191698 h 232722"/>
                <a:gd name="connsiteX2" fmla="*/ 0 w 475148"/>
                <a:gd name="connsiteY2" fmla="*/ 232722 h 232722"/>
                <a:gd name="connsiteX3" fmla="*/ 475149 w 475148"/>
                <a:gd name="connsiteY3" fmla="*/ 11973 h 232722"/>
                <a:gd name="connsiteX4" fmla="*/ 431604 w 475148"/>
                <a:gd name="connsiteY4" fmla="*/ 0 h 232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148" h="232722">
                  <a:moveTo>
                    <a:pt x="431667" y="0"/>
                  </a:moveTo>
                  <a:lnTo>
                    <a:pt x="18905" y="191698"/>
                  </a:lnTo>
                  <a:cubicBezTo>
                    <a:pt x="11784" y="204932"/>
                    <a:pt x="5545" y="218606"/>
                    <a:pt x="0" y="232722"/>
                  </a:cubicBezTo>
                  <a:lnTo>
                    <a:pt x="475149" y="11973"/>
                  </a:lnTo>
                  <a:cubicBezTo>
                    <a:pt x="460970" y="7184"/>
                    <a:pt x="446476" y="3088"/>
                    <a:pt x="431604" y="0"/>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4EC5A399-8863-34FC-4468-58F1F28D3A87}"/>
                </a:ext>
              </a:extLst>
            </p:cNvPr>
            <p:cNvSpPr/>
            <p:nvPr/>
          </p:nvSpPr>
          <p:spPr>
            <a:xfrm>
              <a:off x="974446" y="2830402"/>
              <a:ext cx="627398" cy="311745"/>
            </a:xfrm>
            <a:custGeom>
              <a:avLst/>
              <a:gdLst>
                <a:gd name="connsiteX0" fmla="*/ 601876 w 627398"/>
                <a:gd name="connsiteY0" fmla="*/ 0 h 311745"/>
                <a:gd name="connsiteX1" fmla="*/ 1071 w 627398"/>
                <a:gd name="connsiteY1" fmla="*/ 279040 h 311745"/>
                <a:gd name="connsiteX2" fmla="*/ 0 w 627398"/>
                <a:gd name="connsiteY2" fmla="*/ 306515 h 311745"/>
                <a:gd name="connsiteX3" fmla="*/ 63 w 627398"/>
                <a:gd name="connsiteY3" fmla="*/ 311746 h 311745"/>
                <a:gd name="connsiteX4" fmla="*/ 627398 w 627398"/>
                <a:gd name="connsiteY4" fmla="*/ 20355 h 311745"/>
                <a:gd name="connsiteX5" fmla="*/ 601876 w 627398"/>
                <a:gd name="connsiteY5" fmla="*/ 0 h 31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398" h="311745">
                  <a:moveTo>
                    <a:pt x="601876" y="0"/>
                  </a:moveTo>
                  <a:lnTo>
                    <a:pt x="1071" y="279040"/>
                  </a:lnTo>
                  <a:cubicBezTo>
                    <a:pt x="441" y="288114"/>
                    <a:pt x="0" y="297252"/>
                    <a:pt x="0" y="306515"/>
                  </a:cubicBezTo>
                  <a:cubicBezTo>
                    <a:pt x="0" y="308280"/>
                    <a:pt x="0" y="309981"/>
                    <a:pt x="63" y="311746"/>
                  </a:cubicBezTo>
                  <a:lnTo>
                    <a:pt x="627398" y="20355"/>
                  </a:lnTo>
                  <a:cubicBezTo>
                    <a:pt x="619206" y="13234"/>
                    <a:pt x="610699" y="6428"/>
                    <a:pt x="601876" y="0"/>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83EC82D5-41FC-3870-B09D-8C2F37C8B2E9}"/>
                </a:ext>
              </a:extLst>
            </p:cNvPr>
            <p:cNvSpPr/>
            <p:nvPr/>
          </p:nvSpPr>
          <p:spPr>
            <a:xfrm>
              <a:off x="987302" y="2920580"/>
              <a:ext cx="693187" cy="342812"/>
            </a:xfrm>
            <a:custGeom>
              <a:avLst/>
              <a:gdLst>
                <a:gd name="connsiteX0" fmla="*/ 677308 w 693187"/>
                <a:gd name="connsiteY0" fmla="*/ 0 h 342812"/>
                <a:gd name="connsiteX1" fmla="*/ 0 w 693187"/>
                <a:gd name="connsiteY1" fmla="*/ 314644 h 342812"/>
                <a:gd name="connsiteX2" fmla="*/ 8759 w 693187"/>
                <a:gd name="connsiteY2" fmla="*/ 342813 h 342812"/>
                <a:gd name="connsiteX3" fmla="*/ 693188 w 693187"/>
                <a:gd name="connsiteY3" fmla="*/ 24892 h 342812"/>
                <a:gd name="connsiteX4" fmla="*/ 677308 w 693187"/>
                <a:gd name="connsiteY4" fmla="*/ 0 h 34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187" h="342812">
                  <a:moveTo>
                    <a:pt x="677308" y="0"/>
                  </a:moveTo>
                  <a:lnTo>
                    <a:pt x="0" y="314644"/>
                  </a:lnTo>
                  <a:cubicBezTo>
                    <a:pt x="2584" y="324223"/>
                    <a:pt x="5483" y="333549"/>
                    <a:pt x="8759" y="342813"/>
                  </a:cubicBezTo>
                  <a:lnTo>
                    <a:pt x="693188" y="24892"/>
                  </a:lnTo>
                  <a:cubicBezTo>
                    <a:pt x="688210" y="16384"/>
                    <a:pt x="682916" y="8066"/>
                    <a:pt x="677308" y="0"/>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46B49534-436D-9049-95A8-6BC9A4C8326F}"/>
                </a:ext>
              </a:extLst>
            </p:cNvPr>
            <p:cNvSpPr/>
            <p:nvPr/>
          </p:nvSpPr>
          <p:spPr>
            <a:xfrm>
              <a:off x="1120331" y="3151664"/>
              <a:ext cx="611706" cy="303679"/>
            </a:xfrm>
            <a:custGeom>
              <a:avLst/>
              <a:gdLst>
                <a:gd name="connsiteX0" fmla="*/ 611707 w 611706"/>
                <a:gd name="connsiteY0" fmla="*/ 0 h 303679"/>
                <a:gd name="connsiteX1" fmla="*/ 0 w 611706"/>
                <a:gd name="connsiteY1" fmla="*/ 284144 h 303679"/>
                <a:gd name="connsiteX2" fmla="*/ 27412 w 611706"/>
                <a:gd name="connsiteY2" fmla="*/ 303679 h 303679"/>
                <a:gd name="connsiteX3" fmla="*/ 608997 w 611706"/>
                <a:gd name="connsiteY3" fmla="*/ 33525 h 303679"/>
                <a:gd name="connsiteX4" fmla="*/ 611707 w 611706"/>
                <a:gd name="connsiteY4" fmla="*/ 0 h 30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06" h="303679">
                  <a:moveTo>
                    <a:pt x="611707" y="0"/>
                  </a:moveTo>
                  <a:lnTo>
                    <a:pt x="0" y="284144"/>
                  </a:lnTo>
                  <a:cubicBezTo>
                    <a:pt x="8822" y="291013"/>
                    <a:pt x="17960" y="297567"/>
                    <a:pt x="27412" y="303679"/>
                  </a:cubicBezTo>
                  <a:lnTo>
                    <a:pt x="608997" y="33525"/>
                  </a:lnTo>
                  <a:cubicBezTo>
                    <a:pt x="610384" y="22497"/>
                    <a:pt x="611266" y="11343"/>
                    <a:pt x="611707" y="0"/>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689691FF-4E5A-5178-1904-805B3963F43A}"/>
                </a:ext>
              </a:extLst>
            </p:cNvPr>
            <p:cNvSpPr/>
            <p:nvPr/>
          </p:nvSpPr>
          <p:spPr>
            <a:xfrm>
              <a:off x="1212588" y="3299691"/>
              <a:ext cx="483152" cy="252068"/>
            </a:xfrm>
            <a:custGeom>
              <a:avLst/>
              <a:gdLst>
                <a:gd name="connsiteX0" fmla="*/ 483152 w 483152"/>
                <a:gd name="connsiteY0" fmla="*/ 0 h 252068"/>
                <a:gd name="connsiteX1" fmla="*/ 0 w 483152"/>
                <a:gd name="connsiteY1" fmla="*/ 224404 h 252068"/>
                <a:gd name="connsiteX2" fmla="*/ 9768 w 483152"/>
                <a:gd name="connsiteY2" fmla="*/ 252068 h 252068"/>
                <a:gd name="connsiteX3" fmla="*/ 458764 w 483152"/>
                <a:gd name="connsiteY3" fmla="*/ 43545 h 252068"/>
                <a:gd name="connsiteX4" fmla="*/ 483152 w 483152"/>
                <a:gd name="connsiteY4" fmla="*/ 0 h 252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152" h="252068">
                  <a:moveTo>
                    <a:pt x="483152" y="0"/>
                  </a:moveTo>
                  <a:lnTo>
                    <a:pt x="0" y="224404"/>
                  </a:lnTo>
                  <a:cubicBezTo>
                    <a:pt x="4159" y="233226"/>
                    <a:pt x="7436" y="242553"/>
                    <a:pt x="9768" y="252068"/>
                  </a:cubicBezTo>
                  <a:lnTo>
                    <a:pt x="458764" y="43545"/>
                  </a:lnTo>
                  <a:cubicBezTo>
                    <a:pt x="467839" y="29618"/>
                    <a:pt x="475968" y="15061"/>
                    <a:pt x="483152" y="0"/>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34ECABE0-63C6-AD5D-DB90-32A3D3DDF1FA}"/>
                </a:ext>
              </a:extLst>
            </p:cNvPr>
            <p:cNvSpPr/>
            <p:nvPr/>
          </p:nvSpPr>
          <p:spPr>
            <a:xfrm>
              <a:off x="1035825" y="3027709"/>
              <a:ext cx="687894" cy="340355"/>
            </a:xfrm>
            <a:custGeom>
              <a:avLst/>
              <a:gdLst>
                <a:gd name="connsiteX0" fmla="*/ 680522 w 687894"/>
                <a:gd name="connsiteY0" fmla="*/ 63 h 340355"/>
                <a:gd name="connsiteX1" fmla="*/ 0 w 687894"/>
                <a:gd name="connsiteY1" fmla="*/ 316157 h 340355"/>
                <a:gd name="connsiteX2" fmla="*/ 17204 w 687894"/>
                <a:gd name="connsiteY2" fmla="*/ 340355 h 340355"/>
                <a:gd name="connsiteX3" fmla="*/ 687895 w 687894"/>
                <a:gd name="connsiteY3" fmla="*/ 28799 h 340355"/>
                <a:gd name="connsiteX4" fmla="*/ 680459 w 687894"/>
                <a:gd name="connsiteY4" fmla="*/ 0 h 340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894" h="340355">
                  <a:moveTo>
                    <a:pt x="680522" y="63"/>
                  </a:moveTo>
                  <a:lnTo>
                    <a:pt x="0" y="316157"/>
                  </a:lnTo>
                  <a:cubicBezTo>
                    <a:pt x="5419" y="324475"/>
                    <a:pt x="11217" y="332541"/>
                    <a:pt x="17204" y="340355"/>
                  </a:cubicBezTo>
                  <a:lnTo>
                    <a:pt x="687895" y="28799"/>
                  </a:lnTo>
                  <a:cubicBezTo>
                    <a:pt x="685815" y="19031"/>
                    <a:pt x="683294" y="9453"/>
                    <a:pt x="680459" y="0"/>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4E366893-F346-AC91-2411-8E5AB67451D1}"/>
                </a:ext>
              </a:extLst>
            </p:cNvPr>
            <p:cNvSpPr/>
            <p:nvPr/>
          </p:nvSpPr>
          <p:spPr>
            <a:xfrm>
              <a:off x="1159401" y="3524472"/>
              <a:ext cx="334809" cy="187728"/>
            </a:xfrm>
            <a:custGeom>
              <a:avLst/>
              <a:gdLst>
                <a:gd name="connsiteX0" fmla="*/ 334810 w 334809"/>
                <a:gd name="connsiteY0" fmla="*/ 0 h 187728"/>
                <a:gd name="connsiteX1" fmla="*/ 50288 w 334809"/>
                <a:gd name="connsiteY1" fmla="*/ 132147 h 187728"/>
                <a:gd name="connsiteX2" fmla="*/ 0 w 334809"/>
                <a:gd name="connsiteY2" fmla="*/ 187728 h 187728"/>
                <a:gd name="connsiteX3" fmla="*/ 322900 w 334809"/>
                <a:gd name="connsiteY3" fmla="*/ 37747 h 187728"/>
                <a:gd name="connsiteX4" fmla="*/ 334810 w 334809"/>
                <a:gd name="connsiteY4" fmla="*/ 0 h 18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09" h="187728">
                  <a:moveTo>
                    <a:pt x="334810" y="0"/>
                  </a:moveTo>
                  <a:lnTo>
                    <a:pt x="50288" y="132147"/>
                  </a:lnTo>
                  <a:cubicBezTo>
                    <a:pt x="38692" y="154329"/>
                    <a:pt x="21552" y="173549"/>
                    <a:pt x="0" y="187728"/>
                  </a:cubicBezTo>
                  <a:lnTo>
                    <a:pt x="322900" y="37747"/>
                  </a:lnTo>
                  <a:cubicBezTo>
                    <a:pt x="325168" y="24577"/>
                    <a:pt x="329201" y="11910"/>
                    <a:pt x="334810" y="0"/>
                  </a:cubicBez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2D741771-C5BB-91C0-224E-1AEFA33C3E6C}"/>
                </a:ext>
              </a:extLst>
            </p:cNvPr>
            <p:cNvSpPr/>
            <p:nvPr/>
          </p:nvSpPr>
          <p:spPr>
            <a:xfrm>
              <a:off x="993036" y="3654792"/>
              <a:ext cx="518945" cy="265932"/>
            </a:xfrm>
            <a:custGeom>
              <a:avLst/>
              <a:gdLst>
                <a:gd name="connsiteX0" fmla="*/ 503128 w 518945"/>
                <a:gd name="connsiteY0" fmla="*/ 0 h 265932"/>
                <a:gd name="connsiteX1" fmla="*/ 15250 w 518945"/>
                <a:gd name="connsiteY1" fmla="*/ 226610 h 265932"/>
                <a:gd name="connsiteX2" fmla="*/ 0 w 518945"/>
                <a:gd name="connsiteY2" fmla="*/ 265932 h 265932"/>
                <a:gd name="connsiteX3" fmla="*/ 518946 w 518945"/>
                <a:gd name="connsiteY3" fmla="*/ 24892 h 265932"/>
                <a:gd name="connsiteX4" fmla="*/ 503128 w 518945"/>
                <a:gd name="connsiteY4" fmla="*/ 0 h 265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945" h="265932">
                  <a:moveTo>
                    <a:pt x="503128" y="0"/>
                  </a:moveTo>
                  <a:lnTo>
                    <a:pt x="15250" y="226610"/>
                  </a:lnTo>
                  <a:cubicBezTo>
                    <a:pt x="9453" y="239339"/>
                    <a:pt x="4411" y="252510"/>
                    <a:pt x="0" y="265932"/>
                  </a:cubicBezTo>
                  <a:lnTo>
                    <a:pt x="518946" y="24892"/>
                  </a:lnTo>
                  <a:cubicBezTo>
                    <a:pt x="512833" y="17141"/>
                    <a:pt x="507540" y="8823"/>
                    <a:pt x="503128" y="0"/>
                  </a:cubicBez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D2B7FAB9-96C0-1F72-0799-1B75FAF2AA3A}"/>
                </a:ext>
              </a:extLst>
            </p:cNvPr>
            <p:cNvSpPr/>
            <p:nvPr/>
          </p:nvSpPr>
          <p:spPr>
            <a:xfrm>
              <a:off x="1044773" y="3944040"/>
              <a:ext cx="682096" cy="337582"/>
            </a:xfrm>
            <a:custGeom>
              <a:avLst/>
              <a:gdLst>
                <a:gd name="connsiteX0" fmla="*/ 675795 w 682096"/>
                <a:gd name="connsiteY0" fmla="*/ 0 h 337582"/>
                <a:gd name="connsiteX1" fmla="*/ 0 w 682096"/>
                <a:gd name="connsiteY1" fmla="*/ 313888 h 337582"/>
                <a:gd name="connsiteX2" fmla="*/ 18401 w 682096"/>
                <a:gd name="connsiteY2" fmla="*/ 337583 h 337582"/>
                <a:gd name="connsiteX3" fmla="*/ 682097 w 682096"/>
                <a:gd name="connsiteY3" fmla="*/ 29303 h 337582"/>
                <a:gd name="connsiteX4" fmla="*/ 675795 w 682096"/>
                <a:gd name="connsiteY4" fmla="*/ 0 h 33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096" h="337582">
                  <a:moveTo>
                    <a:pt x="675795" y="0"/>
                  </a:moveTo>
                  <a:lnTo>
                    <a:pt x="0" y="313888"/>
                  </a:lnTo>
                  <a:cubicBezTo>
                    <a:pt x="5798" y="322017"/>
                    <a:pt x="11973" y="329957"/>
                    <a:pt x="18401" y="337583"/>
                  </a:cubicBezTo>
                  <a:lnTo>
                    <a:pt x="682097" y="29303"/>
                  </a:lnTo>
                  <a:cubicBezTo>
                    <a:pt x="680396" y="19409"/>
                    <a:pt x="678253" y="9641"/>
                    <a:pt x="675795" y="0"/>
                  </a:cubicBez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E81C64F4-016C-FA52-34F4-10998FF4F671}"/>
                </a:ext>
              </a:extLst>
            </p:cNvPr>
            <p:cNvSpPr/>
            <p:nvPr/>
          </p:nvSpPr>
          <p:spPr>
            <a:xfrm>
              <a:off x="974446" y="3742196"/>
              <a:ext cx="639938" cy="317984"/>
            </a:xfrm>
            <a:custGeom>
              <a:avLst/>
              <a:gdLst>
                <a:gd name="connsiteX0" fmla="*/ 615866 w 639938"/>
                <a:gd name="connsiteY0" fmla="*/ 0 h 317984"/>
                <a:gd name="connsiteX1" fmla="*/ 189 w 639938"/>
                <a:gd name="connsiteY1" fmla="*/ 285972 h 317984"/>
                <a:gd name="connsiteX2" fmla="*/ 0 w 639938"/>
                <a:gd name="connsiteY2" fmla="*/ 295802 h 317984"/>
                <a:gd name="connsiteX3" fmla="*/ 693 w 639938"/>
                <a:gd name="connsiteY3" fmla="*/ 317984 h 317984"/>
                <a:gd name="connsiteX4" fmla="*/ 639939 w 639938"/>
                <a:gd name="connsiteY4" fmla="*/ 21048 h 317984"/>
                <a:gd name="connsiteX5" fmla="*/ 615866 w 639938"/>
                <a:gd name="connsiteY5" fmla="*/ 0 h 3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938" h="317984">
                  <a:moveTo>
                    <a:pt x="615866" y="0"/>
                  </a:moveTo>
                  <a:lnTo>
                    <a:pt x="189" y="285972"/>
                  </a:lnTo>
                  <a:cubicBezTo>
                    <a:pt x="126" y="289249"/>
                    <a:pt x="0" y="292526"/>
                    <a:pt x="0" y="295802"/>
                  </a:cubicBezTo>
                  <a:cubicBezTo>
                    <a:pt x="0" y="303238"/>
                    <a:pt x="252" y="310611"/>
                    <a:pt x="693" y="317984"/>
                  </a:cubicBezTo>
                  <a:lnTo>
                    <a:pt x="639939" y="21048"/>
                  </a:lnTo>
                  <a:cubicBezTo>
                    <a:pt x="632188" y="13738"/>
                    <a:pt x="624184" y="6680"/>
                    <a:pt x="615866" y="0"/>
                  </a:cubicBez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74818A03-61D9-8922-5323-E59D26561753}"/>
                </a:ext>
              </a:extLst>
            </p:cNvPr>
            <p:cNvSpPr/>
            <p:nvPr/>
          </p:nvSpPr>
          <p:spPr>
            <a:xfrm>
              <a:off x="991776" y="3834832"/>
              <a:ext cx="696401" cy="344262"/>
            </a:xfrm>
            <a:custGeom>
              <a:avLst/>
              <a:gdLst>
                <a:gd name="connsiteX0" fmla="*/ 681530 w 696401"/>
                <a:gd name="connsiteY0" fmla="*/ 0 h 344262"/>
                <a:gd name="connsiteX1" fmla="*/ 0 w 696401"/>
                <a:gd name="connsiteY1" fmla="*/ 316598 h 344262"/>
                <a:gd name="connsiteX2" fmla="*/ 9894 w 696401"/>
                <a:gd name="connsiteY2" fmla="*/ 344262 h 344262"/>
                <a:gd name="connsiteX3" fmla="*/ 696402 w 696401"/>
                <a:gd name="connsiteY3" fmla="*/ 25396 h 344262"/>
                <a:gd name="connsiteX4" fmla="*/ 681593 w 696401"/>
                <a:gd name="connsiteY4" fmla="*/ 63 h 344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401" h="344262">
                  <a:moveTo>
                    <a:pt x="681530" y="0"/>
                  </a:moveTo>
                  <a:lnTo>
                    <a:pt x="0" y="316598"/>
                  </a:lnTo>
                  <a:cubicBezTo>
                    <a:pt x="2962" y="325988"/>
                    <a:pt x="6239" y="335188"/>
                    <a:pt x="9894" y="344262"/>
                  </a:cubicBezTo>
                  <a:lnTo>
                    <a:pt x="696402" y="25396"/>
                  </a:lnTo>
                  <a:cubicBezTo>
                    <a:pt x="691802" y="16763"/>
                    <a:pt x="686823" y="8318"/>
                    <a:pt x="681593" y="63"/>
                  </a:cubicBez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A98733EB-DF9D-4AA3-0057-273344C7A5BB}"/>
                </a:ext>
              </a:extLst>
            </p:cNvPr>
            <p:cNvSpPr/>
            <p:nvPr/>
          </p:nvSpPr>
          <p:spPr>
            <a:xfrm>
              <a:off x="1134573" y="4070453"/>
              <a:ext cx="596393" cy="295991"/>
            </a:xfrm>
            <a:custGeom>
              <a:avLst/>
              <a:gdLst>
                <a:gd name="connsiteX0" fmla="*/ 596394 w 596393"/>
                <a:gd name="connsiteY0" fmla="*/ 0 h 295991"/>
                <a:gd name="connsiteX1" fmla="*/ 0 w 596393"/>
                <a:gd name="connsiteY1" fmla="*/ 277023 h 295991"/>
                <a:gd name="connsiteX2" fmla="*/ 20859 w 596393"/>
                <a:gd name="connsiteY2" fmla="*/ 290824 h 295991"/>
                <a:gd name="connsiteX3" fmla="*/ 28673 w 596393"/>
                <a:gd name="connsiteY3" fmla="*/ 295991 h 295991"/>
                <a:gd name="connsiteX4" fmla="*/ 591919 w 596393"/>
                <a:gd name="connsiteY4" fmla="*/ 34344 h 295991"/>
                <a:gd name="connsiteX5" fmla="*/ 596394 w 596393"/>
                <a:gd name="connsiteY5" fmla="*/ 0 h 29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6393" h="295991">
                  <a:moveTo>
                    <a:pt x="596394" y="0"/>
                  </a:moveTo>
                  <a:lnTo>
                    <a:pt x="0" y="277023"/>
                  </a:lnTo>
                  <a:cubicBezTo>
                    <a:pt x="6806" y="281812"/>
                    <a:pt x="13738" y="286413"/>
                    <a:pt x="20859" y="290824"/>
                  </a:cubicBezTo>
                  <a:cubicBezTo>
                    <a:pt x="23505" y="292462"/>
                    <a:pt x="26152" y="294164"/>
                    <a:pt x="28673" y="295991"/>
                  </a:cubicBezTo>
                  <a:lnTo>
                    <a:pt x="591919" y="34344"/>
                  </a:lnTo>
                  <a:cubicBezTo>
                    <a:pt x="593936" y="23064"/>
                    <a:pt x="595448" y="11595"/>
                    <a:pt x="596394" y="0"/>
                  </a:cubicBez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F6839BF3-2C98-ED32-C1D3-32F63CB40779}"/>
                </a:ext>
              </a:extLst>
            </p:cNvPr>
            <p:cNvSpPr/>
            <p:nvPr/>
          </p:nvSpPr>
          <p:spPr>
            <a:xfrm>
              <a:off x="1098275" y="4446475"/>
              <a:ext cx="387933" cy="212430"/>
            </a:xfrm>
            <a:custGeom>
              <a:avLst/>
              <a:gdLst>
                <a:gd name="connsiteX0" fmla="*/ 387933 w 387933"/>
                <a:gd name="connsiteY0" fmla="*/ 0 h 212430"/>
                <a:gd name="connsiteX1" fmla="*/ 95219 w 387933"/>
                <a:gd name="connsiteY1" fmla="*/ 135991 h 212430"/>
                <a:gd name="connsiteX2" fmla="*/ 57220 w 387933"/>
                <a:gd name="connsiteY2" fmla="*/ 169390 h 212430"/>
                <a:gd name="connsiteX3" fmla="*/ 0 w 387933"/>
                <a:gd name="connsiteY3" fmla="*/ 212431 h 212430"/>
                <a:gd name="connsiteX4" fmla="*/ 382073 w 387933"/>
                <a:gd name="connsiteY4" fmla="*/ 34974 h 212430"/>
                <a:gd name="connsiteX5" fmla="*/ 387933 w 387933"/>
                <a:gd name="connsiteY5" fmla="*/ 0 h 21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933" h="212430">
                  <a:moveTo>
                    <a:pt x="387933" y="0"/>
                  </a:moveTo>
                  <a:lnTo>
                    <a:pt x="95219" y="135991"/>
                  </a:lnTo>
                  <a:cubicBezTo>
                    <a:pt x="84695" y="149036"/>
                    <a:pt x="71902" y="160379"/>
                    <a:pt x="57220" y="169390"/>
                  </a:cubicBezTo>
                  <a:cubicBezTo>
                    <a:pt x="36802" y="181930"/>
                    <a:pt x="17645" y="196361"/>
                    <a:pt x="0" y="212431"/>
                  </a:cubicBezTo>
                  <a:lnTo>
                    <a:pt x="382073" y="34974"/>
                  </a:lnTo>
                  <a:cubicBezTo>
                    <a:pt x="382640" y="23001"/>
                    <a:pt x="384656" y="11280"/>
                    <a:pt x="387933" y="0"/>
                  </a:cubicBez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0BCFD92A-48D0-54E3-516C-9ED343458373}"/>
                </a:ext>
              </a:extLst>
            </p:cNvPr>
            <p:cNvSpPr/>
            <p:nvPr/>
          </p:nvSpPr>
          <p:spPr>
            <a:xfrm>
              <a:off x="1218448" y="4223395"/>
              <a:ext cx="465507" cy="245262"/>
            </a:xfrm>
            <a:custGeom>
              <a:avLst/>
              <a:gdLst>
                <a:gd name="connsiteX0" fmla="*/ 465507 w 465507"/>
                <a:gd name="connsiteY0" fmla="*/ 63 h 245262"/>
                <a:gd name="connsiteX1" fmla="*/ 0 w 465507"/>
                <a:gd name="connsiteY1" fmla="*/ 216275 h 245262"/>
                <a:gd name="connsiteX2" fmla="*/ 6932 w 465507"/>
                <a:gd name="connsiteY2" fmla="*/ 245262 h 245262"/>
                <a:gd name="connsiteX3" fmla="*/ 434503 w 465507"/>
                <a:gd name="connsiteY3" fmla="*/ 46632 h 245262"/>
                <a:gd name="connsiteX4" fmla="*/ 465444 w 465507"/>
                <a:gd name="connsiteY4" fmla="*/ 0 h 245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507" h="245262">
                  <a:moveTo>
                    <a:pt x="465507" y="63"/>
                  </a:moveTo>
                  <a:lnTo>
                    <a:pt x="0" y="216275"/>
                  </a:lnTo>
                  <a:cubicBezTo>
                    <a:pt x="3214" y="225664"/>
                    <a:pt x="5609" y="235369"/>
                    <a:pt x="6932" y="245262"/>
                  </a:cubicBezTo>
                  <a:lnTo>
                    <a:pt x="434503" y="46632"/>
                  </a:lnTo>
                  <a:cubicBezTo>
                    <a:pt x="445909" y="31887"/>
                    <a:pt x="456307" y="16321"/>
                    <a:pt x="465444" y="0"/>
                  </a:cubicBez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4982278D-7094-5B7E-8833-674DACF47A78}"/>
                </a:ext>
              </a:extLst>
            </p:cNvPr>
            <p:cNvSpPr/>
            <p:nvPr/>
          </p:nvSpPr>
          <p:spPr>
            <a:xfrm>
              <a:off x="987113" y="4569359"/>
              <a:ext cx="535771" cy="272423"/>
            </a:xfrm>
            <a:custGeom>
              <a:avLst/>
              <a:gdLst>
                <a:gd name="connsiteX0" fmla="*/ 516992 w 535771"/>
                <a:gd name="connsiteY0" fmla="*/ 0 h 272423"/>
                <a:gd name="connsiteX1" fmla="*/ 12225 w 535771"/>
                <a:gd name="connsiteY1" fmla="*/ 234487 h 272423"/>
                <a:gd name="connsiteX2" fmla="*/ 0 w 535771"/>
                <a:gd name="connsiteY2" fmla="*/ 272423 h 272423"/>
                <a:gd name="connsiteX3" fmla="*/ 535771 w 535771"/>
                <a:gd name="connsiteY3" fmla="*/ 23568 h 272423"/>
                <a:gd name="connsiteX4" fmla="*/ 516992 w 535771"/>
                <a:gd name="connsiteY4" fmla="*/ 63 h 272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771" h="272423">
                  <a:moveTo>
                    <a:pt x="516992" y="0"/>
                  </a:moveTo>
                  <a:lnTo>
                    <a:pt x="12225" y="234487"/>
                  </a:lnTo>
                  <a:cubicBezTo>
                    <a:pt x="7499" y="246838"/>
                    <a:pt x="3403" y="259504"/>
                    <a:pt x="0" y="272423"/>
                  </a:cubicBezTo>
                  <a:lnTo>
                    <a:pt x="535771" y="23568"/>
                  </a:lnTo>
                  <a:cubicBezTo>
                    <a:pt x="528713" y="16322"/>
                    <a:pt x="522412" y="8444"/>
                    <a:pt x="516992" y="63"/>
                  </a:cubicBez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1BF35002-954A-E457-8AFC-492518D6A757}"/>
                </a:ext>
              </a:extLst>
            </p:cNvPr>
            <p:cNvSpPr/>
            <p:nvPr/>
          </p:nvSpPr>
          <p:spPr>
            <a:xfrm>
              <a:off x="974635" y="4654306"/>
              <a:ext cx="651596" cy="323529"/>
            </a:xfrm>
            <a:custGeom>
              <a:avLst/>
              <a:gdLst>
                <a:gd name="connsiteX0" fmla="*/ 628848 w 651596"/>
                <a:gd name="connsiteY0" fmla="*/ 63 h 323529"/>
                <a:gd name="connsiteX1" fmla="*/ 0 w 651596"/>
                <a:gd name="connsiteY1" fmla="*/ 292147 h 323529"/>
                <a:gd name="connsiteX2" fmla="*/ 1764 w 651596"/>
                <a:gd name="connsiteY2" fmla="*/ 323530 h 323529"/>
                <a:gd name="connsiteX3" fmla="*/ 651597 w 651596"/>
                <a:gd name="connsiteY3" fmla="*/ 21678 h 323529"/>
                <a:gd name="connsiteX4" fmla="*/ 628848 w 651596"/>
                <a:gd name="connsiteY4" fmla="*/ 0 h 323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96" h="323529">
                  <a:moveTo>
                    <a:pt x="628848" y="63"/>
                  </a:moveTo>
                  <a:lnTo>
                    <a:pt x="0" y="292147"/>
                  </a:lnTo>
                  <a:cubicBezTo>
                    <a:pt x="189" y="302734"/>
                    <a:pt x="756" y="313195"/>
                    <a:pt x="1764" y="323530"/>
                  </a:cubicBezTo>
                  <a:lnTo>
                    <a:pt x="651597" y="21678"/>
                  </a:lnTo>
                  <a:cubicBezTo>
                    <a:pt x="644350" y="14116"/>
                    <a:pt x="636725" y="6932"/>
                    <a:pt x="628848" y="0"/>
                  </a:cubicBez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2507582A-163B-AD62-81A4-E5C4954B0B53}"/>
                </a:ext>
              </a:extLst>
            </p:cNvPr>
            <p:cNvSpPr/>
            <p:nvPr/>
          </p:nvSpPr>
          <p:spPr>
            <a:xfrm>
              <a:off x="1054415" y="4860687"/>
              <a:ext cx="674849" cy="334305"/>
            </a:xfrm>
            <a:custGeom>
              <a:avLst/>
              <a:gdLst>
                <a:gd name="connsiteX0" fmla="*/ 669809 w 674849"/>
                <a:gd name="connsiteY0" fmla="*/ 0 h 334305"/>
                <a:gd name="connsiteX1" fmla="*/ 0 w 674849"/>
                <a:gd name="connsiteY1" fmla="*/ 311115 h 334305"/>
                <a:gd name="connsiteX2" fmla="*/ 19472 w 674849"/>
                <a:gd name="connsiteY2" fmla="*/ 334306 h 334305"/>
                <a:gd name="connsiteX3" fmla="*/ 674850 w 674849"/>
                <a:gd name="connsiteY3" fmla="*/ 29870 h 334305"/>
                <a:gd name="connsiteX4" fmla="*/ 669746 w 674849"/>
                <a:gd name="connsiteY4" fmla="*/ 0 h 334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849" h="334305">
                  <a:moveTo>
                    <a:pt x="669809" y="0"/>
                  </a:moveTo>
                  <a:lnTo>
                    <a:pt x="0" y="311115"/>
                  </a:lnTo>
                  <a:cubicBezTo>
                    <a:pt x="6239" y="319118"/>
                    <a:pt x="12666" y="326870"/>
                    <a:pt x="19472" y="334306"/>
                  </a:cubicBezTo>
                  <a:lnTo>
                    <a:pt x="674850" y="29870"/>
                  </a:lnTo>
                  <a:cubicBezTo>
                    <a:pt x="673590" y="19787"/>
                    <a:pt x="671825" y="9831"/>
                    <a:pt x="669746" y="0"/>
                  </a:cubicBez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7ABC36E7-76C6-3F23-FF7F-315CD6C57863}"/>
                </a:ext>
              </a:extLst>
            </p:cNvPr>
            <p:cNvSpPr/>
            <p:nvPr/>
          </p:nvSpPr>
          <p:spPr>
            <a:xfrm>
              <a:off x="1309886" y="5148486"/>
              <a:ext cx="359512" cy="169578"/>
            </a:xfrm>
            <a:custGeom>
              <a:avLst/>
              <a:gdLst>
                <a:gd name="connsiteX0" fmla="*/ 43545 w 359512"/>
                <a:gd name="connsiteY0" fmla="*/ 169579 h 169578"/>
                <a:gd name="connsiteX1" fmla="*/ 65349 w 359512"/>
                <a:gd name="connsiteY1" fmla="*/ 168886 h 169578"/>
                <a:gd name="connsiteX2" fmla="*/ 318804 w 359512"/>
                <a:gd name="connsiteY2" fmla="*/ 51170 h 169578"/>
                <a:gd name="connsiteX3" fmla="*/ 359513 w 359512"/>
                <a:gd name="connsiteY3" fmla="*/ 0 h 169578"/>
                <a:gd name="connsiteX4" fmla="*/ 0 w 359512"/>
                <a:gd name="connsiteY4" fmla="*/ 166995 h 169578"/>
                <a:gd name="connsiteX5" fmla="*/ 43545 w 359512"/>
                <a:gd name="connsiteY5" fmla="*/ 169579 h 16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12" h="169578">
                  <a:moveTo>
                    <a:pt x="43545" y="169579"/>
                  </a:moveTo>
                  <a:cubicBezTo>
                    <a:pt x="50855" y="169579"/>
                    <a:pt x="58102" y="169327"/>
                    <a:pt x="65349" y="168886"/>
                  </a:cubicBezTo>
                  <a:lnTo>
                    <a:pt x="318804" y="51170"/>
                  </a:lnTo>
                  <a:cubicBezTo>
                    <a:pt x="333802" y="35352"/>
                    <a:pt x="347413" y="18275"/>
                    <a:pt x="359513" y="0"/>
                  </a:cubicBezTo>
                  <a:lnTo>
                    <a:pt x="0" y="166995"/>
                  </a:lnTo>
                  <a:cubicBezTo>
                    <a:pt x="14305" y="168634"/>
                    <a:pt x="28799" y="169579"/>
                    <a:pt x="43545" y="169579"/>
                  </a:cubicBez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1AA7D690-38DB-8AF3-3255-C38CEF1A6000}"/>
                </a:ext>
              </a:extLst>
            </p:cNvPr>
            <p:cNvSpPr/>
            <p:nvPr/>
          </p:nvSpPr>
          <p:spPr>
            <a:xfrm>
              <a:off x="996754" y="4749336"/>
              <a:ext cx="698418" cy="345144"/>
            </a:xfrm>
            <a:custGeom>
              <a:avLst/>
              <a:gdLst>
                <a:gd name="connsiteX0" fmla="*/ 684744 w 698418"/>
                <a:gd name="connsiteY0" fmla="*/ 0 h 345144"/>
                <a:gd name="connsiteX1" fmla="*/ 0 w 698418"/>
                <a:gd name="connsiteY1" fmla="*/ 318047 h 345144"/>
                <a:gd name="connsiteX2" fmla="*/ 11028 w 698418"/>
                <a:gd name="connsiteY2" fmla="*/ 345145 h 345144"/>
                <a:gd name="connsiteX3" fmla="*/ 698418 w 698418"/>
                <a:gd name="connsiteY3" fmla="*/ 25837 h 345144"/>
                <a:gd name="connsiteX4" fmla="*/ 684681 w 698418"/>
                <a:gd name="connsiteY4" fmla="*/ 0 h 345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418" h="345144">
                  <a:moveTo>
                    <a:pt x="684744" y="0"/>
                  </a:moveTo>
                  <a:lnTo>
                    <a:pt x="0" y="318047"/>
                  </a:lnTo>
                  <a:cubicBezTo>
                    <a:pt x="3340" y="327248"/>
                    <a:pt x="7058" y="336259"/>
                    <a:pt x="11028" y="345145"/>
                  </a:cubicBezTo>
                  <a:lnTo>
                    <a:pt x="698418" y="25837"/>
                  </a:lnTo>
                  <a:cubicBezTo>
                    <a:pt x="694196" y="17015"/>
                    <a:pt x="689596" y="8381"/>
                    <a:pt x="684681" y="0"/>
                  </a:cubicBez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9E749D19-72CD-BD1E-1A3A-AFA9C0B812D3}"/>
                </a:ext>
              </a:extLst>
            </p:cNvPr>
            <p:cNvSpPr/>
            <p:nvPr/>
          </p:nvSpPr>
          <p:spPr>
            <a:xfrm>
              <a:off x="1149823" y="4989683"/>
              <a:ext cx="579127" cy="286853"/>
            </a:xfrm>
            <a:custGeom>
              <a:avLst/>
              <a:gdLst>
                <a:gd name="connsiteX0" fmla="*/ 579127 w 579127"/>
                <a:gd name="connsiteY0" fmla="*/ 0 h 286853"/>
                <a:gd name="connsiteX1" fmla="*/ 0 w 579127"/>
                <a:gd name="connsiteY1" fmla="*/ 269020 h 286853"/>
                <a:gd name="connsiteX2" fmla="*/ 31067 w 579127"/>
                <a:gd name="connsiteY2" fmla="*/ 286854 h 286853"/>
                <a:gd name="connsiteX3" fmla="*/ 572762 w 579127"/>
                <a:gd name="connsiteY3" fmla="*/ 35227 h 286853"/>
                <a:gd name="connsiteX4" fmla="*/ 579127 w 579127"/>
                <a:gd name="connsiteY4" fmla="*/ 0 h 286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127" h="286853">
                  <a:moveTo>
                    <a:pt x="579127" y="0"/>
                  </a:moveTo>
                  <a:lnTo>
                    <a:pt x="0" y="269020"/>
                  </a:lnTo>
                  <a:cubicBezTo>
                    <a:pt x="10020" y="275448"/>
                    <a:pt x="20418" y="281371"/>
                    <a:pt x="31067" y="286854"/>
                  </a:cubicBezTo>
                  <a:lnTo>
                    <a:pt x="572762" y="35227"/>
                  </a:lnTo>
                  <a:cubicBezTo>
                    <a:pt x="575409" y="23694"/>
                    <a:pt x="577552" y="11973"/>
                    <a:pt x="579127" y="0"/>
                  </a:cubicBez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91228AC0-81F0-ACC8-64B5-0073DD232B1C}"/>
                </a:ext>
              </a:extLst>
            </p:cNvPr>
            <p:cNvSpPr/>
            <p:nvPr/>
          </p:nvSpPr>
          <p:spPr>
            <a:xfrm>
              <a:off x="956108" y="404812"/>
              <a:ext cx="2589246" cy="425680"/>
            </a:xfrm>
            <a:custGeom>
              <a:avLst/>
              <a:gdLst>
                <a:gd name="connsiteX0" fmla="*/ 2558620 w 2589246"/>
                <a:gd name="connsiteY0" fmla="*/ 0 h 425680"/>
                <a:gd name="connsiteX1" fmla="*/ 2560132 w 2589246"/>
                <a:gd name="connsiteY1" fmla="*/ 32076 h 425680"/>
                <a:gd name="connsiteX2" fmla="*/ 2195768 w 2589246"/>
                <a:gd name="connsiteY2" fmla="*/ 396441 h 425680"/>
                <a:gd name="connsiteX3" fmla="*/ 1885030 w 2589246"/>
                <a:gd name="connsiteY3" fmla="*/ 222387 h 425680"/>
                <a:gd name="connsiteX4" fmla="*/ 1745069 w 2589246"/>
                <a:gd name="connsiteY4" fmla="*/ 144120 h 425680"/>
                <a:gd name="connsiteX5" fmla="*/ 1605423 w 2589246"/>
                <a:gd name="connsiteY5" fmla="*/ 222387 h 425680"/>
                <a:gd name="connsiteX6" fmla="*/ 1294686 w 2589246"/>
                <a:gd name="connsiteY6" fmla="*/ 396441 h 425680"/>
                <a:gd name="connsiteX7" fmla="*/ 983949 w 2589246"/>
                <a:gd name="connsiteY7" fmla="*/ 222387 h 425680"/>
                <a:gd name="connsiteX8" fmla="*/ 843988 w 2589246"/>
                <a:gd name="connsiteY8" fmla="*/ 144120 h 425680"/>
                <a:gd name="connsiteX9" fmla="*/ 704342 w 2589246"/>
                <a:gd name="connsiteY9" fmla="*/ 222387 h 425680"/>
                <a:gd name="connsiteX10" fmla="*/ 393605 w 2589246"/>
                <a:gd name="connsiteY10" fmla="*/ 396441 h 425680"/>
                <a:gd name="connsiteX11" fmla="*/ 29240 w 2589246"/>
                <a:gd name="connsiteY11" fmla="*/ 32076 h 425680"/>
                <a:gd name="connsiteX12" fmla="*/ 30752 w 2589246"/>
                <a:gd name="connsiteY12" fmla="*/ 0 h 425680"/>
                <a:gd name="connsiteX13" fmla="*/ 1449 w 2589246"/>
                <a:gd name="connsiteY13" fmla="*/ 0 h 425680"/>
                <a:gd name="connsiteX14" fmla="*/ 0 w 2589246"/>
                <a:gd name="connsiteY14" fmla="*/ 32076 h 425680"/>
                <a:gd name="connsiteX15" fmla="*/ 393605 w 2589246"/>
                <a:gd name="connsiteY15" fmla="*/ 425680 h 425680"/>
                <a:gd name="connsiteX16" fmla="*/ 729234 w 2589246"/>
                <a:gd name="connsiteY16" fmla="*/ 237700 h 425680"/>
                <a:gd name="connsiteX17" fmla="*/ 844303 w 2589246"/>
                <a:gd name="connsiteY17" fmla="*/ 173423 h 425680"/>
                <a:gd name="connsiteX18" fmla="*/ 958994 w 2589246"/>
                <a:gd name="connsiteY18" fmla="*/ 237700 h 425680"/>
                <a:gd name="connsiteX19" fmla="*/ 1294623 w 2589246"/>
                <a:gd name="connsiteY19" fmla="*/ 425680 h 425680"/>
                <a:gd name="connsiteX20" fmla="*/ 1630252 w 2589246"/>
                <a:gd name="connsiteY20" fmla="*/ 237700 h 425680"/>
                <a:gd name="connsiteX21" fmla="*/ 1745321 w 2589246"/>
                <a:gd name="connsiteY21" fmla="*/ 173423 h 425680"/>
                <a:gd name="connsiteX22" fmla="*/ 1860013 w 2589246"/>
                <a:gd name="connsiteY22" fmla="*/ 237700 h 425680"/>
                <a:gd name="connsiteX23" fmla="*/ 2195641 w 2589246"/>
                <a:gd name="connsiteY23" fmla="*/ 425680 h 425680"/>
                <a:gd name="connsiteX24" fmla="*/ 2589246 w 2589246"/>
                <a:gd name="connsiteY24" fmla="*/ 32076 h 425680"/>
                <a:gd name="connsiteX25" fmla="*/ 2587797 w 2589246"/>
                <a:gd name="connsiteY25" fmla="*/ 0 h 425680"/>
                <a:gd name="connsiteX26" fmla="*/ 2558494 w 2589246"/>
                <a:gd name="connsiteY26" fmla="*/ 0 h 42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9246" h="425680">
                  <a:moveTo>
                    <a:pt x="2558620" y="0"/>
                  </a:moveTo>
                  <a:cubicBezTo>
                    <a:pt x="2559565" y="10587"/>
                    <a:pt x="2560132" y="21237"/>
                    <a:pt x="2560132" y="32076"/>
                  </a:cubicBezTo>
                  <a:cubicBezTo>
                    <a:pt x="2560132" y="232974"/>
                    <a:pt x="2396666" y="396441"/>
                    <a:pt x="2195768" y="396441"/>
                  </a:cubicBezTo>
                  <a:cubicBezTo>
                    <a:pt x="2068095" y="396441"/>
                    <a:pt x="1951891" y="331407"/>
                    <a:pt x="1885030" y="222387"/>
                  </a:cubicBezTo>
                  <a:cubicBezTo>
                    <a:pt x="1855412" y="174116"/>
                    <a:pt x="1801911" y="144120"/>
                    <a:pt x="1745069" y="144120"/>
                  </a:cubicBezTo>
                  <a:cubicBezTo>
                    <a:pt x="1688228" y="144120"/>
                    <a:pt x="1635105" y="174116"/>
                    <a:pt x="1605423" y="222387"/>
                  </a:cubicBezTo>
                  <a:cubicBezTo>
                    <a:pt x="1538562" y="331344"/>
                    <a:pt x="1422359" y="396441"/>
                    <a:pt x="1294686" y="396441"/>
                  </a:cubicBezTo>
                  <a:cubicBezTo>
                    <a:pt x="1167014" y="396441"/>
                    <a:pt x="1050810" y="331407"/>
                    <a:pt x="983949" y="222387"/>
                  </a:cubicBezTo>
                  <a:cubicBezTo>
                    <a:pt x="954331" y="174116"/>
                    <a:pt x="900829" y="144120"/>
                    <a:pt x="843988" y="144120"/>
                  </a:cubicBezTo>
                  <a:cubicBezTo>
                    <a:pt x="787146" y="144120"/>
                    <a:pt x="734023" y="174116"/>
                    <a:pt x="704342" y="222387"/>
                  </a:cubicBezTo>
                  <a:cubicBezTo>
                    <a:pt x="637481" y="331344"/>
                    <a:pt x="521277" y="396441"/>
                    <a:pt x="393605" y="396441"/>
                  </a:cubicBezTo>
                  <a:cubicBezTo>
                    <a:pt x="192706" y="396441"/>
                    <a:pt x="29240" y="232974"/>
                    <a:pt x="29240" y="32076"/>
                  </a:cubicBezTo>
                  <a:cubicBezTo>
                    <a:pt x="29240" y="21237"/>
                    <a:pt x="29807" y="10587"/>
                    <a:pt x="30752" y="0"/>
                  </a:cubicBezTo>
                  <a:lnTo>
                    <a:pt x="1449" y="0"/>
                  </a:lnTo>
                  <a:cubicBezTo>
                    <a:pt x="567" y="10587"/>
                    <a:pt x="0" y="21237"/>
                    <a:pt x="0" y="32076"/>
                  </a:cubicBezTo>
                  <a:cubicBezTo>
                    <a:pt x="0" y="249107"/>
                    <a:pt x="176574" y="425680"/>
                    <a:pt x="393605" y="425680"/>
                  </a:cubicBezTo>
                  <a:cubicBezTo>
                    <a:pt x="531549" y="425680"/>
                    <a:pt x="657016" y="355416"/>
                    <a:pt x="729234" y="237700"/>
                  </a:cubicBezTo>
                  <a:cubicBezTo>
                    <a:pt x="753558" y="198063"/>
                    <a:pt x="797544" y="173423"/>
                    <a:pt x="844303" y="173423"/>
                  </a:cubicBezTo>
                  <a:cubicBezTo>
                    <a:pt x="891062" y="173423"/>
                    <a:pt x="934669" y="198063"/>
                    <a:pt x="958994" y="237700"/>
                  </a:cubicBezTo>
                  <a:cubicBezTo>
                    <a:pt x="1031212" y="355416"/>
                    <a:pt x="1156742" y="425680"/>
                    <a:pt x="1294623" y="425680"/>
                  </a:cubicBezTo>
                  <a:cubicBezTo>
                    <a:pt x="1432504" y="425680"/>
                    <a:pt x="1558035" y="355416"/>
                    <a:pt x="1630252" y="237700"/>
                  </a:cubicBezTo>
                  <a:cubicBezTo>
                    <a:pt x="1654577" y="198063"/>
                    <a:pt x="1698563" y="173423"/>
                    <a:pt x="1745321" y="173423"/>
                  </a:cubicBezTo>
                  <a:cubicBezTo>
                    <a:pt x="1792080" y="173423"/>
                    <a:pt x="1835688" y="198063"/>
                    <a:pt x="1860013" y="237700"/>
                  </a:cubicBezTo>
                  <a:cubicBezTo>
                    <a:pt x="1932230" y="355416"/>
                    <a:pt x="2057760" y="425680"/>
                    <a:pt x="2195641" y="425680"/>
                  </a:cubicBezTo>
                  <a:cubicBezTo>
                    <a:pt x="2412672" y="425680"/>
                    <a:pt x="2589246" y="249107"/>
                    <a:pt x="2589246" y="32076"/>
                  </a:cubicBezTo>
                  <a:cubicBezTo>
                    <a:pt x="2589246" y="21300"/>
                    <a:pt x="2588679" y="10587"/>
                    <a:pt x="2587797" y="0"/>
                  </a:cubicBezTo>
                  <a:lnTo>
                    <a:pt x="2558494" y="0"/>
                  </a:ln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10B605ED-EB8B-6666-EF00-87484902690A}"/>
                </a:ext>
              </a:extLst>
            </p:cNvPr>
            <p:cNvSpPr/>
            <p:nvPr/>
          </p:nvSpPr>
          <p:spPr>
            <a:xfrm>
              <a:off x="407986" y="3658006"/>
              <a:ext cx="416038" cy="757969"/>
            </a:xfrm>
            <a:custGeom>
              <a:avLst/>
              <a:gdLst>
                <a:gd name="connsiteX0" fmla="*/ 37054 w 416038"/>
                <a:gd name="connsiteY0" fmla="*/ 63 h 757969"/>
                <a:gd name="connsiteX1" fmla="*/ 0 w 416038"/>
                <a:gd name="connsiteY1" fmla="*/ 1890 h 757969"/>
                <a:gd name="connsiteX2" fmla="*/ 0 w 416038"/>
                <a:gd name="connsiteY2" fmla="*/ 756142 h 757969"/>
                <a:gd name="connsiteX3" fmla="*/ 37054 w 416038"/>
                <a:gd name="connsiteY3" fmla="*/ 757970 h 757969"/>
                <a:gd name="connsiteX4" fmla="*/ 416039 w 416038"/>
                <a:gd name="connsiteY4" fmla="*/ 378985 h 757969"/>
                <a:gd name="connsiteX5" fmla="*/ 37054 w 416038"/>
                <a:gd name="connsiteY5" fmla="*/ 0 h 75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038" h="757969">
                  <a:moveTo>
                    <a:pt x="37054" y="63"/>
                  </a:moveTo>
                  <a:cubicBezTo>
                    <a:pt x="24514" y="63"/>
                    <a:pt x="12162" y="693"/>
                    <a:pt x="0" y="1890"/>
                  </a:cubicBezTo>
                  <a:lnTo>
                    <a:pt x="0" y="756142"/>
                  </a:lnTo>
                  <a:cubicBezTo>
                    <a:pt x="12225" y="757339"/>
                    <a:pt x="24577" y="757970"/>
                    <a:pt x="37054" y="757970"/>
                  </a:cubicBezTo>
                  <a:cubicBezTo>
                    <a:pt x="246334" y="757970"/>
                    <a:pt x="416039" y="588327"/>
                    <a:pt x="416039" y="378985"/>
                  </a:cubicBezTo>
                  <a:cubicBezTo>
                    <a:pt x="416039" y="169642"/>
                    <a:pt x="246397" y="0"/>
                    <a:pt x="37054" y="0"/>
                  </a:cubicBez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EA3061B6-78E4-0D4E-B65E-A684F615D563}"/>
                </a:ext>
              </a:extLst>
            </p:cNvPr>
            <p:cNvSpPr/>
            <p:nvPr/>
          </p:nvSpPr>
          <p:spPr>
            <a:xfrm>
              <a:off x="407986" y="2743376"/>
              <a:ext cx="430658" cy="787209"/>
            </a:xfrm>
            <a:custGeom>
              <a:avLst/>
              <a:gdLst>
                <a:gd name="connsiteX0" fmla="*/ 37054 w 430658"/>
                <a:gd name="connsiteY0" fmla="*/ 0 h 787209"/>
                <a:gd name="connsiteX1" fmla="*/ 0 w 430658"/>
                <a:gd name="connsiteY1" fmla="*/ 1828 h 787209"/>
                <a:gd name="connsiteX2" fmla="*/ 0 w 430658"/>
                <a:gd name="connsiteY2" fmla="*/ 31130 h 787209"/>
                <a:gd name="connsiteX3" fmla="*/ 37054 w 430658"/>
                <a:gd name="connsiteY3" fmla="*/ 29240 h 787209"/>
                <a:gd name="connsiteX4" fmla="*/ 401419 w 430658"/>
                <a:gd name="connsiteY4" fmla="*/ 393605 h 787209"/>
                <a:gd name="connsiteX5" fmla="*/ 37054 w 430658"/>
                <a:gd name="connsiteY5" fmla="*/ 757970 h 787209"/>
                <a:gd name="connsiteX6" fmla="*/ 0 w 430658"/>
                <a:gd name="connsiteY6" fmla="*/ 756079 h 787209"/>
                <a:gd name="connsiteX7" fmla="*/ 0 w 430658"/>
                <a:gd name="connsiteY7" fmla="*/ 785382 h 787209"/>
                <a:gd name="connsiteX8" fmla="*/ 37054 w 430658"/>
                <a:gd name="connsiteY8" fmla="*/ 787209 h 787209"/>
                <a:gd name="connsiteX9" fmla="*/ 430659 w 430658"/>
                <a:gd name="connsiteY9" fmla="*/ 393605 h 787209"/>
                <a:gd name="connsiteX10" fmla="*/ 37054 w 430658"/>
                <a:gd name="connsiteY10" fmla="*/ 0 h 78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658" h="787209">
                  <a:moveTo>
                    <a:pt x="37054" y="0"/>
                  </a:moveTo>
                  <a:cubicBezTo>
                    <a:pt x="24577" y="0"/>
                    <a:pt x="12162" y="630"/>
                    <a:pt x="0" y="1828"/>
                  </a:cubicBezTo>
                  <a:lnTo>
                    <a:pt x="0" y="31130"/>
                  </a:lnTo>
                  <a:cubicBezTo>
                    <a:pt x="12225" y="29870"/>
                    <a:pt x="24577" y="29240"/>
                    <a:pt x="37054" y="29240"/>
                  </a:cubicBezTo>
                  <a:cubicBezTo>
                    <a:pt x="237953" y="29240"/>
                    <a:pt x="401419" y="192706"/>
                    <a:pt x="401419" y="393605"/>
                  </a:cubicBezTo>
                  <a:cubicBezTo>
                    <a:pt x="401419" y="594503"/>
                    <a:pt x="237953" y="757970"/>
                    <a:pt x="37054" y="757970"/>
                  </a:cubicBezTo>
                  <a:cubicBezTo>
                    <a:pt x="24514" y="757970"/>
                    <a:pt x="12162" y="757339"/>
                    <a:pt x="0" y="756079"/>
                  </a:cubicBezTo>
                  <a:lnTo>
                    <a:pt x="0" y="785382"/>
                  </a:lnTo>
                  <a:cubicBezTo>
                    <a:pt x="12225" y="786516"/>
                    <a:pt x="24577" y="787209"/>
                    <a:pt x="37054" y="787209"/>
                  </a:cubicBezTo>
                  <a:cubicBezTo>
                    <a:pt x="254085" y="787209"/>
                    <a:pt x="430659" y="610636"/>
                    <a:pt x="430659" y="393605"/>
                  </a:cubicBezTo>
                  <a:cubicBezTo>
                    <a:pt x="430659" y="176574"/>
                    <a:pt x="254085" y="0"/>
                    <a:pt x="37054" y="0"/>
                  </a:cubicBez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16D50DC5-12E0-14DF-FCB2-CBC08C994A5E}"/>
                </a:ext>
              </a:extLst>
            </p:cNvPr>
            <p:cNvSpPr/>
            <p:nvPr/>
          </p:nvSpPr>
          <p:spPr>
            <a:xfrm>
              <a:off x="407922" y="1857923"/>
              <a:ext cx="1324367" cy="757969"/>
            </a:xfrm>
            <a:custGeom>
              <a:avLst/>
              <a:gdLst>
                <a:gd name="connsiteX0" fmla="*/ 947336 w 1324367"/>
                <a:gd name="connsiteY0" fmla="*/ 63 h 757969"/>
                <a:gd name="connsiteX1" fmla="*/ 621159 w 1324367"/>
                <a:gd name="connsiteY1" fmla="*/ 182876 h 757969"/>
                <a:gd name="connsiteX2" fmla="*/ 498339 w 1324367"/>
                <a:gd name="connsiteY2" fmla="*/ 252320 h 757969"/>
                <a:gd name="connsiteX3" fmla="*/ 491533 w 1324367"/>
                <a:gd name="connsiteY3" fmla="*/ 252320 h 757969"/>
                <a:gd name="connsiteX4" fmla="*/ 368713 w 1324367"/>
                <a:gd name="connsiteY4" fmla="*/ 182876 h 757969"/>
                <a:gd name="connsiteX5" fmla="*/ 42537 w 1324367"/>
                <a:gd name="connsiteY5" fmla="*/ 63 h 757969"/>
                <a:gd name="connsiteX6" fmla="*/ 0 w 1324367"/>
                <a:gd name="connsiteY6" fmla="*/ 2710 h 757969"/>
                <a:gd name="connsiteX7" fmla="*/ 0 w 1324367"/>
                <a:gd name="connsiteY7" fmla="*/ 755323 h 757969"/>
                <a:gd name="connsiteX8" fmla="*/ 44364 w 1324367"/>
                <a:gd name="connsiteY8" fmla="*/ 757970 h 757969"/>
                <a:gd name="connsiteX9" fmla="*/ 369217 w 1324367"/>
                <a:gd name="connsiteY9" fmla="*/ 574212 h 757969"/>
                <a:gd name="connsiteX10" fmla="*/ 491470 w 1324367"/>
                <a:gd name="connsiteY10" fmla="*/ 505712 h 757969"/>
                <a:gd name="connsiteX11" fmla="*/ 498276 w 1324367"/>
                <a:gd name="connsiteY11" fmla="*/ 505712 h 757969"/>
                <a:gd name="connsiteX12" fmla="*/ 620529 w 1324367"/>
                <a:gd name="connsiteY12" fmla="*/ 574212 h 757969"/>
                <a:gd name="connsiteX13" fmla="*/ 945382 w 1324367"/>
                <a:gd name="connsiteY13" fmla="*/ 757970 h 757969"/>
                <a:gd name="connsiteX14" fmla="*/ 1324367 w 1324367"/>
                <a:gd name="connsiteY14" fmla="*/ 378985 h 757969"/>
                <a:gd name="connsiteX15" fmla="*/ 947273 w 1324367"/>
                <a:gd name="connsiteY15" fmla="*/ 0 h 75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24367" h="757969">
                  <a:moveTo>
                    <a:pt x="947336" y="63"/>
                  </a:moveTo>
                  <a:cubicBezTo>
                    <a:pt x="809076" y="-630"/>
                    <a:pt x="687895" y="72785"/>
                    <a:pt x="621159" y="182876"/>
                  </a:cubicBezTo>
                  <a:cubicBezTo>
                    <a:pt x="595070" y="225916"/>
                    <a:pt x="548627" y="252320"/>
                    <a:pt x="498339" y="252320"/>
                  </a:cubicBezTo>
                  <a:lnTo>
                    <a:pt x="491533" y="252320"/>
                  </a:lnTo>
                  <a:cubicBezTo>
                    <a:pt x="441246" y="252320"/>
                    <a:pt x="394802" y="225853"/>
                    <a:pt x="368713" y="182876"/>
                  </a:cubicBezTo>
                  <a:cubicBezTo>
                    <a:pt x="301978" y="72785"/>
                    <a:pt x="180859" y="-630"/>
                    <a:pt x="42537" y="63"/>
                  </a:cubicBezTo>
                  <a:cubicBezTo>
                    <a:pt x="28169" y="126"/>
                    <a:pt x="13990" y="1071"/>
                    <a:pt x="0" y="2710"/>
                  </a:cubicBezTo>
                  <a:lnTo>
                    <a:pt x="0" y="755323"/>
                  </a:lnTo>
                  <a:cubicBezTo>
                    <a:pt x="14557" y="757024"/>
                    <a:pt x="29366" y="757970"/>
                    <a:pt x="44364" y="757970"/>
                  </a:cubicBezTo>
                  <a:cubicBezTo>
                    <a:pt x="182245" y="757970"/>
                    <a:pt x="302923" y="684303"/>
                    <a:pt x="369217" y="574212"/>
                  </a:cubicBezTo>
                  <a:cubicBezTo>
                    <a:pt x="394991" y="531486"/>
                    <a:pt x="441561" y="505712"/>
                    <a:pt x="491470" y="505712"/>
                  </a:cubicBezTo>
                  <a:lnTo>
                    <a:pt x="498276" y="505712"/>
                  </a:lnTo>
                  <a:cubicBezTo>
                    <a:pt x="548186" y="505712"/>
                    <a:pt x="594818" y="531486"/>
                    <a:pt x="620529" y="574212"/>
                  </a:cubicBezTo>
                  <a:cubicBezTo>
                    <a:pt x="686823" y="684303"/>
                    <a:pt x="807501" y="757970"/>
                    <a:pt x="945382" y="757970"/>
                  </a:cubicBezTo>
                  <a:cubicBezTo>
                    <a:pt x="1154662" y="757970"/>
                    <a:pt x="1324367" y="588328"/>
                    <a:pt x="1324367" y="378985"/>
                  </a:cubicBezTo>
                  <a:cubicBezTo>
                    <a:pt x="1324367" y="170146"/>
                    <a:pt x="1156112" y="1008"/>
                    <a:pt x="947273" y="0"/>
                  </a:cubicBez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5068418A-A206-93BD-895D-E128999017C2}"/>
                </a:ext>
              </a:extLst>
            </p:cNvPr>
            <p:cNvSpPr/>
            <p:nvPr/>
          </p:nvSpPr>
          <p:spPr>
            <a:xfrm>
              <a:off x="407986" y="957912"/>
              <a:ext cx="423348" cy="757969"/>
            </a:xfrm>
            <a:custGeom>
              <a:avLst/>
              <a:gdLst>
                <a:gd name="connsiteX0" fmla="*/ 44364 w 423348"/>
                <a:gd name="connsiteY0" fmla="*/ 63 h 757969"/>
                <a:gd name="connsiteX1" fmla="*/ 0 w 423348"/>
                <a:gd name="connsiteY1" fmla="*/ 2710 h 757969"/>
                <a:gd name="connsiteX2" fmla="*/ 0 w 423348"/>
                <a:gd name="connsiteY2" fmla="*/ 755323 h 757969"/>
                <a:gd name="connsiteX3" fmla="*/ 44364 w 423348"/>
                <a:gd name="connsiteY3" fmla="*/ 757970 h 757969"/>
                <a:gd name="connsiteX4" fmla="*/ 423349 w 423348"/>
                <a:gd name="connsiteY4" fmla="*/ 378985 h 757969"/>
                <a:gd name="connsiteX5" fmla="*/ 44364 w 423348"/>
                <a:gd name="connsiteY5" fmla="*/ 0 h 75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3348" h="757969">
                  <a:moveTo>
                    <a:pt x="44364" y="63"/>
                  </a:moveTo>
                  <a:cubicBezTo>
                    <a:pt x="29366" y="63"/>
                    <a:pt x="14557" y="1008"/>
                    <a:pt x="0" y="2710"/>
                  </a:cubicBezTo>
                  <a:lnTo>
                    <a:pt x="0" y="755323"/>
                  </a:lnTo>
                  <a:cubicBezTo>
                    <a:pt x="14557" y="757024"/>
                    <a:pt x="29366" y="757970"/>
                    <a:pt x="44364" y="757970"/>
                  </a:cubicBezTo>
                  <a:cubicBezTo>
                    <a:pt x="253644" y="757970"/>
                    <a:pt x="423349" y="588328"/>
                    <a:pt x="423349" y="378985"/>
                  </a:cubicBezTo>
                  <a:cubicBezTo>
                    <a:pt x="423349" y="169642"/>
                    <a:pt x="253707" y="0"/>
                    <a:pt x="44364" y="0"/>
                  </a:cubicBez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B0F6E366-A375-3BB2-80E5-1BF7B9E55AA3}"/>
                </a:ext>
              </a:extLst>
            </p:cNvPr>
            <p:cNvSpPr/>
            <p:nvPr/>
          </p:nvSpPr>
          <p:spPr>
            <a:xfrm>
              <a:off x="407986" y="404811"/>
              <a:ext cx="434313" cy="426688"/>
            </a:xfrm>
            <a:custGeom>
              <a:avLst/>
              <a:gdLst>
                <a:gd name="connsiteX0" fmla="*/ 432801 w 434313"/>
                <a:gd name="connsiteY0" fmla="*/ 0 h 426688"/>
                <a:gd name="connsiteX1" fmla="*/ 403498 w 434313"/>
                <a:gd name="connsiteY1" fmla="*/ 0 h 426688"/>
                <a:gd name="connsiteX2" fmla="*/ 405074 w 434313"/>
                <a:gd name="connsiteY2" fmla="*/ 33084 h 426688"/>
                <a:gd name="connsiteX3" fmla="*/ 40709 w 434313"/>
                <a:gd name="connsiteY3" fmla="*/ 397449 h 426688"/>
                <a:gd name="connsiteX4" fmla="*/ 0 w 434313"/>
                <a:gd name="connsiteY4" fmla="*/ 395117 h 426688"/>
                <a:gd name="connsiteX5" fmla="*/ 0 w 434313"/>
                <a:gd name="connsiteY5" fmla="*/ 424609 h 426688"/>
                <a:gd name="connsiteX6" fmla="*/ 40709 w 434313"/>
                <a:gd name="connsiteY6" fmla="*/ 426689 h 426688"/>
                <a:gd name="connsiteX7" fmla="*/ 434314 w 434313"/>
                <a:gd name="connsiteY7" fmla="*/ 33084 h 426688"/>
                <a:gd name="connsiteX8" fmla="*/ 432801 w 434313"/>
                <a:gd name="connsiteY8" fmla="*/ 0 h 42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313" h="426688">
                  <a:moveTo>
                    <a:pt x="432801" y="0"/>
                  </a:moveTo>
                  <a:lnTo>
                    <a:pt x="403498" y="0"/>
                  </a:lnTo>
                  <a:cubicBezTo>
                    <a:pt x="404507" y="10902"/>
                    <a:pt x="405074" y="21930"/>
                    <a:pt x="405074" y="33084"/>
                  </a:cubicBezTo>
                  <a:cubicBezTo>
                    <a:pt x="405074" y="233982"/>
                    <a:pt x="241608" y="397449"/>
                    <a:pt x="40709" y="397449"/>
                  </a:cubicBezTo>
                  <a:cubicBezTo>
                    <a:pt x="26908" y="397449"/>
                    <a:pt x="13360" y="396630"/>
                    <a:pt x="0" y="395117"/>
                  </a:cubicBezTo>
                  <a:lnTo>
                    <a:pt x="0" y="424609"/>
                  </a:lnTo>
                  <a:cubicBezTo>
                    <a:pt x="13423" y="425996"/>
                    <a:pt x="26971" y="426689"/>
                    <a:pt x="40709" y="426689"/>
                  </a:cubicBezTo>
                  <a:cubicBezTo>
                    <a:pt x="257740" y="426689"/>
                    <a:pt x="434314" y="250115"/>
                    <a:pt x="434314" y="33084"/>
                  </a:cubicBezTo>
                  <a:cubicBezTo>
                    <a:pt x="434314" y="21930"/>
                    <a:pt x="433747" y="10902"/>
                    <a:pt x="432801" y="0"/>
                  </a:cubicBez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25329001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4_Avsnittsrubrik_ljus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3771756" y="2613814"/>
            <a:ext cx="6726885" cy="1349829"/>
          </a:xfrm>
          <a:prstGeom prst="rect">
            <a:avLst/>
          </a:prstGeom>
        </p:spPr>
        <p:txBody>
          <a:bodyPr anchor="ctr" anchorCtr="0">
            <a:noAutofit/>
          </a:bodyPr>
          <a:lstStyle>
            <a:lvl1pPr algn="l">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F54FBE38-BAA0-4913-A593-C4237FC13E33}"/>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b="1">
                <a:solidFill>
                  <a:schemeClr val="tx1"/>
                </a:solidFill>
              </a:rPr>
              <a:t>Inköps- och upphandlingsförvaltningen</a:t>
            </a:r>
          </a:p>
        </p:txBody>
      </p:sp>
      <p:grpSp>
        <p:nvGrpSpPr>
          <p:cNvPr id="4" name="Grupp 3">
            <a:extLst>
              <a:ext uri="{FF2B5EF4-FFF2-40B4-BE49-F238E27FC236}">
                <a16:creationId xmlns:a16="http://schemas.microsoft.com/office/drawing/2014/main" id="{42337B03-F160-B566-AC0A-AB22279E3757}"/>
              </a:ext>
            </a:extLst>
          </p:cNvPr>
          <p:cNvGrpSpPr/>
          <p:nvPr userDrawn="1"/>
        </p:nvGrpSpPr>
        <p:grpSpPr>
          <a:xfrm>
            <a:off x="407922" y="404811"/>
            <a:ext cx="3137432" cy="4913253"/>
            <a:chOff x="407922" y="404811"/>
            <a:chExt cx="3137432" cy="4913253"/>
          </a:xfrm>
          <a:solidFill>
            <a:schemeClr val="accent5"/>
          </a:solidFill>
        </p:grpSpPr>
        <p:sp>
          <p:nvSpPr>
            <p:cNvPr id="5" name="Frihandsfigur: Form 4">
              <a:extLst>
                <a:ext uri="{FF2B5EF4-FFF2-40B4-BE49-F238E27FC236}">
                  <a16:creationId xmlns:a16="http://schemas.microsoft.com/office/drawing/2014/main" id="{4D71FD2B-6AC8-3E9C-8E90-C816D42ADF32}"/>
                </a:ext>
              </a:extLst>
            </p:cNvPr>
            <p:cNvSpPr/>
            <p:nvPr/>
          </p:nvSpPr>
          <p:spPr>
            <a:xfrm>
              <a:off x="959826" y="943293"/>
              <a:ext cx="787209" cy="787209"/>
            </a:xfrm>
            <a:custGeom>
              <a:avLst/>
              <a:gdLst>
                <a:gd name="connsiteX0" fmla="*/ 393605 w 787209"/>
                <a:gd name="connsiteY0" fmla="*/ 787210 h 787209"/>
                <a:gd name="connsiteX1" fmla="*/ 0 w 787209"/>
                <a:gd name="connsiteY1" fmla="*/ 393605 h 787209"/>
                <a:gd name="connsiteX2" fmla="*/ 393605 w 787209"/>
                <a:gd name="connsiteY2" fmla="*/ 0 h 787209"/>
                <a:gd name="connsiteX3" fmla="*/ 787210 w 787209"/>
                <a:gd name="connsiteY3" fmla="*/ 393605 h 787209"/>
                <a:gd name="connsiteX4" fmla="*/ 393605 w 787209"/>
                <a:gd name="connsiteY4" fmla="*/ 787210 h 787209"/>
                <a:gd name="connsiteX5" fmla="*/ 393605 w 787209"/>
                <a:gd name="connsiteY5" fmla="*/ 29240 h 787209"/>
                <a:gd name="connsiteX6" fmla="*/ 29240 w 787209"/>
                <a:gd name="connsiteY6" fmla="*/ 393605 h 787209"/>
                <a:gd name="connsiteX7" fmla="*/ 393605 w 787209"/>
                <a:gd name="connsiteY7" fmla="*/ 757970 h 787209"/>
                <a:gd name="connsiteX8" fmla="*/ 757970 w 787209"/>
                <a:gd name="connsiteY8" fmla="*/ 393605 h 787209"/>
                <a:gd name="connsiteX9" fmla="*/ 393605 w 787209"/>
                <a:gd name="connsiteY9" fmla="*/ 29240 h 78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209" h="787209">
                  <a:moveTo>
                    <a:pt x="393605" y="787210"/>
                  </a:moveTo>
                  <a:cubicBezTo>
                    <a:pt x="176574" y="787210"/>
                    <a:pt x="0" y="610636"/>
                    <a:pt x="0" y="393605"/>
                  </a:cubicBezTo>
                  <a:cubicBezTo>
                    <a:pt x="0" y="176574"/>
                    <a:pt x="176574" y="0"/>
                    <a:pt x="393605" y="0"/>
                  </a:cubicBezTo>
                  <a:cubicBezTo>
                    <a:pt x="610636" y="0"/>
                    <a:pt x="787210" y="176574"/>
                    <a:pt x="787210" y="393605"/>
                  </a:cubicBezTo>
                  <a:cubicBezTo>
                    <a:pt x="787210" y="610636"/>
                    <a:pt x="610636" y="787210"/>
                    <a:pt x="393605" y="787210"/>
                  </a:cubicBezTo>
                  <a:close/>
                  <a:moveTo>
                    <a:pt x="393605" y="29240"/>
                  </a:moveTo>
                  <a:cubicBezTo>
                    <a:pt x="192706" y="29240"/>
                    <a:pt x="29240" y="192706"/>
                    <a:pt x="29240" y="393605"/>
                  </a:cubicBezTo>
                  <a:cubicBezTo>
                    <a:pt x="29240" y="594503"/>
                    <a:pt x="192706" y="757970"/>
                    <a:pt x="393605" y="757970"/>
                  </a:cubicBezTo>
                  <a:cubicBezTo>
                    <a:pt x="594503" y="757970"/>
                    <a:pt x="757970" y="594503"/>
                    <a:pt x="757970" y="393605"/>
                  </a:cubicBezTo>
                  <a:cubicBezTo>
                    <a:pt x="757970" y="192706"/>
                    <a:pt x="594503" y="29240"/>
                    <a:pt x="393605" y="29240"/>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D6DA0B6D-FE6C-FC13-88B2-C5747E89D951}"/>
                </a:ext>
              </a:extLst>
            </p:cNvPr>
            <p:cNvSpPr/>
            <p:nvPr/>
          </p:nvSpPr>
          <p:spPr>
            <a:xfrm>
              <a:off x="1875464" y="957912"/>
              <a:ext cx="757969" cy="757969"/>
            </a:xfrm>
            <a:custGeom>
              <a:avLst/>
              <a:gdLst>
                <a:gd name="connsiteX0" fmla="*/ 757970 w 757969"/>
                <a:gd name="connsiteY0" fmla="*/ 378985 h 757969"/>
                <a:gd name="connsiteX1" fmla="*/ 378985 w 757969"/>
                <a:gd name="connsiteY1" fmla="*/ 757970 h 757969"/>
                <a:gd name="connsiteX2" fmla="*/ 0 w 757969"/>
                <a:gd name="connsiteY2" fmla="*/ 378985 h 757969"/>
                <a:gd name="connsiteX3" fmla="*/ 378985 w 757969"/>
                <a:gd name="connsiteY3" fmla="*/ 0 h 757969"/>
                <a:gd name="connsiteX4" fmla="*/ 757970 w 757969"/>
                <a:gd name="connsiteY4" fmla="*/ 378985 h 75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9" h="757969">
                  <a:moveTo>
                    <a:pt x="757970" y="378985"/>
                  </a:moveTo>
                  <a:cubicBezTo>
                    <a:pt x="757970" y="588292"/>
                    <a:pt x="588292" y="757970"/>
                    <a:pt x="378985" y="757970"/>
                  </a:cubicBezTo>
                  <a:cubicBezTo>
                    <a:pt x="169677" y="757970"/>
                    <a:pt x="0" y="588292"/>
                    <a:pt x="0" y="378985"/>
                  </a:cubicBezTo>
                  <a:cubicBezTo>
                    <a:pt x="0" y="169677"/>
                    <a:pt x="169677" y="0"/>
                    <a:pt x="378985" y="0"/>
                  </a:cubicBezTo>
                  <a:cubicBezTo>
                    <a:pt x="588292" y="0"/>
                    <a:pt x="757970" y="169677"/>
                    <a:pt x="757970" y="378985"/>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CD894BAC-A713-CB39-3DA2-B7CC2FC6B8B5}"/>
                </a:ext>
              </a:extLst>
            </p:cNvPr>
            <p:cNvSpPr/>
            <p:nvPr/>
          </p:nvSpPr>
          <p:spPr>
            <a:xfrm>
              <a:off x="1860844" y="1843303"/>
              <a:ext cx="787209" cy="787209"/>
            </a:xfrm>
            <a:custGeom>
              <a:avLst/>
              <a:gdLst>
                <a:gd name="connsiteX0" fmla="*/ 393605 w 787209"/>
                <a:gd name="connsiteY0" fmla="*/ 787210 h 787209"/>
                <a:gd name="connsiteX1" fmla="*/ 0 w 787209"/>
                <a:gd name="connsiteY1" fmla="*/ 393605 h 787209"/>
                <a:gd name="connsiteX2" fmla="*/ 393605 w 787209"/>
                <a:gd name="connsiteY2" fmla="*/ 0 h 787209"/>
                <a:gd name="connsiteX3" fmla="*/ 787209 w 787209"/>
                <a:gd name="connsiteY3" fmla="*/ 393605 h 787209"/>
                <a:gd name="connsiteX4" fmla="*/ 393605 w 787209"/>
                <a:gd name="connsiteY4" fmla="*/ 787210 h 787209"/>
                <a:gd name="connsiteX5" fmla="*/ 393605 w 787209"/>
                <a:gd name="connsiteY5" fmla="*/ 29303 h 787209"/>
                <a:gd name="connsiteX6" fmla="*/ 29240 w 787209"/>
                <a:gd name="connsiteY6" fmla="*/ 393668 h 787209"/>
                <a:gd name="connsiteX7" fmla="*/ 393605 w 787209"/>
                <a:gd name="connsiteY7" fmla="*/ 758033 h 787209"/>
                <a:gd name="connsiteX8" fmla="*/ 757969 w 787209"/>
                <a:gd name="connsiteY8" fmla="*/ 393668 h 787209"/>
                <a:gd name="connsiteX9" fmla="*/ 393605 w 787209"/>
                <a:gd name="connsiteY9" fmla="*/ 29303 h 78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209" h="787209">
                  <a:moveTo>
                    <a:pt x="393605" y="787210"/>
                  </a:moveTo>
                  <a:cubicBezTo>
                    <a:pt x="176574" y="787210"/>
                    <a:pt x="0" y="610636"/>
                    <a:pt x="0" y="393605"/>
                  </a:cubicBezTo>
                  <a:cubicBezTo>
                    <a:pt x="0" y="176574"/>
                    <a:pt x="176574" y="0"/>
                    <a:pt x="393605" y="0"/>
                  </a:cubicBezTo>
                  <a:cubicBezTo>
                    <a:pt x="610636" y="0"/>
                    <a:pt x="787209" y="176574"/>
                    <a:pt x="787209" y="393605"/>
                  </a:cubicBezTo>
                  <a:cubicBezTo>
                    <a:pt x="787209" y="610636"/>
                    <a:pt x="610636" y="787210"/>
                    <a:pt x="393605" y="787210"/>
                  </a:cubicBezTo>
                  <a:close/>
                  <a:moveTo>
                    <a:pt x="393605" y="29303"/>
                  </a:moveTo>
                  <a:cubicBezTo>
                    <a:pt x="192706" y="29303"/>
                    <a:pt x="29240" y="192769"/>
                    <a:pt x="29240" y="393668"/>
                  </a:cubicBezTo>
                  <a:cubicBezTo>
                    <a:pt x="29240" y="594566"/>
                    <a:pt x="192706" y="758033"/>
                    <a:pt x="393605" y="758033"/>
                  </a:cubicBezTo>
                  <a:cubicBezTo>
                    <a:pt x="594503" y="758033"/>
                    <a:pt x="757969" y="594566"/>
                    <a:pt x="757969" y="393668"/>
                  </a:cubicBezTo>
                  <a:cubicBezTo>
                    <a:pt x="757969" y="192769"/>
                    <a:pt x="594503" y="29303"/>
                    <a:pt x="393605" y="29303"/>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98F7117A-36E8-7F12-9503-F3B8C92877B2}"/>
                </a:ext>
              </a:extLst>
            </p:cNvPr>
            <p:cNvSpPr/>
            <p:nvPr/>
          </p:nvSpPr>
          <p:spPr>
            <a:xfrm>
              <a:off x="1853534" y="2743376"/>
              <a:ext cx="787209" cy="787209"/>
            </a:xfrm>
            <a:custGeom>
              <a:avLst/>
              <a:gdLst>
                <a:gd name="connsiteX0" fmla="*/ 393605 w 787209"/>
                <a:gd name="connsiteY0" fmla="*/ 787209 h 787209"/>
                <a:gd name="connsiteX1" fmla="*/ 0 w 787209"/>
                <a:gd name="connsiteY1" fmla="*/ 393605 h 787209"/>
                <a:gd name="connsiteX2" fmla="*/ 393605 w 787209"/>
                <a:gd name="connsiteY2" fmla="*/ 0 h 787209"/>
                <a:gd name="connsiteX3" fmla="*/ 787209 w 787209"/>
                <a:gd name="connsiteY3" fmla="*/ 393605 h 787209"/>
                <a:gd name="connsiteX4" fmla="*/ 393605 w 787209"/>
                <a:gd name="connsiteY4" fmla="*/ 787209 h 787209"/>
                <a:gd name="connsiteX5" fmla="*/ 393605 w 787209"/>
                <a:gd name="connsiteY5" fmla="*/ 29240 h 787209"/>
                <a:gd name="connsiteX6" fmla="*/ 29240 w 787209"/>
                <a:gd name="connsiteY6" fmla="*/ 393605 h 787209"/>
                <a:gd name="connsiteX7" fmla="*/ 393605 w 787209"/>
                <a:gd name="connsiteY7" fmla="*/ 757970 h 787209"/>
                <a:gd name="connsiteX8" fmla="*/ 757970 w 787209"/>
                <a:gd name="connsiteY8" fmla="*/ 393605 h 787209"/>
                <a:gd name="connsiteX9" fmla="*/ 393605 w 787209"/>
                <a:gd name="connsiteY9" fmla="*/ 29240 h 78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209" h="787209">
                  <a:moveTo>
                    <a:pt x="393605" y="787209"/>
                  </a:moveTo>
                  <a:cubicBezTo>
                    <a:pt x="176574" y="787209"/>
                    <a:pt x="0" y="610636"/>
                    <a:pt x="0" y="393605"/>
                  </a:cubicBezTo>
                  <a:cubicBezTo>
                    <a:pt x="0" y="176574"/>
                    <a:pt x="176574" y="0"/>
                    <a:pt x="393605" y="0"/>
                  </a:cubicBezTo>
                  <a:cubicBezTo>
                    <a:pt x="610636" y="0"/>
                    <a:pt x="787209" y="176574"/>
                    <a:pt x="787209" y="393605"/>
                  </a:cubicBezTo>
                  <a:cubicBezTo>
                    <a:pt x="787209" y="610636"/>
                    <a:pt x="610636" y="787209"/>
                    <a:pt x="393605" y="787209"/>
                  </a:cubicBezTo>
                  <a:close/>
                  <a:moveTo>
                    <a:pt x="393605" y="29240"/>
                  </a:moveTo>
                  <a:cubicBezTo>
                    <a:pt x="192706" y="29240"/>
                    <a:pt x="29240" y="192706"/>
                    <a:pt x="29240" y="393605"/>
                  </a:cubicBezTo>
                  <a:cubicBezTo>
                    <a:pt x="29240" y="594503"/>
                    <a:pt x="192706" y="757970"/>
                    <a:pt x="393605" y="757970"/>
                  </a:cubicBezTo>
                  <a:cubicBezTo>
                    <a:pt x="594503" y="757970"/>
                    <a:pt x="757970" y="594503"/>
                    <a:pt x="757970" y="393605"/>
                  </a:cubicBezTo>
                  <a:cubicBezTo>
                    <a:pt x="757970" y="192706"/>
                    <a:pt x="594503" y="29240"/>
                    <a:pt x="393605" y="29240"/>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2376C2F4-C985-5543-1FEC-07520E38D729}"/>
                </a:ext>
              </a:extLst>
            </p:cNvPr>
            <p:cNvSpPr/>
            <p:nvPr/>
          </p:nvSpPr>
          <p:spPr>
            <a:xfrm>
              <a:off x="1868154" y="3658069"/>
              <a:ext cx="757969" cy="757969"/>
            </a:xfrm>
            <a:custGeom>
              <a:avLst/>
              <a:gdLst>
                <a:gd name="connsiteX0" fmla="*/ 757970 w 757969"/>
                <a:gd name="connsiteY0" fmla="*/ 378985 h 757969"/>
                <a:gd name="connsiteX1" fmla="*/ 378985 w 757969"/>
                <a:gd name="connsiteY1" fmla="*/ 757970 h 757969"/>
                <a:gd name="connsiteX2" fmla="*/ 0 w 757969"/>
                <a:gd name="connsiteY2" fmla="*/ 378985 h 757969"/>
                <a:gd name="connsiteX3" fmla="*/ 378985 w 757969"/>
                <a:gd name="connsiteY3" fmla="*/ 0 h 757969"/>
                <a:gd name="connsiteX4" fmla="*/ 757970 w 757969"/>
                <a:gd name="connsiteY4" fmla="*/ 378985 h 75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9" h="757969">
                  <a:moveTo>
                    <a:pt x="757970" y="378985"/>
                  </a:moveTo>
                  <a:cubicBezTo>
                    <a:pt x="757970" y="588292"/>
                    <a:pt x="588292" y="757970"/>
                    <a:pt x="378985" y="757970"/>
                  </a:cubicBezTo>
                  <a:cubicBezTo>
                    <a:pt x="169677" y="757970"/>
                    <a:pt x="0" y="588292"/>
                    <a:pt x="0" y="378985"/>
                  </a:cubicBezTo>
                  <a:cubicBezTo>
                    <a:pt x="0" y="169677"/>
                    <a:pt x="169677" y="0"/>
                    <a:pt x="378985" y="0"/>
                  </a:cubicBezTo>
                  <a:cubicBezTo>
                    <a:pt x="588292" y="0"/>
                    <a:pt x="757970" y="169677"/>
                    <a:pt x="757970" y="378985"/>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50F11676-296B-ADA5-DF37-F6E648DF6E55}"/>
                </a:ext>
              </a:extLst>
            </p:cNvPr>
            <p:cNvSpPr/>
            <p:nvPr/>
          </p:nvSpPr>
          <p:spPr>
            <a:xfrm>
              <a:off x="1000409" y="2766251"/>
              <a:ext cx="475148" cy="232722"/>
            </a:xfrm>
            <a:custGeom>
              <a:avLst/>
              <a:gdLst>
                <a:gd name="connsiteX0" fmla="*/ 431667 w 475148"/>
                <a:gd name="connsiteY0" fmla="*/ 0 h 232722"/>
                <a:gd name="connsiteX1" fmla="*/ 18905 w 475148"/>
                <a:gd name="connsiteY1" fmla="*/ 191698 h 232722"/>
                <a:gd name="connsiteX2" fmla="*/ 0 w 475148"/>
                <a:gd name="connsiteY2" fmla="*/ 232722 h 232722"/>
                <a:gd name="connsiteX3" fmla="*/ 475149 w 475148"/>
                <a:gd name="connsiteY3" fmla="*/ 11973 h 232722"/>
                <a:gd name="connsiteX4" fmla="*/ 431604 w 475148"/>
                <a:gd name="connsiteY4" fmla="*/ 0 h 232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148" h="232722">
                  <a:moveTo>
                    <a:pt x="431667" y="0"/>
                  </a:moveTo>
                  <a:lnTo>
                    <a:pt x="18905" y="191698"/>
                  </a:lnTo>
                  <a:cubicBezTo>
                    <a:pt x="11784" y="204932"/>
                    <a:pt x="5545" y="218606"/>
                    <a:pt x="0" y="232722"/>
                  </a:cubicBezTo>
                  <a:lnTo>
                    <a:pt x="475149" y="11973"/>
                  </a:lnTo>
                  <a:cubicBezTo>
                    <a:pt x="460970" y="7184"/>
                    <a:pt x="446476" y="3088"/>
                    <a:pt x="431604" y="0"/>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3E0B5378-F862-C427-DCA6-571FB4FE2377}"/>
                </a:ext>
              </a:extLst>
            </p:cNvPr>
            <p:cNvSpPr/>
            <p:nvPr/>
          </p:nvSpPr>
          <p:spPr>
            <a:xfrm>
              <a:off x="974446" y="2830402"/>
              <a:ext cx="627398" cy="311745"/>
            </a:xfrm>
            <a:custGeom>
              <a:avLst/>
              <a:gdLst>
                <a:gd name="connsiteX0" fmla="*/ 601876 w 627398"/>
                <a:gd name="connsiteY0" fmla="*/ 0 h 311745"/>
                <a:gd name="connsiteX1" fmla="*/ 1071 w 627398"/>
                <a:gd name="connsiteY1" fmla="*/ 279040 h 311745"/>
                <a:gd name="connsiteX2" fmla="*/ 0 w 627398"/>
                <a:gd name="connsiteY2" fmla="*/ 306515 h 311745"/>
                <a:gd name="connsiteX3" fmla="*/ 63 w 627398"/>
                <a:gd name="connsiteY3" fmla="*/ 311746 h 311745"/>
                <a:gd name="connsiteX4" fmla="*/ 627398 w 627398"/>
                <a:gd name="connsiteY4" fmla="*/ 20355 h 311745"/>
                <a:gd name="connsiteX5" fmla="*/ 601876 w 627398"/>
                <a:gd name="connsiteY5" fmla="*/ 0 h 31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398" h="311745">
                  <a:moveTo>
                    <a:pt x="601876" y="0"/>
                  </a:moveTo>
                  <a:lnTo>
                    <a:pt x="1071" y="279040"/>
                  </a:lnTo>
                  <a:cubicBezTo>
                    <a:pt x="441" y="288114"/>
                    <a:pt x="0" y="297252"/>
                    <a:pt x="0" y="306515"/>
                  </a:cubicBezTo>
                  <a:cubicBezTo>
                    <a:pt x="0" y="308280"/>
                    <a:pt x="0" y="309981"/>
                    <a:pt x="63" y="311746"/>
                  </a:cubicBezTo>
                  <a:lnTo>
                    <a:pt x="627398" y="20355"/>
                  </a:lnTo>
                  <a:cubicBezTo>
                    <a:pt x="619206" y="13234"/>
                    <a:pt x="610699" y="6428"/>
                    <a:pt x="601876" y="0"/>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66F5C872-B1B7-3389-AA7C-A9C02FB0F5E1}"/>
                </a:ext>
              </a:extLst>
            </p:cNvPr>
            <p:cNvSpPr/>
            <p:nvPr/>
          </p:nvSpPr>
          <p:spPr>
            <a:xfrm>
              <a:off x="987302" y="2920580"/>
              <a:ext cx="693187" cy="342812"/>
            </a:xfrm>
            <a:custGeom>
              <a:avLst/>
              <a:gdLst>
                <a:gd name="connsiteX0" fmla="*/ 677308 w 693187"/>
                <a:gd name="connsiteY0" fmla="*/ 0 h 342812"/>
                <a:gd name="connsiteX1" fmla="*/ 0 w 693187"/>
                <a:gd name="connsiteY1" fmla="*/ 314644 h 342812"/>
                <a:gd name="connsiteX2" fmla="*/ 8759 w 693187"/>
                <a:gd name="connsiteY2" fmla="*/ 342813 h 342812"/>
                <a:gd name="connsiteX3" fmla="*/ 693188 w 693187"/>
                <a:gd name="connsiteY3" fmla="*/ 24892 h 342812"/>
                <a:gd name="connsiteX4" fmla="*/ 677308 w 693187"/>
                <a:gd name="connsiteY4" fmla="*/ 0 h 34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187" h="342812">
                  <a:moveTo>
                    <a:pt x="677308" y="0"/>
                  </a:moveTo>
                  <a:lnTo>
                    <a:pt x="0" y="314644"/>
                  </a:lnTo>
                  <a:cubicBezTo>
                    <a:pt x="2584" y="324223"/>
                    <a:pt x="5483" y="333549"/>
                    <a:pt x="8759" y="342813"/>
                  </a:cubicBezTo>
                  <a:lnTo>
                    <a:pt x="693188" y="24892"/>
                  </a:lnTo>
                  <a:cubicBezTo>
                    <a:pt x="688210" y="16384"/>
                    <a:pt x="682916" y="8066"/>
                    <a:pt x="677308" y="0"/>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AC2443E4-F434-AD1E-4268-1AEE9F3A70B5}"/>
                </a:ext>
              </a:extLst>
            </p:cNvPr>
            <p:cNvSpPr/>
            <p:nvPr/>
          </p:nvSpPr>
          <p:spPr>
            <a:xfrm>
              <a:off x="1120331" y="3151664"/>
              <a:ext cx="611706" cy="303679"/>
            </a:xfrm>
            <a:custGeom>
              <a:avLst/>
              <a:gdLst>
                <a:gd name="connsiteX0" fmla="*/ 611707 w 611706"/>
                <a:gd name="connsiteY0" fmla="*/ 0 h 303679"/>
                <a:gd name="connsiteX1" fmla="*/ 0 w 611706"/>
                <a:gd name="connsiteY1" fmla="*/ 284144 h 303679"/>
                <a:gd name="connsiteX2" fmla="*/ 27412 w 611706"/>
                <a:gd name="connsiteY2" fmla="*/ 303679 h 303679"/>
                <a:gd name="connsiteX3" fmla="*/ 608997 w 611706"/>
                <a:gd name="connsiteY3" fmla="*/ 33525 h 303679"/>
                <a:gd name="connsiteX4" fmla="*/ 611707 w 611706"/>
                <a:gd name="connsiteY4" fmla="*/ 0 h 30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706" h="303679">
                  <a:moveTo>
                    <a:pt x="611707" y="0"/>
                  </a:moveTo>
                  <a:lnTo>
                    <a:pt x="0" y="284144"/>
                  </a:lnTo>
                  <a:cubicBezTo>
                    <a:pt x="8822" y="291013"/>
                    <a:pt x="17960" y="297567"/>
                    <a:pt x="27412" y="303679"/>
                  </a:cubicBezTo>
                  <a:lnTo>
                    <a:pt x="608997" y="33525"/>
                  </a:lnTo>
                  <a:cubicBezTo>
                    <a:pt x="610384" y="22497"/>
                    <a:pt x="611266" y="11343"/>
                    <a:pt x="611707" y="0"/>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A271AA65-4E72-CE3B-BE82-89BA7F714BCD}"/>
                </a:ext>
              </a:extLst>
            </p:cNvPr>
            <p:cNvSpPr/>
            <p:nvPr/>
          </p:nvSpPr>
          <p:spPr>
            <a:xfrm>
              <a:off x="1212588" y="3299691"/>
              <a:ext cx="483152" cy="252068"/>
            </a:xfrm>
            <a:custGeom>
              <a:avLst/>
              <a:gdLst>
                <a:gd name="connsiteX0" fmla="*/ 483152 w 483152"/>
                <a:gd name="connsiteY0" fmla="*/ 0 h 252068"/>
                <a:gd name="connsiteX1" fmla="*/ 0 w 483152"/>
                <a:gd name="connsiteY1" fmla="*/ 224404 h 252068"/>
                <a:gd name="connsiteX2" fmla="*/ 9768 w 483152"/>
                <a:gd name="connsiteY2" fmla="*/ 252068 h 252068"/>
                <a:gd name="connsiteX3" fmla="*/ 458764 w 483152"/>
                <a:gd name="connsiteY3" fmla="*/ 43545 h 252068"/>
                <a:gd name="connsiteX4" fmla="*/ 483152 w 483152"/>
                <a:gd name="connsiteY4" fmla="*/ 0 h 252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152" h="252068">
                  <a:moveTo>
                    <a:pt x="483152" y="0"/>
                  </a:moveTo>
                  <a:lnTo>
                    <a:pt x="0" y="224404"/>
                  </a:lnTo>
                  <a:cubicBezTo>
                    <a:pt x="4159" y="233226"/>
                    <a:pt x="7436" y="242553"/>
                    <a:pt x="9768" y="252068"/>
                  </a:cubicBezTo>
                  <a:lnTo>
                    <a:pt x="458764" y="43545"/>
                  </a:lnTo>
                  <a:cubicBezTo>
                    <a:pt x="467839" y="29618"/>
                    <a:pt x="475968" y="15061"/>
                    <a:pt x="483152" y="0"/>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C7142D8A-8393-AE66-EEFD-3CA3BD818995}"/>
                </a:ext>
              </a:extLst>
            </p:cNvPr>
            <p:cNvSpPr/>
            <p:nvPr/>
          </p:nvSpPr>
          <p:spPr>
            <a:xfrm>
              <a:off x="1035825" y="3027709"/>
              <a:ext cx="687894" cy="340355"/>
            </a:xfrm>
            <a:custGeom>
              <a:avLst/>
              <a:gdLst>
                <a:gd name="connsiteX0" fmla="*/ 680522 w 687894"/>
                <a:gd name="connsiteY0" fmla="*/ 63 h 340355"/>
                <a:gd name="connsiteX1" fmla="*/ 0 w 687894"/>
                <a:gd name="connsiteY1" fmla="*/ 316157 h 340355"/>
                <a:gd name="connsiteX2" fmla="*/ 17204 w 687894"/>
                <a:gd name="connsiteY2" fmla="*/ 340355 h 340355"/>
                <a:gd name="connsiteX3" fmla="*/ 687895 w 687894"/>
                <a:gd name="connsiteY3" fmla="*/ 28799 h 340355"/>
                <a:gd name="connsiteX4" fmla="*/ 680459 w 687894"/>
                <a:gd name="connsiteY4" fmla="*/ 0 h 340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894" h="340355">
                  <a:moveTo>
                    <a:pt x="680522" y="63"/>
                  </a:moveTo>
                  <a:lnTo>
                    <a:pt x="0" y="316157"/>
                  </a:lnTo>
                  <a:cubicBezTo>
                    <a:pt x="5419" y="324475"/>
                    <a:pt x="11217" y="332541"/>
                    <a:pt x="17204" y="340355"/>
                  </a:cubicBezTo>
                  <a:lnTo>
                    <a:pt x="687895" y="28799"/>
                  </a:lnTo>
                  <a:cubicBezTo>
                    <a:pt x="685815" y="19031"/>
                    <a:pt x="683294" y="9453"/>
                    <a:pt x="680459" y="0"/>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86A83B78-4EEE-B440-75E1-0476B03B39C5}"/>
                </a:ext>
              </a:extLst>
            </p:cNvPr>
            <p:cNvSpPr/>
            <p:nvPr/>
          </p:nvSpPr>
          <p:spPr>
            <a:xfrm>
              <a:off x="1159401" y="3524472"/>
              <a:ext cx="334809" cy="187728"/>
            </a:xfrm>
            <a:custGeom>
              <a:avLst/>
              <a:gdLst>
                <a:gd name="connsiteX0" fmla="*/ 334810 w 334809"/>
                <a:gd name="connsiteY0" fmla="*/ 0 h 187728"/>
                <a:gd name="connsiteX1" fmla="*/ 50288 w 334809"/>
                <a:gd name="connsiteY1" fmla="*/ 132147 h 187728"/>
                <a:gd name="connsiteX2" fmla="*/ 0 w 334809"/>
                <a:gd name="connsiteY2" fmla="*/ 187728 h 187728"/>
                <a:gd name="connsiteX3" fmla="*/ 322900 w 334809"/>
                <a:gd name="connsiteY3" fmla="*/ 37747 h 187728"/>
                <a:gd name="connsiteX4" fmla="*/ 334810 w 334809"/>
                <a:gd name="connsiteY4" fmla="*/ 0 h 18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09" h="187728">
                  <a:moveTo>
                    <a:pt x="334810" y="0"/>
                  </a:moveTo>
                  <a:lnTo>
                    <a:pt x="50288" y="132147"/>
                  </a:lnTo>
                  <a:cubicBezTo>
                    <a:pt x="38692" y="154329"/>
                    <a:pt x="21552" y="173549"/>
                    <a:pt x="0" y="187728"/>
                  </a:cubicBezTo>
                  <a:lnTo>
                    <a:pt x="322900" y="37747"/>
                  </a:lnTo>
                  <a:cubicBezTo>
                    <a:pt x="325168" y="24577"/>
                    <a:pt x="329201" y="11910"/>
                    <a:pt x="334810" y="0"/>
                  </a:cubicBez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DE44946B-0995-10DF-88F6-E2737D9A0039}"/>
                </a:ext>
              </a:extLst>
            </p:cNvPr>
            <p:cNvSpPr/>
            <p:nvPr/>
          </p:nvSpPr>
          <p:spPr>
            <a:xfrm>
              <a:off x="993036" y="3654792"/>
              <a:ext cx="518945" cy="265932"/>
            </a:xfrm>
            <a:custGeom>
              <a:avLst/>
              <a:gdLst>
                <a:gd name="connsiteX0" fmla="*/ 503128 w 518945"/>
                <a:gd name="connsiteY0" fmla="*/ 0 h 265932"/>
                <a:gd name="connsiteX1" fmla="*/ 15250 w 518945"/>
                <a:gd name="connsiteY1" fmla="*/ 226610 h 265932"/>
                <a:gd name="connsiteX2" fmla="*/ 0 w 518945"/>
                <a:gd name="connsiteY2" fmla="*/ 265932 h 265932"/>
                <a:gd name="connsiteX3" fmla="*/ 518946 w 518945"/>
                <a:gd name="connsiteY3" fmla="*/ 24892 h 265932"/>
                <a:gd name="connsiteX4" fmla="*/ 503128 w 518945"/>
                <a:gd name="connsiteY4" fmla="*/ 0 h 265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945" h="265932">
                  <a:moveTo>
                    <a:pt x="503128" y="0"/>
                  </a:moveTo>
                  <a:lnTo>
                    <a:pt x="15250" y="226610"/>
                  </a:lnTo>
                  <a:cubicBezTo>
                    <a:pt x="9453" y="239339"/>
                    <a:pt x="4411" y="252510"/>
                    <a:pt x="0" y="265932"/>
                  </a:cubicBezTo>
                  <a:lnTo>
                    <a:pt x="518946" y="24892"/>
                  </a:lnTo>
                  <a:cubicBezTo>
                    <a:pt x="512833" y="17141"/>
                    <a:pt x="507540" y="8823"/>
                    <a:pt x="503128" y="0"/>
                  </a:cubicBez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DA8FAD90-2DBB-0A66-C231-46068DB810D9}"/>
                </a:ext>
              </a:extLst>
            </p:cNvPr>
            <p:cNvSpPr/>
            <p:nvPr/>
          </p:nvSpPr>
          <p:spPr>
            <a:xfrm>
              <a:off x="1044773" y="3944040"/>
              <a:ext cx="682096" cy="337582"/>
            </a:xfrm>
            <a:custGeom>
              <a:avLst/>
              <a:gdLst>
                <a:gd name="connsiteX0" fmla="*/ 675795 w 682096"/>
                <a:gd name="connsiteY0" fmla="*/ 0 h 337582"/>
                <a:gd name="connsiteX1" fmla="*/ 0 w 682096"/>
                <a:gd name="connsiteY1" fmla="*/ 313888 h 337582"/>
                <a:gd name="connsiteX2" fmla="*/ 18401 w 682096"/>
                <a:gd name="connsiteY2" fmla="*/ 337583 h 337582"/>
                <a:gd name="connsiteX3" fmla="*/ 682097 w 682096"/>
                <a:gd name="connsiteY3" fmla="*/ 29303 h 337582"/>
                <a:gd name="connsiteX4" fmla="*/ 675795 w 682096"/>
                <a:gd name="connsiteY4" fmla="*/ 0 h 33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096" h="337582">
                  <a:moveTo>
                    <a:pt x="675795" y="0"/>
                  </a:moveTo>
                  <a:lnTo>
                    <a:pt x="0" y="313888"/>
                  </a:lnTo>
                  <a:cubicBezTo>
                    <a:pt x="5798" y="322017"/>
                    <a:pt x="11973" y="329957"/>
                    <a:pt x="18401" y="337583"/>
                  </a:cubicBezTo>
                  <a:lnTo>
                    <a:pt x="682097" y="29303"/>
                  </a:lnTo>
                  <a:cubicBezTo>
                    <a:pt x="680396" y="19409"/>
                    <a:pt x="678253" y="9641"/>
                    <a:pt x="675795" y="0"/>
                  </a:cubicBez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953854F1-8970-FE34-3CDF-2A4A816A3387}"/>
                </a:ext>
              </a:extLst>
            </p:cNvPr>
            <p:cNvSpPr/>
            <p:nvPr/>
          </p:nvSpPr>
          <p:spPr>
            <a:xfrm>
              <a:off x="974446" y="3742196"/>
              <a:ext cx="639938" cy="317984"/>
            </a:xfrm>
            <a:custGeom>
              <a:avLst/>
              <a:gdLst>
                <a:gd name="connsiteX0" fmla="*/ 615866 w 639938"/>
                <a:gd name="connsiteY0" fmla="*/ 0 h 317984"/>
                <a:gd name="connsiteX1" fmla="*/ 189 w 639938"/>
                <a:gd name="connsiteY1" fmla="*/ 285972 h 317984"/>
                <a:gd name="connsiteX2" fmla="*/ 0 w 639938"/>
                <a:gd name="connsiteY2" fmla="*/ 295802 h 317984"/>
                <a:gd name="connsiteX3" fmla="*/ 693 w 639938"/>
                <a:gd name="connsiteY3" fmla="*/ 317984 h 317984"/>
                <a:gd name="connsiteX4" fmla="*/ 639939 w 639938"/>
                <a:gd name="connsiteY4" fmla="*/ 21048 h 317984"/>
                <a:gd name="connsiteX5" fmla="*/ 615866 w 639938"/>
                <a:gd name="connsiteY5" fmla="*/ 0 h 3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938" h="317984">
                  <a:moveTo>
                    <a:pt x="615866" y="0"/>
                  </a:moveTo>
                  <a:lnTo>
                    <a:pt x="189" y="285972"/>
                  </a:lnTo>
                  <a:cubicBezTo>
                    <a:pt x="126" y="289249"/>
                    <a:pt x="0" y="292526"/>
                    <a:pt x="0" y="295802"/>
                  </a:cubicBezTo>
                  <a:cubicBezTo>
                    <a:pt x="0" y="303238"/>
                    <a:pt x="252" y="310611"/>
                    <a:pt x="693" y="317984"/>
                  </a:cubicBezTo>
                  <a:lnTo>
                    <a:pt x="639939" y="21048"/>
                  </a:lnTo>
                  <a:cubicBezTo>
                    <a:pt x="632188" y="13738"/>
                    <a:pt x="624184" y="6680"/>
                    <a:pt x="615866" y="0"/>
                  </a:cubicBez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0A2BE29A-30C5-C648-4791-E3EB7524F3F1}"/>
                </a:ext>
              </a:extLst>
            </p:cNvPr>
            <p:cNvSpPr/>
            <p:nvPr/>
          </p:nvSpPr>
          <p:spPr>
            <a:xfrm>
              <a:off x="991776" y="3834832"/>
              <a:ext cx="696401" cy="344262"/>
            </a:xfrm>
            <a:custGeom>
              <a:avLst/>
              <a:gdLst>
                <a:gd name="connsiteX0" fmla="*/ 681530 w 696401"/>
                <a:gd name="connsiteY0" fmla="*/ 0 h 344262"/>
                <a:gd name="connsiteX1" fmla="*/ 0 w 696401"/>
                <a:gd name="connsiteY1" fmla="*/ 316598 h 344262"/>
                <a:gd name="connsiteX2" fmla="*/ 9894 w 696401"/>
                <a:gd name="connsiteY2" fmla="*/ 344262 h 344262"/>
                <a:gd name="connsiteX3" fmla="*/ 696402 w 696401"/>
                <a:gd name="connsiteY3" fmla="*/ 25396 h 344262"/>
                <a:gd name="connsiteX4" fmla="*/ 681593 w 696401"/>
                <a:gd name="connsiteY4" fmla="*/ 63 h 344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401" h="344262">
                  <a:moveTo>
                    <a:pt x="681530" y="0"/>
                  </a:moveTo>
                  <a:lnTo>
                    <a:pt x="0" y="316598"/>
                  </a:lnTo>
                  <a:cubicBezTo>
                    <a:pt x="2962" y="325988"/>
                    <a:pt x="6239" y="335188"/>
                    <a:pt x="9894" y="344262"/>
                  </a:cubicBezTo>
                  <a:lnTo>
                    <a:pt x="696402" y="25396"/>
                  </a:lnTo>
                  <a:cubicBezTo>
                    <a:pt x="691802" y="16763"/>
                    <a:pt x="686823" y="8318"/>
                    <a:pt x="681593" y="63"/>
                  </a:cubicBez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55286F0E-AF63-DA77-3D8D-FB00B0FF77E6}"/>
                </a:ext>
              </a:extLst>
            </p:cNvPr>
            <p:cNvSpPr/>
            <p:nvPr/>
          </p:nvSpPr>
          <p:spPr>
            <a:xfrm>
              <a:off x="1134573" y="4070453"/>
              <a:ext cx="596393" cy="295991"/>
            </a:xfrm>
            <a:custGeom>
              <a:avLst/>
              <a:gdLst>
                <a:gd name="connsiteX0" fmla="*/ 596394 w 596393"/>
                <a:gd name="connsiteY0" fmla="*/ 0 h 295991"/>
                <a:gd name="connsiteX1" fmla="*/ 0 w 596393"/>
                <a:gd name="connsiteY1" fmla="*/ 277023 h 295991"/>
                <a:gd name="connsiteX2" fmla="*/ 20859 w 596393"/>
                <a:gd name="connsiteY2" fmla="*/ 290824 h 295991"/>
                <a:gd name="connsiteX3" fmla="*/ 28673 w 596393"/>
                <a:gd name="connsiteY3" fmla="*/ 295991 h 295991"/>
                <a:gd name="connsiteX4" fmla="*/ 591919 w 596393"/>
                <a:gd name="connsiteY4" fmla="*/ 34344 h 295991"/>
                <a:gd name="connsiteX5" fmla="*/ 596394 w 596393"/>
                <a:gd name="connsiteY5" fmla="*/ 0 h 29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6393" h="295991">
                  <a:moveTo>
                    <a:pt x="596394" y="0"/>
                  </a:moveTo>
                  <a:lnTo>
                    <a:pt x="0" y="277023"/>
                  </a:lnTo>
                  <a:cubicBezTo>
                    <a:pt x="6806" y="281812"/>
                    <a:pt x="13738" y="286413"/>
                    <a:pt x="20859" y="290824"/>
                  </a:cubicBezTo>
                  <a:cubicBezTo>
                    <a:pt x="23505" y="292462"/>
                    <a:pt x="26152" y="294164"/>
                    <a:pt x="28673" y="295991"/>
                  </a:cubicBezTo>
                  <a:lnTo>
                    <a:pt x="591919" y="34344"/>
                  </a:lnTo>
                  <a:cubicBezTo>
                    <a:pt x="593936" y="23064"/>
                    <a:pt x="595448" y="11595"/>
                    <a:pt x="596394" y="0"/>
                  </a:cubicBez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42008736-AB2E-0B5D-63BC-D082B3C834CE}"/>
                </a:ext>
              </a:extLst>
            </p:cNvPr>
            <p:cNvSpPr/>
            <p:nvPr/>
          </p:nvSpPr>
          <p:spPr>
            <a:xfrm>
              <a:off x="1098275" y="4446475"/>
              <a:ext cx="387933" cy="212430"/>
            </a:xfrm>
            <a:custGeom>
              <a:avLst/>
              <a:gdLst>
                <a:gd name="connsiteX0" fmla="*/ 387933 w 387933"/>
                <a:gd name="connsiteY0" fmla="*/ 0 h 212430"/>
                <a:gd name="connsiteX1" fmla="*/ 95219 w 387933"/>
                <a:gd name="connsiteY1" fmla="*/ 135991 h 212430"/>
                <a:gd name="connsiteX2" fmla="*/ 57220 w 387933"/>
                <a:gd name="connsiteY2" fmla="*/ 169390 h 212430"/>
                <a:gd name="connsiteX3" fmla="*/ 0 w 387933"/>
                <a:gd name="connsiteY3" fmla="*/ 212431 h 212430"/>
                <a:gd name="connsiteX4" fmla="*/ 382073 w 387933"/>
                <a:gd name="connsiteY4" fmla="*/ 34974 h 212430"/>
                <a:gd name="connsiteX5" fmla="*/ 387933 w 387933"/>
                <a:gd name="connsiteY5" fmla="*/ 0 h 21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933" h="212430">
                  <a:moveTo>
                    <a:pt x="387933" y="0"/>
                  </a:moveTo>
                  <a:lnTo>
                    <a:pt x="95219" y="135991"/>
                  </a:lnTo>
                  <a:cubicBezTo>
                    <a:pt x="84695" y="149036"/>
                    <a:pt x="71902" y="160379"/>
                    <a:pt x="57220" y="169390"/>
                  </a:cubicBezTo>
                  <a:cubicBezTo>
                    <a:pt x="36802" y="181930"/>
                    <a:pt x="17645" y="196361"/>
                    <a:pt x="0" y="212431"/>
                  </a:cubicBezTo>
                  <a:lnTo>
                    <a:pt x="382073" y="34974"/>
                  </a:lnTo>
                  <a:cubicBezTo>
                    <a:pt x="382640" y="23001"/>
                    <a:pt x="384656" y="11280"/>
                    <a:pt x="387933" y="0"/>
                  </a:cubicBez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2B983CAE-D7BD-968F-D0D4-6B5A4279776C}"/>
                </a:ext>
              </a:extLst>
            </p:cNvPr>
            <p:cNvSpPr/>
            <p:nvPr/>
          </p:nvSpPr>
          <p:spPr>
            <a:xfrm>
              <a:off x="1218448" y="4223395"/>
              <a:ext cx="465507" cy="245262"/>
            </a:xfrm>
            <a:custGeom>
              <a:avLst/>
              <a:gdLst>
                <a:gd name="connsiteX0" fmla="*/ 465507 w 465507"/>
                <a:gd name="connsiteY0" fmla="*/ 63 h 245262"/>
                <a:gd name="connsiteX1" fmla="*/ 0 w 465507"/>
                <a:gd name="connsiteY1" fmla="*/ 216275 h 245262"/>
                <a:gd name="connsiteX2" fmla="*/ 6932 w 465507"/>
                <a:gd name="connsiteY2" fmla="*/ 245262 h 245262"/>
                <a:gd name="connsiteX3" fmla="*/ 434503 w 465507"/>
                <a:gd name="connsiteY3" fmla="*/ 46632 h 245262"/>
                <a:gd name="connsiteX4" fmla="*/ 465444 w 465507"/>
                <a:gd name="connsiteY4" fmla="*/ 0 h 245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507" h="245262">
                  <a:moveTo>
                    <a:pt x="465507" y="63"/>
                  </a:moveTo>
                  <a:lnTo>
                    <a:pt x="0" y="216275"/>
                  </a:lnTo>
                  <a:cubicBezTo>
                    <a:pt x="3214" y="225664"/>
                    <a:pt x="5609" y="235369"/>
                    <a:pt x="6932" y="245262"/>
                  </a:cubicBezTo>
                  <a:lnTo>
                    <a:pt x="434503" y="46632"/>
                  </a:lnTo>
                  <a:cubicBezTo>
                    <a:pt x="445909" y="31887"/>
                    <a:pt x="456307" y="16321"/>
                    <a:pt x="465444" y="0"/>
                  </a:cubicBez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99979837-98EE-1C16-EDA2-A255246B26BC}"/>
                </a:ext>
              </a:extLst>
            </p:cNvPr>
            <p:cNvSpPr/>
            <p:nvPr/>
          </p:nvSpPr>
          <p:spPr>
            <a:xfrm>
              <a:off x="987113" y="4569359"/>
              <a:ext cx="535771" cy="272423"/>
            </a:xfrm>
            <a:custGeom>
              <a:avLst/>
              <a:gdLst>
                <a:gd name="connsiteX0" fmla="*/ 516992 w 535771"/>
                <a:gd name="connsiteY0" fmla="*/ 0 h 272423"/>
                <a:gd name="connsiteX1" fmla="*/ 12225 w 535771"/>
                <a:gd name="connsiteY1" fmla="*/ 234487 h 272423"/>
                <a:gd name="connsiteX2" fmla="*/ 0 w 535771"/>
                <a:gd name="connsiteY2" fmla="*/ 272423 h 272423"/>
                <a:gd name="connsiteX3" fmla="*/ 535771 w 535771"/>
                <a:gd name="connsiteY3" fmla="*/ 23568 h 272423"/>
                <a:gd name="connsiteX4" fmla="*/ 516992 w 535771"/>
                <a:gd name="connsiteY4" fmla="*/ 63 h 272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771" h="272423">
                  <a:moveTo>
                    <a:pt x="516992" y="0"/>
                  </a:moveTo>
                  <a:lnTo>
                    <a:pt x="12225" y="234487"/>
                  </a:lnTo>
                  <a:cubicBezTo>
                    <a:pt x="7499" y="246838"/>
                    <a:pt x="3403" y="259504"/>
                    <a:pt x="0" y="272423"/>
                  </a:cubicBezTo>
                  <a:lnTo>
                    <a:pt x="535771" y="23568"/>
                  </a:lnTo>
                  <a:cubicBezTo>
                    <a:pt x="528713" y="16322"/>
                    <a:pt x="522412" y="8444"/>
                    <a:pt x="516992" y="63"/>
                  </a:cubicBez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904B369C-E709-78D6-53F7-BD0B21741285}"/>
                </a:ext>
              </a:extLst>
            </p:cNvPr>
            <p:cNvSpPr/>
            <p:nvPr/>
          </p:nvSpPr>
          <p:spPr>
            <a:xfrm>
              <a:off x="974635" y="4654306"/>
              <a:ext cx="651596" cy="323529"/>
            </a:xfrm>
            <a:custGeom>
              <a:avLst/>
              <a:gdLst>
                <a:gd name="connsiteX0" fmla="*/ 628848 w 651596"/>
                <a:gd name="connsiteY0" fmla="*/ 63 h 323529"/>
                <a:gd name="connsiteX1" fmla="*/ 0 w 651596"/>
                <a:gd name="connsiteY1" fmla="*/ 292147 h 323529"/>
                <a:gd name="connsiteX2" fmla="*/ 1764 w 651596"/>
                <a:gd name="connsiteY2" fmla="*/ 323530 h 323529"/>
                <a:gd name="connsiteX3" fmla="*/ 651597 w 651596"/>
                <a:gd name="connsiteY3" fmla="*/ 21678 h 323529"/>
                <a:gd name="connsiteX4" fmla="*/ 628848 w 651596"/>
                <a:gd name="connsiteY4" fmla="*/ 0 h 323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96" h="323529">
                  <a:moveTo>
                    <a:pt x="628848" y="63"/>
                  </a:moveTo>
                  <a:lnTo>
                    <a:pt x="0" y="292147"/>
                  </a:lnTo>
                  <a:cubicBezTo>
                    <a:pt x="189" y="302734"/>
                    <a:pt x="756" y="313195"/>
                    <a:pt x="1764" y="323530"/>
                  </a:cubicBezTo>
                  <a:lnTo>
                    <a:pt x="651597" y="21678"/>
                  </a:lnTo>
                  <a:cubicBezTo>
                    <a:pt x="644350" y="14116"/>
                    <a:pt x="636725" y="6932"/>
                    <a:pt x="628848" y="0"/>
                  </a:cubicBez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CF2986A5-0460-09C7-04FE-E2D2674E7598}"/>
                </a:ext>
              </a:extLst>
            </p:cNvPr>
            <p:cNvSpPr/>
            <p:nvPr/>
          </p:nvSpPr>
          <p:spPr>
            <a:xfrm>
              <a:off x="1054415" y="4860687"/>
              <a:ext cx="674849" cy="334305"/>
            </a:xfrm>
            <a:custGeom>
              <a:avLst/>
              <a:gdLst>
                <a:gd name="connsiteX0" fmla="*/ 669809 w 674849"/>
                <a:gd name="connsiteY0" fmla="*/ 0 h 334305"/>
                <a:gd name="connsiteX1" fmla="*/ 0 w 674849"/>
                <a:gd name="connsiteY1" fmla="*/ 311115 h 334305"/>
                <a:gd name="connsiteX2" fmla="*/ 19472 w 674849"/>
                <a:gd name="connsiteY2" fmla="*/ 334306 h 334305"/>
                <a:gd name="connsiteX3" fmla="*/ 674850 w 674849"/>
                <a:gd name="connsiteY3" fmla="*/ 29870 h 334305"/>
                <a:gd name="connsiteX4" fmla="*/ 669746 w 674849"/>
                <a:gd name="connsiteY4" fmla="*/ 0 h 334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849" h="334305">
                  <a:moveTo>
                    <a:pt x="669809" y="0"/>
                  </a:moveTo>
                  <a:lnTo>
                    <a:pt x="0" y="311115"/>
                  </a:lnTo>
                  <a:cubicBezTo>
                    <a:pt x="6239" y="319118"/>
                    <a:pt x="12666" y="326870"/>
                    <a:pt x="19472" y="334306"/>
                  </a:cubicBezTo>
                  <a:lnTo>
                    <a:pt x="674850" y="29870"/>
                  </a:lnTo>
                  <a:cubicBezTo>
                    <a:pt x="673590" y="19787"/>
                    <a:pt x="671825" y="9831"/>
                    <a:pt x="669746" y="0"/>
                  </a:cubicBez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5E3A56B1-0139-A66C-C044-F1B5E1FFF9B8}"/>
                </a:ext>
              </a:extLst>
            </p:cNvPr>
            <p:cNvSpPr/>
            <p:nvPr/>
          </p:nvSpPr>
          <p:spPr>
            <a:xfrm>
              <a:off x="1309886" y="5148486"/>
              <a:ext cx="359512" cy="169578"/>
            </a:xfrm>
            <a:custGeom>
              <a:avLst/>
              <a:gdLst>
                <a:gd name="connsiteX0" fmla="*/ 43545 w 359512"/>
                <a:gd name="connsiteY0" fmla="*/ 169579 h 169578"/>
                <a:gd name="connsiteX1" fmla="*/ 65349 w 359512"/>
                <a:gd name="connsiteY1" fmla="*/ 168886 h 169578"/>
                <a:gd name="connsiteX2" fmla="*/ 318804 w 359512"/>
                <a:gd name="connsiteY2" fmla="*/ 51170 h 169578"/>
                <a:gd name="connsiteX3" fmla="*/ 359513 w 359512"/>
                <a:gd name="connsiteY3" fmla="*/ 0 h 169578"/>
                <a:gd name="connsiteX4" fmla="*/ 0 w 359512"/>
                <a:gd name="connsiteY4" fmla="*/ 166995 h 169578"/>
                <a:gd name="connsiteX5" fmla="*/ 43545 w 359512"/>
                <a:gd name="connsiteY5" fmla="*/ 169579 h 16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512" h="169578">
                  <a:moveTo>
                    <a:pt x="43545" y="169579"/>
                  </a:moveTo>
                  <a:cubicBezTo>
                    <a:pt x="50855" y="169579"/>
                    <a:pt x="58102" y="169327"/>
                    <a:pt x="65349" y="168886"/>
                  </a:cubicBezTo>
                  <a:lnTo>
                    <a:pt x="318804" y="51170"/>
                  </a:lnTo>
                  <a:cubicBezTo>
                    <a:pt x="333802" y="35352"/>
                    <a:pt x="347413" y="18275"/>
                    <a:pt x="359513" y="0"/>
                  </a:cubicBezTo>
                  <a:lnTo>
                    <a:pt x="0" y="166995"/>
                  </a:lnTo>
                  <a:cubicBezTo>
                    <a:pt x="14305" y="168634"/>
                    <a:pt x="28799" y="169579"/>
                    <a:pt x="43545" y="169579"/>
                  </a:cubicBez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F80FE071-EE3F-1D27-7A01-DD8A47D7E26E}"/>
                </a:ext>
              </a:extLst>
            </p:cNvPr>
            <p:cNvSpPr/>
            <p:nvPr/>
          </p:nvSpPr>
          <p:spPr>
            <a:xfrm>
              <a:off x="996754" y="4749336"/>
              <a:ext cx="698418" cy="345144"/>
            </a:xfrm>
            <a:custGeom>
              <a:avLst/>
              <a:gdLst>
                <a:gd name="connsiteX0" fmla="*/ 684744 w 698418"/>
                <a:gd name="connsiteY0" fmla="*/ 0 h 345144"/>
                <a:gd name="connsiteX1" fmla="*/ 0 w 698418"/>
                <a:gd name="connsiteY1" fmla="*/ 318047 h 345144"/>
                <a:gd name="connsiteX2" fmla="*/ 11028 w 698418"/>
                <a:gd name="connsiteY2" fmla="*/ 345145 h 345144"/>
                <a:gd name="connsiteX3" fmla="*/ 698418 w 698418"/>
                <a:gd name="connsiteY3" fmla="*/ 25837 h 345144"/>
                <a:gd name="connsiteX4" fmla="*/ 684681 w 698418"/>
                <a:gd name="connsiteY4" fmla="*/ 0 h 345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418" h="345144">
                  <a:moveTo>
                    <a:pt x="684744" y="0"/>
                  </a:moveTo>
                  <a:lnTo>
                    <a:pt x="0" y="318047"/>
                  </a:lnTo>
                  <a:cubicBezTo>
                    <a:pt x="3340" y="327248"/>
                    <a:pt x="7058" y="336259"/>
                    <a:pt x="11028" y="345145"/>
                  </a:cubicBezTo>
                  <a:lnTo>
                    <a:pt x="698418" y="25837"/>
                  </a:lnTo>
                  <a:cubicBezTo>
                    <a:pt x="694196" y="17015"/>
                    <a:pt x="689596" y="8381"/>
                    <a:pt x="684681" y="0"/>
                  </a:cubicBez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02BCBCDB-4294-4154-A977-EA715B9DD326}"/>
                </a:ext>
              </a:extLst>
            </p:cNvPr>
            <p:cNvSpPr/>
            <p:nvPr/>
          </p:nvSpPr>
          <p:spPr>
            <a:xfrm>
              <a:off x="1149823" y="4989683"/>
              <a:ext cx="579127" cy="286853"/>
            </a:xfrm>
            <a:custGeom>
              <a:avLst/>
              <a:gdLst>
                <a:gd name="connsiteX0" fmla="*/ 579127 w 579127"/>
                <a:gd name="connsiteY0" fmla="*/ 0 h 286853"/>
                <a:gd name="connsiteX1" fmla="*/ 0 w 579127"/>
                <a:gd name="connsiteY1" fmla="*/ 269020 h 286853"/>
                <a:gd name="connsiteX2" fmla="*/ 31067 w 579127"/>
                <a:gd name="connsiteY2" fmla="*/ 286854 h 286853"/>
                <a:gd name="connsiteX3" fmla="*/ 572762 w 579127"/>
                <a:gd name="connsiteY3" fmla="*/ 35227 h 286853"/>
                <a:gd name="connsiteX4" fmla="*/ 579127 w 579127"/>
                <a:gd name="connsiteY4" fmla="*/ 0 h 286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127" h="286853">
                  <a:moveTo>
                    <a:pt x="579127" y="0"/>
                  </a:moveTo>
                  <a:lnTo>
                    <a:pt x="0" y="269020"/>
                  </a:lnTo>
                  <a:cubicBezTo>
                    <a:pt x="10020" y="275448"/>
                    <a:pt x="20418" y="281371"/>
                    <a:pt x="31067" y="286854"/>
                  </a:cubicBezTo>
                  <a:lnTo>
                    <a:pt x="572762" y="35227"/>
                  </a:lnTo>
                  <a:cubicBezTo>
                    <a:pt x="575409" y="23694"/>
                    <a:pt x="577552" y="11973"/>
                    <a:pt x="579127" y="0"/>
                  </a:cubicBez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82AB0D7A-E87C-CC11-1915-A1A1EBE0F573}"/>
                </a:ext>
              </a:extLst>
            </p:cNvPr>
            <p:cNvSpPr/>
            <p:nvPr/>
          </p:nvSpPr>
          <p:spPr>
            <a:xfrm>
              <a:off x="956108" y="404812"/>
              <a:ext cx="2589246" cy="425680"/>
            </a:xfrm>
            <a:custGeom>
              <a:avLst/>
              <a:gdLst>
                <a:gd name="connsiteX0" fmla="*/ 2558620 w 2589246"/>
                <a:gd name="connsiteY0" fmla="*/ 0 h 425680"/>
                <a:gd name="connsiteX1" fmla="*/ 2560132 w 2589246"/>
                <a:gd name="connsiteY1" fmla="*/ 32076 h 425680"/>
                <a:gd name="connsiteX2" fmla="*/ 2195768 w 2589246"/>
                <a:gd name="connsiteY2" fmla="*/ 396441 h 425680"/>
                <a:gd name="connsiteX3" fmla="*/ 1885030 w 2589246"/>
                <a:gd name="connsiteY3" fmla="*/ 222387 h 425680"/>
                <a:gd name="connsiteX4" fmla="*/ 1745069 w 2589246"/>
                <a:gd name="connsiteY4" fmla="*/ 144120 h 425680"/>
                <a:gd name="connsiteX5" fmla="*/ 1605423 w 2589246"/>
                <a:gd name="connsiteY5" fmla="*/ 222387 h 425680"/>
                <a:gd name="connsiteX6" fmla="*/ 1294686 w 2589246"/>
                <a:gd name="connsiteY6" fmla="*/ 396441 h 425680"/>
                <a:gd name="connsiteX7" fmla="*/ 983949 w 2589246"/>
                <a:gd name="connsiteY7" fmla="*/ 222387 h 425680"/>
                <a:gd name="connsiteX8" fmla="*/ 843988 w 2589246"/>
                <a:gd name="connsiteY8" fmla="*/ 144120 h 425680"/>
                <a:gd name="connsiteX9" fmla="*/ 704342 w 2589246"/>
                <a:gd name="connsiteY9" fmla="*/ 222387 h 425680"/>
                <a:gd name="connsiteX10" fmla="*/ 393605 w 2589246"/>
                <a:gd name="connsiteY10" fmla="*/ 396441 h 425680"/>
                <a:gd name="connsiteX11" fmla="*/ 29240 w 2589246"/>
                <a:gd name="connsiteY11" fmla="*/ 32076 h 425680"/>
                <a:gd name="connsiteX12" fmla="*/ 30752 w 2589246"/>
                <a:gd name="connsiteY12" fmla="*/ 0 h 425680"/>
                <a:gd name="connsiteX13" fmla="*/ 1449 w 2589246"/>
                <a:gd name="connsiteY13" fmla="*/ 0 h 425680"/>
                <a:gd name="connsiteX14" fmla="*/ 0 w 2589246"/>
                <a:gd name="connsiteY14" fmla="*/ 32076 h 425680"/>
                <a:gd name="connsiteX15" fmla="*/ 393605 w 2589246"/>
                <a:gd name="connsiteY15" fmla="*/ 425680 h 425680"/>
                <a:gd name="connsiteX16" fmla="*/ 729234 w 2589246"/>
                <a:gd name="connsiteY16" fmla="*/ 237700 h 425680"/>
                <a:gd name="connsiteX17" fmla="*/ 844303 w 2589246"/>
                <a:gd name="connsiteY17" fmla="*/ 173423 h 425680"/>
                <a:gd name="connsiteX18" fmla="*/ 958994 w 2589246"/>
                <a:gd name="connsiteY18" fmla="*/ 237700 h 425680"/>
                <a:gd name="connsiteX19" fmla="*/ 1294623 w 2589246"/>
                <a:gd name="connsiteY19" fmla="*/ 425680 h 425680"/>
                <a:gd name="connsiteX20" fmla="*/ 1630252 w 2589246"/>
                <a:gd name="connsiteY20" fmla="*/ 237700 h 425680"/>
                <a:gd name="connsiteX21" fmla="*/ 1745321 w 2589246"/>
                <a:gd name="connsiteY21" fmla="*/ 173423 h 425680"/>
                <a:gd name="connsiteX22" fmla="*/ 1860013 w 2589246"/>
                <a:gd name="connsiteY22" fmla="*/ 237700 h 425680"/>
                <a:gd name="connsiteX23" fmla="*/ 2195641 w 2589246"/>
                <a:gd name="connsiteY23" fmla="*/ 425680 h 425680"/>
                <a:gd name="connsiteX24" fmla="*/ 2589246 w 2589246"/>
                <a:gd name="connsiteY24" fmla="*/ 32076 h 425680"/>
                <a:gd name="connsiteX25" fmla="*/ 2587797 w 2589246"/>
                <a:gd name="connsiteY25" fmla="*/ 0 h 425680"/>
                <a:gd name="connsiteX26" fmla="*/ 2558494 w 2589246"/>
                <a:gd name="connsiteY26" fmla="*/ 0 h 42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9246" h="425680">
                  <a:moveTo>
                    <a:pt x="2558620" y="0"/>
                  </a:moveTo>
                  <a:cubicBezTo>
                    <a:pt x="2559565" y="10587"/>
                    <a:pt x="2560132" y="21237"/>
                    <a:pt x="2560132" y="32076"/>
                  </a:cubicBezTo>
                  <a:cubicBezTo>
                    <a:pt x="2560132" y="232974"/>
                    <a:pt x="2396666" y="396441"/>
                    <a:pt x="2195768" y="396441"/>
                  </a:cubicBezTo>
                  <a:cubicBezTo>
                    <a:pt x="2068095" y="396441"/>
                    <a:pt x="1951891" y="331407"/>
                    <a:pt x="1885030" y="222387"/>
                  </a:cubicBezTo>
                  <a:cubicBezTo>
                    <a:pt x="1855412" y="174116"/>
                    <a:pt x="1801911" y="144120"/>
                    <a:pt x="1745069" y="144120"/>
                  </a:cubicBezTo>
                  <a:cubicBezTo>
                    <a:pt x="1688228" y="144120"/>
                    <a:pt x="1635105" y="174116"/>
                    <a:pt x="1605423" y="222387"/>
                  </a:cubicBezTo>
                  <a:cubicBezTo>
                    <a:pt x="1538562" y="331344"/>
                    <a:pt x="1422359" y="396441"/>
                    <a:pt x="1294686" y="396441"/>
                  </a:cubicBezTo>
                  <a:cubicBezTo>
                    <a:pt x="1167014" y="396441"/>
                    <a:pt x="1050810" y="331407"/>
                    <a:pt x="983949" y="222387"/>
                  </a:cubicBezTo>
                  <a:cubicBezTo>
                    <a:pt x="954331" y="174116"/>
                    <a:pt x="900829" y="144120"/>
                    <a:pt x="843988" y="144120"/>
                  </a:cubicBezTo>
                  <a:cubicBezTo>
                    <a:pt x="787146" y="144120"/>
                    <a:pt x="734023" y="174116"/>
                    <a:pt x="704342" y="222387"/>
                  </a:cubicBezTo>
                  <a:cubicBezTo>
                    <a:pt x="637481" y="331344"/>
                    <a:pt x="521277" y="396441"/>
                    <a:pt x="393605" y="396441"/>
                  </a:cubicBezTo>
                  <a:cubicBezTo>
                    <a:pt x="192706" y="396441"/>
                    <a:pt x="29240" y="232974"/>
                    <a:pt x="29240" y="32076"/>
                  </a:cubicBezTo>
                  <a:cubicBezTo>
                    <a:pt x="29240" y="21237"/>
                    <a:pt x="29807" y="10587"/>
                    <a:pt x="30752" y="0"/>
                  </a:cubicBezTo>
                  <a:lnTo>
                    <a:pt x="1449" y="0"/>
                  </a:lnTo>
                  <a:cubicBezTo>
                    <a:pt x="567" y="10587"/>
                    <a:pt x="0" y="21237"/>
                    <a:pt x="0" y="32076"/>
                  </a:cubicBezTo>
                  <a:cubicBezTo>
                    <a:pt x="0" y="249107"/>
                    <a:pt x="176574" y="425680"/>
                    <a:pt x="393605" y="425680"/>
                  </a:cubicBezTo>
                  <a:cubicBezTo>
                    <a:pt x="531549" y="425680"/>
                    <a:pt x="657016" y="355416"/>
                    <a:pt x="729234" y="237700"/>
                  </a:cubicBezTo>
                  <a:cubicBezTo>
                    <a:pt x="753558" y="198063"/>
                    <a:pt x="797544" y="173423"/>
                    <a:pt x="844303" y="173423"/>
                  </a:cubicBezTo>
                  <a:cubicBezTo>
                    <a:pt x="891062" y="173423"/>
                    <a:pt x="934669" y="198063"/>
                    <a:pt x="958994" y="237700"/>
                  </a:cubicBezTo>
                  <a:cubicBezTo>
                    <a:pt x="1031212" y="355416"/>
                    <a:pt x="1156742" y="425680"/>
                    <a:pt x="1294623" y="425680"/>
                  </a:cubicBezTo>
                  <a:cubicBezTo>
                    <a:pt x="1432504" y="425680"/>
                    <a:pt x="1558035" y="355416"/>
                    <a:pt x="1630252" y="237700"/>
                  </a:cubicBezTo>
                  <a:cubicBezTo>
                    <a:pt x="1654577" y="198063"/>
                    <a:pt x="1698563" y="173423"/>
                    <a:pt x="1745321" y="173423"/>
                  </a:cubicBezTo>
                  <a:cubicBezTo>
                    <a:pt x="1792080" y="173423"/>
                    <a:pt x="1835688" y="198063"/>
                    <a:pt x="1860013" y="237700"/>
                  </a:cubicBezTo>
                  <a:cubicBezTo>
                    <a:pt x="1932230" y="355416"/>
                    <a:pt x="2057760" y="425680"/>
                    <a:pt x="2195641" y="425680"/>
                  </a:cubicBezTo>
                  <a:cubicBezTo>
                    <a:pt x="2412672" y="425680"/>
                    <a:pt x="2589246" y="249107"/>
                    <a:pt x="2589246" y="32076"/>
                  </a:cubicBezTo>
                  <a:cubicBezTo>
                    <a:pt x="2589246" y="21300"/>
                    <a:pt x="2588679" y="10587"/>
                    <a:pt x="2587797" y="0"/>
                  </a:cubicBezTo>
                  <a:lnTo>
                    <a:pt x="2558494" y="0"/>
                  </a:ln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79BFC9A8-592E-3E66-171C-EF7517081913}"/>
                </a:ext>
              </a:extLst>
            </p:cNvPr>
            <p:cNvSpPr/>
            <p:nvPr/>
          </p:nvSpPr>
          <p:spPr>
            <a:xfrm>
              <a:off x="407986" y="3658006"/>
              <a:ext cx="416038" cy="757969"/>
            </a:xfrm>
            <a:custGeom>
              <a:avLst/>
              <a:gdLst>
                <a:gd name="connsiteX0" fmla="*/ 37054 w 416038"/>
                <a:gd name="connsiteY0" fmla="*/ 63 h 757969"/>
                <a:gd name="connsiteX1" fmla="*/ 0 w 416038"/>
                <a:gd name="connsiteY1" fmla="*/ 1890 h 757969"/>
                <a:gd name="connsiteX2" fmla="*/ 0 w 416038"/>
                <a:gd name="connsiteY2" fmla="*/ 756142 h 757969"/>
                <a:gd name="connsiteX3" fmla="*/ 37054 w 416038"/>
                <a:gd name="connsiteY3" fmla="*/ 757970 h 757969"/>
                <a:gd name="connsiteX4" fmla="*/ 416039 w 416038"/>
                <a:gd name="connsiteY4" fmla="*/ 378985 h 757969"/>
                <a:gd name="connsiteX5" fmla="*/ 37054 w 416038"/>
                <a:gd name="connsiteY5" fmla="*/ 0 h 75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038" h="757969">
                  <a:moveTo>
                    <a:pt x="37054" y="63"/>
                  </a:moveTo>
                  <a:cubicBezTo>
                    <a:pt x="24514" y="63"/>
                    <a:pt x="12162" y="693"/>
                    <a:pt x="0" y="1890"/>
                  </a:cubicBezTo>
                  <a:lnTo>
                    <a:pt x="0" y="756142"/>
                  </a:lnTo>
                  <a:cubicBezTo>
                    <a:pt x="12225" y="757339"/>
                    <a:pt x="24577" y="757970"/>
                    <a:pt x="37054" y="757970"/>
                  </a:cubicBezTo>
                  <a:cubicBezTo>
                    <a:pt x="246334" y="757970"/>
                    <a:pt x="416039" y="588327"/>
                    <a:pt x="416039" y="378985"/>
                  </a:cubicBezTo>
                  <a:cubicBezTo>
                    <a:pt x="416039" y="169642"/>
                    <a:pt x="246397" y="0"/>
                    <a:pt x="37054" y="0"/>
                  </a:cubicBez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B5664785-CE04-C03D-F205-886036D09F02}"/>
                </a:ext>
              </a:extLst>
            </p:cNvPr>
            <p:cNvSpPr/>
            <p:nvPr/>
          </p:nvSpPr>
          <p:spPr>
            <a:xfrm>
              <a:off x="407986" y="2743376"/>
              <a:ext cx="430658" cy="787209"/>
            </a:xfrm>
            <a:custGeom>
              <a:avLst/>
              <a:gdLst>
                <a:gd name="connsiteX0" fmla="*/ 37054 w 430658"/>
                <a:gd name="connsiteY0" fmla="*/ 0 h 787209"/>
                <a:gd name="connsiteX1" fmla="*/ 0 w 430658"/>
                <a:gd name="connsiteY1" fmla="*/ 1828 h 787209"/>
                <a:gd name="connsiteX2" fmla="*/ 0 w 430658"/>
                <a:gd name="connsiteY2" fmla="*/ 31130 h 787209"/>
                <a:gd name="connsiteX3" fmla="*/ 37054 w 430658"/>
                <a:gd name="connsiteY3" fmla="*/ 29240 h 787209"/>
                <a:gd name="connsiteX4" fmla="*/ 401419 w 430658"/>
                <a:gd name="connsiteY4" fmla="*/ 393605 h 787209"/>
                <a:gd name="connsiteX5" fmla="*/ 37054 w 430658"/>
                <a:gd name="connsiteY5" fmla="*/ 757970 h 787209"/>
                <a:gd name="connsiteX6" fmla="*/ 0 w 430658"/>
                <a:gd name="connsiteY6" fmla="*/ 756079 h 787209"/>
                <a:gd name="connsiteX7" fmla="*/ 0 w 430658"/>
                <a:gd name="connsiteY7" fmla="*/ 785382 h 787209"/>
                <a:gd name="connsiteX8" fmla="*/ 37054 w 430658"/>
                <a:gd name="connsiteY8" fmla="*/ 787209 h 787209"/>
                <a:gd name="connsiteX9" fmla="*/ 430659 w 430658"/>
                <a:gd name="connsiteY9" fmla="*/ 393605 h 787209"/>
                <a:gd name="connsiteX10" fmla="*/ 37054 w 430658"/>
                <a:gd name="connsiteY10" fmla="*/ 0 h 78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658" h="787209">
                  <a:moveTo>
                    <a:pt x="37054" y="0"/>
                  </a:moveTo>
                  <a:cubicBezTo>
                    <a:pt x="24577" y="0"/>
                    <a:pt x="12162" y="630"/>
                    <a:pt x="0" y="1828"/>
                  </a:cubicBezTo>
                  <a:lnTo>
                    <a:pt x="0" y="31130"/>
                  </a:lnTo>
                  <a:cubicBezTo>
                    <a:pt x="12225" y="29870"/>
                    <a:pt x="24577" y="29240"/>
                    <a:pt x="37054" y="29240"/>
                  </a:cubicBezTo>
                  <a:cubicBezTo>
                    <a:pt x="237953" y="29240"/>
                    <a:pt x="401419" y="192706"/>
                    <a:pt x="401419" y="393605"/>
                  </a:cubicBezTo>
                  <a:cubicBezTo>
                    <a:pt x="401419" y="594503"/>
                    <a:pt x="237953" y="757970"/>
                    <a:pt x="37054" y="757970"/>
                  </a:cubicBezTo>
                  <a:cubicBezTo>
                    <a:pt x="24514" y="757970"/>
                    <a:pt x="12162" y="757339"/>
                    <a:pt x="0" y="756079"/>
                  </a:cubicBezTo>
                  <a:lnTo>
                    <a:pt x="0" y="785382"/>
                  </a:lnTo>
                  <a:cubicBezTo>
                    <a:pt x="12225" y="786516"/>
                    <a:pt x="24577" y="787209"/>
                    <a:pt x="37054" y="787209"/>
                  </a:cubicBezTo>
                  <a:cubicBezTo>
                    <a:pt x="254085" y="787209"/>
                    <a:pt x="430659" y="610636"/>
                    <a:pt x="430659" y="393605"/>
                  </a:cubicBezTo>
                  <a:cubicBezTo>
                    <a:pt x="430659" y="176574"/>
                    <a:pt x="254085" y="0"/>
                    <a:pt x="37054" y="0"/>
                  </a:cubicBez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4B5D7754-60AD-FA18-F569-800750643045}"/>
                </a:ext>
              </a:extLst>
            </p:cNvPr>
            <p:cNvSpPr/>
            <p:nvPr/>
          </p:nvSpPr>
          <p:spPr>
            <a:xfrm>
              <a:off x="407922" y="1857923"/>
              <a:ext cx="1324367" cy="757969"/>
            </a:xfrm>
            <a:custGeom>
              <a:avLst/>
              <a:gdLst>
                <a:gd name="connsiteX0" fmla="*/ 947336 w 1324367"/>
                <a:gd name="connsiteY0" fmla="*/ 63 h 757969"/>
                <a:gd name="connsiteX1" fmla="*/ 621159 w 1324367"/>
                <a:gd name="connsiteY1" fmla="*/ 182876 h 757969"/>
                <a:gd name="connsiteX2" fmla="*/ 498339 w 1324367"/>
                <a:gd name="connsiteY2" fmla="*/ 252320 h 757969"/>
                <a:gd name="connsiteX3" fmla="*/ 491533 w 1324367"/>
                <a:gd name="connsiteY3" fmla="*/ 252320 h 757969"/>
                <a:gd name="connsiteX4" fmla="*/ 368713 w 1324367"/>
                <a:gd name="connsiteY4" fmla="*/ 182876 h 757969"/>
                <a:gd name="connsiteX5" fmla="*/ 42537 w 1324367"/>
                <a:gd name="connsiteY5" fmla="*/ 63 h 757969"/>
                <a:gd name="connsiteX6" fmla="*/ 0 w 1324367"/>
                <a:gd name="connsiteY6" fmla="*/ 2710 h 757969"/>
                <a:gd name="connsiteX7" fmla="*/ 0 w 1324367"/>
                <a:gd name="connsiteY7" fmla="*/ 755323 h 757969"/>
                <a:gd name="connsiteX8" fmla="*/ 44364 w 1324367"/>
                <a:gd name="connsiteY8" fmla="*/ 757970 h 757969"/>
                <a:gd name="connsiteX9" fmla="*/ 369217 w 1324367"/>
                <a:gd name="connsiteY9" fmla="*/ 574212 h 757969"/>
                <a:gd name="connsiteX10" fmla="*/ 491470 w 1324367"/>
                <a:gd name="connsiteY10" fmla="*/ 505712 h 757969"/>
                <a:gd name="connsiteX11" fmla="*/ 498276 w 1324367"/>
                <a:gd name="connsiteY11" fmla="*/ 505712 h 757969"/>
                <a:gd name="connsiteX12" fmla="*/ 620529 w 1324367"/>
                <a:gd name="connsiteY12" fmla="*/ 574212 h 757969"/>
                <a:gd name="connsiteX13" fmla="*/ 945382 w 1324367"/>
                <a:gd name="connsiteY13" fmla="*/ 757970 h 757969"/>
                <a:gd name="connsiteX14" fmla="*/ 1324367 w 1324367"/>
                <a:gd name="connsiteY14" fmla="*/ 378985 h 757969"/>
                <a:gd name="connsiteX15" fmla="*/ 947273 w 1324367"/>
                <a:gd name="connsiteY15" fmla="*/ 0 h 75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24367" h="757969">
                  <a:moveTo>
                    <a:pt x="947336" y="63"/>
                  </a:moveTo>
                  <a:cubicBezTo>
                    <a:pt x="809076" y="-630"/>
                    <a:pt x="687895" y="72785"/>
                    <a:pt x="621159" y="182876"/>
                  </a:cubicBezTo>
                  <a:cubicBezTo>
                    <a:pt x="595070" y="225916"/>
                    <a:pt x="548627" y="252320"/>
                    <a:pt x="498339" y="252320"/>
                  </a:cubicBezTo>
                  <a:lnTo>
                    <a:pt x="491533" y="252320"/>
                  </a:lnTo>
                  <a:cubicBezTo>
                    <a:pt x="441246" y="252320"/>
                    <a:pt x="394802" y="225853"/>
                    <a:pt x="368713" y="182876"/>
                  </a:cubicBezTo>
                  <a:cubicBezTo>
                    <a:pt x="301978" y="72785"/>
                    <a:pt x="180859" y="-630"/>
                    <a:pt x="42537" y="63"/>
                  </a:cubicBezTo>
                  <a:cubicBezTo>
                    <a:pt x="28169" y="126"/>
                    <a:pt x="13990" y="1071"/>
                    <a:pt x="0" y="2710"/>
                  </a:cubicBezTo>
                  <a:lnTo>
                    <a:pt x="0" y="755323"/>
                  </a:lnTo>
                  <a:cubicBezTo>
                    <a:pt x="14557" y="757024"/>
                    <a:pt x="29366" y="757970"/>
                    <a:pt x="44364" y="757970"/>
                  </a:cubicBezTo>
                  <a:cubicBezTo>
                    <a:pt x="182245" y="757970"/>
                    <a:pt x="302923" y="684303"/>
                    <a:pt x="369217" y="574212"/>
                  </a:cubicBezTo>
                  <a:cubicBezTo>
                    <a:pt x="394991" y="531486"/>
                    <a:pt x="441561" y="505712"/>
                    <a:pt x="491470" y="505712"/>
                  </a:cubicBezTo>
                  <a:lnTo>
                    <a:pt x="498276" y="505712"/>
                  </a:lnTo>
                  <a:cubicBezTo>
                    <a:pt x="548186" y="505712"/>
                    <a:pt x="594818" y="531486"/>
                    <a:pt x="620529" y="574212"/>
                  </a:cubicBezTo>
                  <a:cubicBezTo>
                    <a:pt x="686823" y="684303"/>
                    <a:pt x="807501" y="757970"/>
                    <a:pt x="945382" y="757970"/>
                  </a:cubicBezTo>
                  <a:cubicBezTo>
                    <a:pt x="1154662" y="757970"/>
                    <a:pt x="1324367" y="588328"/>
                    <a:pt x="1324367" y="378985"/>
                  </a:cubicBezTo>
                  <a:cubicBezTo>
                    <a:pt x="1324367" y="170146"/>
                    <a:pt x="1156112" y="1008"/>
                    <a:pt x="947273" y="0"/>
                  </a:cubicBez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F201F738-47FD-6116-27B3-C733CC2C9C8D}"/>
                </a:ext>
              </a:extLst>
            </p:cNvPr>
            <p:cNvSpPr/>
            <p:nvPr/>
          </p:nvSpPr>
          <p:spPr>
            <a:xfrm>
              <a:off x="407986" y="957912"/>
              <a:ext cx="423348" cy="757969"/>
            </a:xfrm>
            <a:custGeom>
              <a:avLst/>
              <a:gdLst>
                <a:gd name="connsiteX0" fmla="*/ 44364 w 423348"/>
                <a:gd name="connsiteY0" fmla="*/ 63 h 757969"/>
                <a:gd name="connsiteX1" fmla="*/ 0 w 423348"/>
                <a:gd name="connsiteY1" fmla="*/ 2710 h 757969"/>
                <a:gd name="connsiteX2" fmla="*/ 0 w 423348"/>
                <a:gd name="connsiteY2" fmla="*/ 755323 h 757969"/>
                <a:gd name="connsiteX3" fmla="*/ 44364 w 423348"/>
                <a:gd name="connsiteY3" fmla="*/ 757970 h 757969"/>
                <a:gd name="connsiteX4" fmla="*/ 423349 w 423348"/>
                <a:gd name="connsiteY4" fmla="*/ 378985 h 757969"/>
                <a:gd name="connsiteX5" fmla="*/ 44364 w 423348"/>
                <a:gd name="connsiteY5" fmla="*/ 0 h 75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3348" h="757969">
                  <a:moveTo>
                    <a:pt x="44364" y="63"/>
                  </a:moveTo>
                  <a:cubicBezTo>
                    <a:pt x="29366" y="63"/>
                    <a:pt x="14557" y="1008"/>
                    <a:pt x="0" y="2710"/>
                  </a:cubicBezTo>
                  <a:lnTo>
                    <a:pt x="0" y="755323"/>
                  </a:lnTo>
                  <a:cubicBezTo>
                    <a:pt x="14557" y="757024"/>
                    <a:pt x="29366" y="757970"/>
                    <a:pt x="44364" y="757970"/>
                  </a:cubicBezTo>
                  <a:cubicBezTo>
                    <a:pt x="253644" y="757970"/>
                    <a:pt x="423349" y="588328"/>
                    <a:pt x="423349" y="378985"/>
                  </a:cubicBezTo>
                  <a:cubicBezTo>
                    <a:pt x="423349" y="169642"/>
                    <a:pt x="253707" y="0"/>
                    <a:pt x="44364" y="0"/>
                  </a:cubicBez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8E0A197C-10B2-7795-321C-A74A09F3E17B}"/>
                </a:ext>
              </a:extLst>
            </p:cNvPr>
            <p:cNvSpPr/>
            <p:nvPr/>
          </p:nvSpPr>
          <p:spPr>
            <a:xfrm>
              <a:off x="407986" y="404811"/>
              <a:ext cx="434313" cy="426688"/>
            </a:xfrm>
            <a:custGeom>
              <a:avLst/>
              <a:gdLst>
                <a:gd name="connsiteX0" fmla="*/ 432801 w 434313"/>
                <a:gd name="connsiteY0" fmla="*/ 0 h 426688"/>
                <a:gd name="connsiteX1" fmla="*/ 403498 w 434313"/>
                <a:gd name="connsiteY1" fmla="*/ 0 h 426688"/>
                <a:gd name="connsiteX2" fmla="*/ 405074 w 434313"/>
                <a:gd name="connsiteY2" fmla="*/ 33084 h 426688"/>
                <a:gd name="connsiteX3" fmla="*/ 40709 w 434313"/>
                <a:gd name="connsiteY3" fmla="*/ 397449 h 426688"/>
                <a:gd name="connsiteX4" fmla="*/ 0 w 434313"/>
                <a:gd name="connsiteY4" fmla="*/ 395117 h 426688"/>
                <a:gd name="connsiteX5" fmla="*/ 0 w 434313"/>
                <a:gd name="connsiteY5" fmla="*/ 424609 h 426688"/>
                <a:gd name="connsiteX6" fmla="*/ 40709 w 434313"/>
                <a:gd name="connsiteY6" fmla="*/ 426689 h 426688"/>
                <a:gd name="connsiteX7" fmla="*/ 434314 w 434313"/>
                <a:gd name="connsiteY7" fmla="*/ 33084 h 426688"/>
                <a:gd name="connsiteX8" fmla="*/ 432801 w 434313"/>
                <a:gd name="connsiteY8" fmla="*/ 0 h 42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313" h="426688">
                  <a:moveTo>
                    <a:pt x="432801" y="0"/>
                  </a:moveTo>
                  <a:lnTo>
                    <a:pt x="403498" y="0"/>
                  </a:lnTo>
                  <a:cubicBezTo>
                    <a:pt x="404507" y="10902"/>
                    <a:pt x="405074" y="21930"/>
                    <a:pt x="405074" y="33084"/>
                  </a:cubicBezTo>
                  <a:cubicBezTo>
                    <a:pt x="405074" y="233982"/>
                    <a:pt x="241608" y="397449"/>
                    <a:pt x="40709" y="397449"/>
                  </a:cubicBezTo>
                  <a:cubicBezTo>
                    <a:pt x="26908" y="397449"/>
                    <a:pt x="13360" y="396630"/>
                    <a:pt x="0" y="395117"/>
                  </a:cubicBezTo>
                  <a:lnTo>
                    <a:pt x="0" y="424609"/>
                  </a:lnTo>
                  <a:cubicBezTo>
                    <a:pt x="13423" y="425996"/>
                    <a:pt x="26971" y="426689"/>
                    <a:pt x="40709" y="426689"/>
                  </a:cubicBezTo>
                  <a:cubicBezTo>
                    <a:pt x="257740" y="426689"/>
                    <a:pt x="434314" y="250115"/>
                    <a:pt x="434314" y="33084"/>
                  </a:cubicBezTo>
                  <a:cubicBezTo>
                    <a:pt x="434314" y="21930"/>
                    <a:pt x="433747" y="10902"/>
                    <a:pt x="432801" y="0"/>
                  </a:cubicBez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106329675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Avsluts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8" name="Rubrik 3">
            <a:extLst>
              <a:ext uri="{FF2B5EF4-FFF2-40B4-BE49-F238E27FC236}">
                <a16:creationId xmlns:a16="http://schemas.microsoft.com/office/drawing/2014/main" id="{48B20EB8-4FF0-4D86-B782-FE843B459F2B}"/>
              </a:ext>
            </a:extLst>
          </p:cNvPr>
          <p:cNvSpPr>
            <a:spLocks noGrp="1"/>
          </p:cNvSpPr>
          <p:nvPr>
            <p:ph type="title" hasCustomPrompt="1"/>
          </p:nvPr>
        </p:nvSpPr>
        <p:spPr>
          <a:xfrm>
            <a:off x="1420650" y="2399545"/>
            <a:ext cx="6148878" cy="309600"/>
          </a:xfrm>
        </p:spPr>
        <p:txBody>
          <a:bodyPr>
            <a:normAutofit/>
          </a:bodyPr>
          <a:lstStyle>
            <a:lvl1pPr>
              <a:defRPr sz="1700">
                <a:solidFill>
                  <a:schemeClr val="bg1"/>
                </a:solidFill>
              </a:defRPr>
            </a:lvl1pPr>
          </a:lstStyle>
          <a:p>
            <a:r>
              <a:rPr lang="sv-SE"/>
              <a:t>Kontakt</a:t>
            </a:r>
          </a:p>
        </p:txBody>
      </p:sp>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bg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
        <p:nvSpPr>
          <p:cNvPr id="7" name="textruta 6">
            <a:extLst>
              <a:ext uri="{FF2B5EF4-FFF2-40B4-BE49-F238E27FC236}">
                <a16:creationId xmlns:a16="http://schemas.microsoft.com/office/drawing/2014/main" id="{266C4A4B-0FFF-4609-BF3A-89A12B42C121}"/>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spTree>
    <p:extLst>
      <p:ext uri="{BB962C8B-B14F-4D97-AF65-F5344CB8AC3E}">
        <p14:creationId xmlns:p14="http://schemas.microsoft.com/office/powerpoint/2010/main" val="16560562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_Avslutsbild_violet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8" name="Rubrik 3">
            <a:extLst>
              <a:ext uri="{FF2B5EF4-FFF2-40B4-BE49-F238E27FC236}">
                <a16:creationId xmlns:a16="http://schemas.microsoft.com/office/drawing/2014/main" id="{48B20EB8-4FF0-4D86-B782-FE843B459F2B}"/>
              </a:ext>
            </a:extLst>
          </p:cNvPr>
          <p:cNvSpPr>
            <a:spLocks noGrp="1"/>
          </p:cNvSpPr>
          <p:nvPr>
            <p:ph type="title" hasCustomPrompt="1"/>
          </p:nvPr>
        </p:nvSpPr>
        <p:spPr>
          <a:xfrm>
            <a:off x="1420650" y="2399545"/>
            <a:ext cx="6148878" cy="309600"/>
          </a:xfrm>
        </p:spPr>
        <p:txBody>
          <a:bodyPr>
            <a:normAutofit/>
          </a:bodyPr>
          <a:lstStyle>
            <a:lvl1pPr>
              <a:defRPr sz="1700">
                <a:solidFill>
                  <a:schemeClr val="bg1"/>
                </a:solidFill>
              </a:defRPr>
            </a:lvl1pPr>
          </a:lstStyle>
          <a:p>
            <a:r>
              <a:rPr lang="sv-SE"/>
              <a:t>Kontakt</a:t>
            </a:r>
          </a:p>
        </p:txBody>
      </p:sp>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bg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
        <p:nvSpPr>
          <p:cNvPr id="7" name="textruta 6">
            <a:extLst>
              <a:ext uri="{FF2B5EF4-FFF2-40B4-BE49-F238E27FC236}">
                <a16:creationId xmlns:a16="http://schemas.microsoft.com/office/drawing/2014/main" id="{266C4A4B-0FFF-4609-BF3A-89A12B42C121}"/>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grpSp>
        <p:nvGrpSpPr>
          <p:cNvPr id="4" name="Grupp 3">
            <a:extLst>
              <a:ext uri="{FF2B5EF4-FFF2-40B4-BE49-F238E27FC236}">
                <a16:creationId xmlns:a16="http://schemas.microsoft.com/office/drawing/2014/main" id="{6C91F302-E8AA-9754-081C-8B1DDCF16279}"/>
              </a:ext>
            </a:extLst>
          </p:cNvPr>
          <p:cNvGrpSpPr/>
          <p:nvPr userDrawn="1"/>
        </p:nvGrpSpPr>
        <p:grpSpPr>
          <a:xfrm>
            <a:off x="8403413" y="1277797"/>
            <a:ext cx="3378507" cy="5177428"/>
            <a:chOff x="8403413" y="1277797"/>
            <a:chExt cx="3378507" cy="5177428"/>
          </a:xfrm>
          <a:solidFill>
            <a:schemeClr val="bg2"/>
          </a:solidFill>
        </p:grpSpPr>
        <p:sp>
          <p:nvSpPr>
            <p:cNvPr id="5" name="Frihandsfigur: Form 4">
              <a:extLst>
                <a:ext uri="{FF2B5EF4-FFF2-40B4-BE49-F238E27FC236}">
                  <a16:creationId xmlns:a16="http://schemas.microsoft.com/office/drawing/2014/main" id="{7780E03E-2498-408B-0F69-2D870C071444}"/>
                </a:ext>
              </a:extLst>
            </p:cNvPr>
            <p:cNvSpPr/>
            <p:nvPr/>
          </p:nvSpPr>
          <p:spPr>
            <a:xfrm>
              <a:off x="10251541" y="1887037"/>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26 h 540388"/>
                <a:gd name="connsiteX6" fmla="*/ 20090 w 540388"/>
                <a:gd name="connsiteY6" fmla="*/ 270131 h 540388"/>
                <a:gd name="connsiteX7" fmla="*/ 270194 w 540388"/>
                <a:gd name="connsiteY7" fmla="*/ 520235 h 540388"/>
                <a:gd name="connsiteX8" fmla="*/ 520299 w 540388"/>
                <a:gd name="connsiteY8" fmla="*/ 270131 h 540388"/>
                <a:gd name="connsiteX9" fmla="*/ 270194 w 540388"/>
                <a:gd name="connsiteY9" fmla="*/ 20026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26"/>
                  </a:moveTo>
                  <a:cubicBezTo>
                    <a:pt x="132300" y="20026"/>
                    <a:pt x="20090" y="132236"/>
                    <a:pt x="20090" y="270131"/>
                  </a:cubicBezTo>
                  <a:cubicBezTo>
                    <a:pt x="20090" y="408025"/>
                    <a:pt x="132300" y="520235"/>
                    <a:pt x="270194" y="520235"/>
                  </a:cubicBezTo>
                  <a:cubicBezTo>
                    <a:pt x="408089" y="520235"/>
                    <a:pt x="520299" y="408025"/>
                    <a:pt x="520299" y="270131"/>
                  </a:cubicBezTo>
                  <a:cubicBezTo>
                    <a:pt x="520299" y="132236"/>
                    <a:pt x="408089" y="20026"/>
                    <a:pt x="270194" y="20026"/>
                  </a:cubicBezTo>
                  <a:close/>
                </a:path>
              </a:pathLst>
            </a:custGeom>
            <a:grpFill/>
            <a:ln w="0" cap="flat">
              <a:noFill/>
              <a:prstDash val="solid"/>
              <a:miter/>
            </a:ln>
          </p:spPr>
          <p:txBody>
            <a:bodyPr rtlCol="0" anchor="ctr"/>
            <a:lstStyle/>
            <a:p>
              <a:endParaRPr lang="sv-SE"/>
            </a:p>
          </p:txBody>
        </p:sp>
        <p:sp>
          <p:nvSpPr>
            <p:cNvPr id="6" name="Frihandsfigur: Form 5">
              <a:extLst>
                <a:ext uri="{FF2B5EF4-FFF2-40B4-BE49-F238E27FC236}">
                  <a16:creationId xmlns:a16="http://schemas.microsoft.com/office/drawing/2014/main" id="{480B20FD-4410-8443-449C-31BE18B33899}"/>
                </a:ext>
              </a:extLst>
            </p:cNvPr>
            <p:cNvSpPr/>
            <p:nvPr/>
          </p:nvSpPr>
          <p:spPr>
            <a:xfrm>
              <a:off x="10870127" y="1887037"/>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26 h 540388"/>
                <a:gd name="connsiteX6" fmla="*/ 20090 w 540388"/>
                <a:gd name="connsiteY6" fmla="*/ 270131 h 540388"/>
                <a:gd name="connsiteX7" fmla="*/ 270194 w 540388"/>
                <a:gd name="connsiteY7" fmla="*/ 520235 h 540388"/>
                <a:gd name="connsiteX8" fmla="*/ 520299 w 540388"/>
                <a:gd name="connsiteY8" fmla="*/ 270131 h 540388"/>
                <a:gd name="connsiteX9" fmla="*/ 270194 w 540388"/>
                <a:gd name="connsiteY9" fmla="*/ 20026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26"/>
                  </a:moveTo>
                  <a:cubicBezTo>
                    <a:pt x="132300" y="20026"/>
                    <a:pt x="20090" y="132236"/>
                    <a:pt x="20090" y="270131"/>
                  </a:cubicBezTo>
                  <a:cubicBezTo>
                    <a:pt x="20090" y="408025"/>
                    <a:pt x="132300" y="520235"/>
                    <a:pt x="270194" y="520235"/>
                  </a:cubicBezTo>
                  <a:cubicBezTo>
                    <a:pt x="408089" y="520235"/>
                    <a:pt x="520299" y="408025"/>
                    <a:pt x="520299" y="270131"/>
                  </a:cubicBezTo>
                  <a:cubicBezTo>
                    <a:pt x="520299" y="132236"/>
                    <a:pt x="408089" y="20026"/>
                    <a:pt x="270194" y="20026"/>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699A1C3E-8646-626B-C0F0-3149AC45BEFC}"/>
                </a:ext>
              </a:extLst>
            </p:cNvPr>
            <p:cNvSpPr/>
            <p:nvPr/>
          </p:nvSpPr>
          <p:spPr>
            <a:xfrm>
              <a:off x="9024478" y="2514904"/>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3DEC8B0C-E35A-C414-E41A-B0B4F40CDD66}"/>
                </a:ext>
              </a:extLst>
            </p:cNvPr>
            <p:cNvSpPr/>
            <p:nvPr/>
          </p:nvSpPr>
          <p:spPr>
            <a:xfrm>
              <a:off x="9633019" y="2504859"/>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90 h 540388"/>
                <a:gd name="connsiteX6" fmla="*/ 20090 w 540388"/>
                <a:gd name="connsiteY6" fmla="*/ 270194 h 540388"/>
                <a:gd name="connsiteX7" fmla="*/ 270194 w 540388"/>
                <a:gd name="connsiteY7" fmla="*/ 520299 h 540388"/>
                <a:gd name="connsiteX8" fmla="*/ 520299 w 540388"/>
                <a:gd name="connsiteY8" fmla="*/ 270194 h 540388"/>
                <a:gd name="connsiteX9" fmla="*/ 270194 w 540388"/>
                <a:gd name="connsiteY9" fmla="*/ 20090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90"/>
                  </a:moveTo>
                  <a:cubicBezTo>
                    <a:pt x="132300" y="20090"/>
                    <a:pt x="20090" y="132300"/>
                    <a:pt x="20090" y="270194"/>
                  </a:cubicBezTo>
                  <a:cubicBezTo>
                    <a:pt x="20090" y="408089"/>
                    <a:pt x="132300" y="520299"/>
                    <a:pt x="270194" y="520299"/>
                  </a:cubicBezTo>
                  <a:cubicBezTo>
                    <a:pt x="408089" y="520299"/>
                    <a:pt x="520299" y="408089"/>
                    <a:pt x="520299" y="270194"/>
                  </a:cubicBezTo>
                  <a:cubicBezTo>
                    <a:pt x="520299" y="132300"/>
                    <a:pt x="408089" y="20090"/>
                    <a:pt x="270194" y="20090"/>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75541AED-F806-78E4-D145-C03A216324AD}"/>
                </a:ext>
              </a:extLst>
            </p:cNvPr>
            <p:cNvSpPr/>
            <p:nvPr/>
          </p:nvSpPr>
          <p:spPr>
            <a:xfrm>
              <a:off x="9019455" y="3132791"/>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DFA07F0D-7632-00C4-EF7F-AB0F9CC24459}"/>
                </a:ext>
              </a:extLst>
            </p:cNvPr>
            <p:cNvSpPr/>
            <p:nvPr/>
          </p:nvSpPr>
          <p:spPr>
            <a:xfrm>
              <a:off x="10256563" y="3132791"/>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2"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5F6CE09A-E4B8-9D88-265A-D1E6526CB2AB}"/>
                </a:ext>
              </a:extLst>
            </p:cNvPr>
            <p:cNvSpPr/>
            <p:nvPr/>
          </p:nvSpPr>
          <p:spPr>
            <a:xfrm>
              <a:off x="10865104" y="3741268"/>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90 h 540388"/>
                <a:gd name="connsiteX6" fmla="*/ 20090 w 540388"/>
                <a:gd name="connsiteY6" fmla="*/ 270194 h 540388"/>
                <a:gd name="connsiteX7" fmla="*/ 270194 w 540388"/>
                <a:gd name="connsiteY7" fmla="*/ 520299 h 540388"/>
                <a:gd name="connsiteX8" fmla="*/ 520299 w 540388"/>
                <a:gd name="connsiteY8" fmla="*/ 270194 h 540388"/>
                <a:gd name="connsiteX9" fmla="*/ 270194 w 540388"/>
                <a:gd name="connsiteY9" fmla="*/ 20090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90"/>
                  </a:moveTo>
                  <a:cubicBezTo>
                    <a:pt x="132300" y="20090"/>
                    <a:pt x="20090" y="132300"/>
                    <a:pt x="20090" y="270194"/>
                  </a:cubicBezTo>
                  <a:cubicBezTo>
                    <a:pt x="20090" y="408089"/>
                    <a:pt x="132300" y="520299"/>
                    <a:pt x="270194" y="520299"/>
                  </a:cubicBezTo>
                  <a:cubicBezTo>
                    <a:pt x="408089" y="520299"/>
                    <a:pt x="520299" y="408089"/>
                    <a:pt x="520299" y="270194"/>
                  </a:cubicBezTo>
                  <a:cubicBezTo>
                    <a:pt x="520299" y="132300"/>
                    <a:pt x="408089" y="20090"/>
                    <a:pt x="270194" y="20090"/>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FD2A47A0-9D1D-7370-985E-1B2F20D04E8E}"/>
                </a:ext>
              </a:extLst>
            </p:cNvPr>
            <p:cNvSpPr/>
            <p:nvPr/>
          </p:nvSpPr>
          <p:spPr>
            <a:xfrm>
              <a:off x="10256563" y="3750614"/>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2"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F164364F-50EF-790F-2201-F6420DCCBCB8}"/>
                </a:ext>
              </a:extLst>
            </p:cNvPr>
            <p:cNvSpPr/>
            <p:nvPr/>
          </p:nvSpPr>
          <p:spPr>
            <a:xfrm>
              <a:off x="10259106" y="4368500"/>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78961B6E-6ADF-EEA9-1964-60CF55B45ABE}"/>
                </a:ext>
              </a:extLst>
            </p:cNvPr>
            <p:cNvSpPr/>
            <p:nvPr/>
          </p:nvSpPr>
          <p:spPr>
            <a:xfrm>
              <a:off x="10877628" y="4368500"/>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575F5250-E1CA-F1FF-8E62-383BE6BEA2B1}"/>
                </a:ext>
              </a:extLst>
            </p:cNvPr>
            <p:cNvSpPr/>
            <p:nvPr/>
          </p:nvSpPr>
          <p:spPr>
            <a:xfrm>
              <a:off x="9640520" y="4986386"/>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6D1AE7F6-B367-6277-DEBD-649C27DC5F6B}"/>
                </a:ext>
              </a:extLst>
            </p:cNvPr>
            <p:cNvSpPr/>
            <p:nvPr/>
          </p:nvSpPr>
          <p:spPr>
            <a:xfrm>
              <a:off x="10249061" y="4976341"/>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26 h 540388"/>
                <a:gd name="connsiteX6" fmla="*/ 20090 w 540388"/>
                <a:gd name="connsiteY6" fmla="*/ 270131 h 540388"/>
                <a:gd name="connsiteX7" fmla="*/ 270194 w 540388"/>
                <a:gd name="connsiteY7" fmla="*/ 520235 h 540388"/>
                <a:gd name="connsiteX8" fmla="*/ 520299 w 540388"/>
                <a:gd name="connsiteY8" fmla="*/ 270131 h 540388"/>
                <a:gd name="connsiteX9" fmla="*/ 270194 w 540388"/>
                <a:gd name="connsiteY9" fmla="*/ 20026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26"/>
                  </a:moveTo>
                  <a:cubicBezTo>
                    <a:pt x="132300" y="20026"/>
                    <a:pt x="20090" y="132236"/>
                    <a:pt x="20090" y="270131"/>
                  </a:cubicBezTo>
                  <a:cubicBezTo>
                    <a:pt x="20090" y="408025"/>
                    <a:pt x="132300" y="520235"/>
                    <a:pt x="270194" y="520235"/>
                  </a:cubicBezTo>
                  <a:cubicBezTo>
                    <a:pt x="408089" y="520235"/>
                    <a:pt x="520299" y="408025"/>
                    <a:pt x="520299" y="270131"/>
                  </a:cubicBezTo>
                  <a:cubicBezTo>
                    <a:pt x="520299" y="132236"/>
                    <a:pt x="408089" y="20026"/>
                    <a:pt x="270194" y="20026"/>
                  </a:cubicBez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8CAE82D5-6DFE-B84F-E111-F9E511AE0561}"/>
                </a:ext>
              </a:extLst>
            </p:cNvPr>
            <p:cNvSpPr/>
            <p:nvPr/>
          </p:nvSpPr>
          <p:spPr>
            <a:xfrm>
              <a:off x="8403413" y="5604146"/>
              <a:ext cx="2376055" cy="520362"/>
            </a:xfrm>
            <a:custGeom>
              <a:avLst/>
              <a:gdLst>
                <a:gd name="connsiteX0" fmla="*/ 2117115 w 2376055"/>
                <a:gd name="connsiteY0" fmla="*/ 64 h 520362"/>
                <a:gd name="connsiteX1" fmla="*/ 1894347 w 2376055"/>
                <a:gd name="connsiteY1" fmla="*/ 123654 h 520362"/>
                <a:gd name="connsiteX2" fmla="*/ 1806614 w 2376055"/>
                <a:gd name="connsiteY2" fmla="*/ 173242 h 520362"/>
                <a:gd name="connsiteX3" fmla="*/ 1806360 w 2376055"/>
                <a:gd name="connsiteY3" fmla="*/ 173242 h 520362"/>
                <a:gd name="connsiteX4" fmla="*/ 1719071 w 2376055"/>
                <a:gd name="connsiteY4" fmla="*/ 124289 h 520362"/>
                <a:gd name="connsiteX5" fmla="*/ 1497194 w 2376055"/>
                <a:gd name="connsiteY5" fmla="*/ 0 h 520362"/>
                <a:gd name="connsiteX6" fmla="*/ 1275317 w 2376055"/>
                <a:gd name="connsiteY6" fmla="*/ 124289 h 520362"/>
                <a:gd name="connsiteX7" fmla="*/ 1188028 w 2376055"/>
                <a:gd name="connsiteY7" fmla="*/ 173242 h 520362"/>
                <a:gd name="connsiteX8" fmla="*/ 1187774 w 2376055"/>
                <a:gd name="connsiteY8" fmla="*/ 173242 h 520362"/>
                <a:gd name="connsiteX9" fmla="*/ 1100485 w 2376055"/>
                <a:gd name="connsiteY9" fmla="*/ 124289 h 520362"/>
                <a:gd name="connsiteX10" fmla="*/ 878608 w 2376055"/>
                <a:gd name="connsiteY10" fmla="*/ 0 h 520362"/>
                <a:gd name="connsiteX11" fmla="*/ 656731 w 2376055"/>
                <a:gd name="connsiteY11" fmla="*/ 124289 h 520362"/>
                <a:gd name="connsiteX12" fmla="*/ 569442 w 2376055"/>
                <a:gd name="connsiteY12" fmla="*/ 173242 h 520362"/>
                <a:gd name="connsiteX13" fmla="*/ 569188 w 2376055"/>
                <a:gd name="connsiteY13" fmla="*/ 173242 h 520362"/>
                <a:gd name="connsiteX14" fmla="*/ 481454 w 2376055"/>
                <a:gd name="connsiteY14" fmla="*/ 123654 h 520362"/>
                <a:gd name="connsiteX15" fmla="*/ 258687 w 2376055"/>
                <a:gd name="connsiteY15" fmla="*/ 64 h 520362"/>
                <a:gd name="connsiteX16" fmla="*/ 0 w 2376055"/>
                <a:gd name="connsiteY16" fmla="*/ 260213 h 520362"/>
                <a:gd name="connsiteX17" fmla="*/ 260149 w 2376055"/>
                <a:gd name="connsiteY17" fmla="*/ 520362 h 520362"/>
                <a:gd name="connsiteX18" fmla="*/ 482026 w 2376055"/>
                <a:gd name="connsiteY18" fmla="*/ 396073 h 520362"/>
                <a:gd name="connsiteX19" fmla="*/ 569315 w 2376055"/>
                <a:gd name="connsiteY19" fmla="*/ 347120 h 520362"/>
                <a:gd name="connsiteX20" fmla="*/ 569569 w 2376055"/>
                <a:gd name="connsiteY20" fmla="*/ 347120 h 520362"/>
                <a:gd name="connsiteX21" fmla="*/ 656858 w 2376055"/>
                <a:gd name="connsiteY21" fmla="*/ 396073 h 520362"/>
                <a:gd name="connsiteX22" fmla="*/ 878735 w 2376055"/>
                <a:gd name="connsiteY22" fmla="*/ 520362 h 520362"/>
                <a:gd name="connsiteX23" fmla="*/ 1100612 w 2376055"/>
                <a:gd name="connsiteY23" fmla="*/ 396073 h 520362"/>
                <a:gd name="connsiteX24" fmla="*/ 1187901 w 2376055"/>
                <a:gd name="connsiteY24" fmla="*/ 347120 h 520362"/>
                <a:gd name="connsiteX25" fmla="*/ 1188155 w 2376055"/>
                <a:gd name="connsiteY25" fmla="*/ 347120 h 520362"/>
                <a:gd name="connsiteX26" fmla="*/ 1275444 w 2376055"/>
                <a:gd name="connsiteY26" fmla="*/ 396073 h 520362"/>
                <a:gd name="connsiteX27" fmla="*/ 1497321 w 2376055"/>
                <a:gd name="connsiteY27" fmla="*/ 520362 h 520362"/>
                <a:gd name="connsiteX28" fmla="*/ 1719198 w 2376055"/>
                <a:gd name="connsiteY28" fmla="*/ 396073 h 520362"/>
                <a:gd name="connsiteX29" fmla="*/ 1806487 w 2376055"/>
                <a:gd name="connsiteY29" fmla="*/ 347120 h 520362"/>
                <a:gd name="connsiteX30" fmla="*/ 1806741 w 2376055"/>
                <a:gd name="connsiteY30" fmla="*/ 347120 h 520362"/>
                <a:gd name="connsiteX31" fmla="*/ 1894030 w 2376055"/>
                <a:gd name="connsiteY31" fmla="*/ 396073 h 520362"/>
                <a:gd name="connsiteX32" fmla="*/ 2115907 w 2376055"/>
                <a:gd name="connsiteY32" fmla="*/ 520362 h 520362"/>
                <a:gd name="connsiteX33" fmla="*/ 2376056 w 2376055"/>
                <a:gd name="connsiteY33" fmla="*/ 260213 h 520362"/>
                <a:gd name="connsiteX34" fmla="*/ 2117178 w 2376055"/>
                <a:gd name="connsiteY34" fmla="*/ 64 h 52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76055" h="520362">
                  <a:moveTo>
                    <a:pt x="2117115" y="64"/>
                  </a:moveTo>
                  <a:cubicBezTo>
                    <a:pt x="2022960" y="-381"/>
                    <a:pt x="1940439" y="49143"/>
                    <a:pt x="1894347" y="123654"/>
                  </a:cubicBezTo>
                  <a:cubicBezTo>
                    <a:pt x="1875466" y="154233"/>
                    <a:pt x="1842534" y="173242"/>
                    <a:pt x="1806614" y="173242"/>
                  </a:cubicBezTo>
                  <a:lnTo>
                    <a:pt x="1806360" y="173242"/>
                  </a:lnTo>
                  <a:cubicBezTo>
                    <a:pt x="1770757" y="173242"/>
                    <a:pt x="1737698" y="154678"/>
                    <a:pt x="1719071" y="124289"/>
                  </a:cubicBezTo>
                  <a:cubicBezTo>
                    <a:pt x="1673297" y="49779"/>
                    <a:pt x="1591094" y="0"/>
                    <a:pt x="1497194" y="0"/>
                  </a:cubicBezTo>
                  <a:cubicBezTo>
                    <a:pt x="1403293" y="0"/>
                    <a:pt x="1321091" y="49716"/>
                    <a:pt x="1275317" y="124289"/>
                  </a:cubicBezTo>
                  <a:cubicBezTo>
                    <a:pt x="1256689" y="154678"/>
                    <a:pt x="1223630" y="173242"/>
                    <a:pt x="1188028" y="173242"/>
                  </a:cubicBezTo>
                  <a:lnTo>
                    <a:pt x="1187774" y="173242"/>
                  </a:lnTo>
                  <a:cubicBezTo>
                    <a:pt x="1152172" y="173242"/>
                    <a:pt x="1119113" y="154678"/>
                    <a:pt x="1100485" y="124289"/>
                  </a:cubicBezTo>
                  <a:cubicBezTo>
                    <a:pt x="1054711" y="49779"/>
                    <a:pt x="972508" y="0"/>
                    <a:pt x="878608" y="0"/>
                  </a:cubicBezTo>
                  <a:cubicBezTo>
                    <a:pt x="784708" y="0"/>
                    <a:pt x="702505" y="49716"/>
                    <a:pt x="656731" y="124289"/>
                  </a:cubicBezTo>
                  <a:cubicBezTo>
                    <a:pt x="638103" y="154678"/>
                    <a:pt x="605044" y="173242"/>
                    <a:pt x="569442" y="173242"/>
                  </a:cubicBezTo>
                  <a:lnTo>
                    <a:pt x="569188" y="173242"/>
                  </a:lnTo>
                  <a:cubicBezTo>
                    <a:pt x="533268" y="173242"/>
                    <a:pt x="500336" y="154233"/>
                    <a:pt x="481454" y="123654"/>
                  </a:cubicBezTo>
                  <a:cubicBezTo>
                    <a:pt x="435426" y="49143"/>
                    <a:pt x="352842" y="-381"/>
                    <a:pt x="258687" y="64"/>
                  </a:cubicBezTo>
                  <a:cubicBezTo>
                    <a:pt x="115516" y="763"/>
                    <a:pt x="0" y="116851"/>
                    <a:pt x="0" y="260213"/>
                  </a:cubicBezTo>
                  <a:cubicBezTo>
                    <a:pt x="0" y="403892"/>
                    <a:pt x="116470" y="520362"/>
                    <a:pt x="260149" y="520362"/>
                  </a:cubicBezTo>
                  <a:cubicBezTo>
                    <a:pt x="354050" y="520362"/>
                    <a:pt x="436252" y="470646"/>
                    <a:pt x="482026" y="396073"/>
                  </a:cubicBezTo>
                  <a:cubicBezTo>
                    <a:pt x="500654" y="365684"/>
                    <a:pt x="533713" y="347120"/>
                    <a:pt x="569315" y="347120"/>
                  </a:cubicBezTo>
                  <a:lnTo>
                    <a:pt x="569569" y="347120"/>
                  </a:lnTo>
                  <a:cubicBezTo>
                    <a:pt x="605171" y="347120"/>
                    <a:pt x="638230" y="365684"/>
                    <a:pt x="656858" y="396073"/>
                  </a:cubicBezTo>
                  <a:cubicBezTo>
                    <a:pt x="702632" y="470583"/>
                    <a:pt x="784835" y="520362"/>
                    <a:pt x="878735" y="520362"/>
                  </a:cubicBezTo>
                  <a:cubicBezTo>
                    <a:pt x="972636" y="520362"/>
                    <a:pt x="1054838" y="470646"/>
                    <a:pt x="1100612" y="396073"/>
                  </a:cubicBezTo>
                  <a:cubicBezTo>
                    <a:pt x="1119240" y="365684"/>
                    <a:pt x="1152299" y="347120"/>
                    <a:pt x="1187901" y="347120"/>
                  </a:cubicBezTo>
                  <a:lnTo>
                    <a:pt x="1188155" y="347120"/>
                  </a:lnTo>
                  <a:cubicBezTo>
                    <a:pt x="1223757" y="347120"/>
                    <a:pt x="1256816" y="365684"/>
                    <a:pt x="1275444" y="396073"/>
                  </a:cubicBezTo>
                  <a:cubicBezTo>
                    <a:pt x="1321218" y="470583"/>
                    <a:pt x="1403420" y="520362"/>
                    <a:pt x="1497321" y="520362"/>
                  </a:cubicBezTo>
                  <a:cubicBezTo>
                    <a:pt x="1591221" y="520362"/>
                    <a:pt x="1673424" y="470646"/>
                    <a:pt x="1719198" y="396073"/>
                  </a:cubicBezTo>
                  <a:cubicBezTo>
                    <a:pt x="1737826" y="365684"/>
                    <a:pt x="1770884" y="347120"/>
                    <a:pt x="1806487" y="347120"/>
                  </a:cubicBezTo>
                  <a:lnTo>
                    <a:pt x="1806741" y="347120"/>
                  </a:lnTo>
                  <a:cubicBezTo>
                    <a:pt x="1842343" y="347120"/>
                    <a:pt x="1875402" y="365684"/>
                    <a:pt x="1894030" y="396073"/>
                  </a:cubicBezTo>
                  <a:cubicBezTo>
                    <a:pt x="1939804" y="470583"/>
                    <a:pt x="2022006" y="520362"/>
                    <a:pt x="2115907" y="520362"/>
                  </a:cubicBezTo>
                  <a:cubicBezTo>
                    <a:pt x="2259587" y="520362"/>
                    <a:pt x="2376056" y="403892"/>
                    <a:pt x="2376056" y="260213"/>
                  </a:cubicBezTo>
                  <a:cubicBezTo>
                    <a:pt x="2376056" y="116851"/>
                    <a:pt x="2260540" y="763"/>
                    <a:pt x="2117178" y="64"/>
                  </a:cubicBez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1C50BC9D-CEA2-1E97-BB67-828C258FE2EC}"/>
                </a:ext>
              </a:extLst>
            </p:cNvPr>
            <p:cNvSpPr/>
            <p:nvPr/>
          </p:nvSpPr>
          <p:spPr>
            <a:xfrm>
              <a:off x="10862561" y="5594164"/>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90 h 540388"/>
                <a:gd name="connsiteX6" fmla="*/ 20090 w 540388"/>
                <a:gd name="connsiteY6" fmla="*/ 270194 h 540388"/>
                <a:gd name="connsiteX7" fmla="*/ 270194 w 540388"/>
                <a:gd name="connsiteY7" fmla="*/ 520299 h 540388"/>
                <a:gd name="connsiteX8" fmla="*/ 520299 w 540388"/>
                <a:gd name="connsiteY8" fmla="*/ 270194 h 540388"/>
                <a:gd name="connsiteX9" fmla="*/ 270194 w 540388"/>
                <a:gd name="connsiteY9" fmla="*/ 20090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90"/>
                  </a:moveTo>
                  <a:cubicBezTo>
                    <a:pt x="132300" y="20090"/>
                    <a:pt x="20090" y="132300"/>
                    <a:pt x="20090" y="270194"/>
                  </a:cubicBezTo>
                  <a:cubicBezTo>
                    <a:pt x="20090" y="408089"/>
                    <a:pt x="132300" y="520299"/>
                    <a:pt x="270194" y="520299"/>
                  </a:cubicBezTo>
                  <a:cubicBezTo>
                    <a:pt x="408089" y="520299"/>
                    <a:pt x="520299" y="408089"/>
                    <a:pt x="520299" y="270194"/>
                  </a:cubicBezTo>
                  <a:cubicBezTo>
                    <a:pt x="520299" y="132300"/>
                    <a:pt x="408089" y="20090"/>
                    <a:pt x="270194" y="20090"/>
                  </a:cubicBez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9DC66A3A-05EE-2EC5-A7BF-0B19ED110A19}"/>
                </a:ext>
              </a:extLst>
            </p:cNvPr>
            <p:cNvSpPr/>
            <p:nvPr/>
          </p:nvSpPr>
          <p:spPr>
            <a:xfrm>
              <a:off x="9024541" y="1897015"/>
              <a:ext cx="1138820" cy="520301"/>
            </a:xfrm>
            <a:custGeom>
              <a:avLst/>
              <a:gdLst>
                <a:gd name="connsiteX0" fmla="*/ 879943 w 1138820"/>
                <a:gd name="connsiteY0" fmla="*/ 3 h 520301"/>
                <a:gd name="connsiteX1" fmla="*/ 656032 w 1138820"/>
                <a:gd name="connsiteY1" fmla="*/ 125500 h 520301"/>
                <a:gd name="connsiteX2" fmla="*/ 571731 w 1138820"/>
                <a:gd name="connsiteY2" fmla="*/ 173181 h 520301"/>
                <a:gd name="connsiteX3" fmla="*/ 567090 w 1138820"/>
                <a:gd name="connsiteY3" fmla="*/ 173181 h 520301"/>
                <a:gd name="connsiteX4" fmla="*/ 482789 w 1138820"/>
                <a:gd name="connsiteY4" fmla="*/ 125500 h 520301"/>
                <a:gd name="connsiteX5" fmla="*/ 258878 w 1138820"/>
                <a:gd name="connsiteY5" fmla="*/ 3 h 520301"/>
                <a:gd name="connsiteX6" fmla="*/ 0 w 1138820"/>
                <a:gd name="connsiteY6" fmla="*/ 260152 h 520301"/>
                <a:gd name="connsiteX7" fmla="*/ 260149 w 1138820"/>
                <a:gd name="connsiteY7" fmla="*/ 520302 h 520301"/>
                <a:gd name="connsiteX8" fmla="*/ 483171 w 1138820"/>
                <a:gd name="connsiteY8" fmla="*/ 394169 h 520301"/>
                <a:gd name="connsiteX9" fmla="*/ 567090 w 1138820"/>
                <a:gd name="connsiteY9" fmla="*/ 347123 h 520301"/>
                <a:gd name="connsiteX10" fmla="*/ 571731 w 1138820"/>
                <a:gd name="connsiteY10" fmla="*/ 347123 h 520301"/>
                <a:gd name="connsiteX11" fmla="*/ 655650 w 1138820"/>
                <a:gd name="connsiteY11" fmla="*/ 394169 h 520301"/>
                <a:gd name="connsiteX12" fmla="*/ 878672 w 1138820"/>
                <a:gd name="connsiteY12" fmla="*/ 520302 h 520301"/>
                <a:gd name="connsiteX13" fmla="*/ 1138821 w 1138820"/>
                <a:gd name="connsiteY13" fmla="*/ 260152 h 520301"/>
                <a:gd name="connsiteX14" fmla="*/ 879943 w 1138820"/>
                <a:gd name="connsiteY14" fmla="*/ 3 h 52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8820" h="520301">
                  <a:moveTo>
                    <a:pt x="879943" y="3"/>
                  </a:moveTo>
                  <a:cubicBezTo>
                    <a:pt x="785025" y="-442"/>
                    <a:pt x="701869" y="49909"/>
                    <a:pt x="656032" y="125500"/>
                  </a:cubicBezTo>
                  <a:cubicBezTo>
                    <a:pt x="638167" y="154999"/>
                    <a:pt x="606252" y="173181"/>
                    <a:pt x="571731" y="173181"/>
                  </a:cubicBezTo>
                  <a:lnTo>
                    <a:pt x="567090" y="173181"/>
                  </a:lnTo>
                  <a:cubicBezTo>
                    <a:pt x="532569" y="173181"/>
                    <a:pt x="500654" y="154999"/>
                    <a:pt x="482789" y="125500"/>
                  </a:cubicBezTo>
                  <a:cubicBezTo>
                    <a:pt x="437015" y="49909"/>
                    <a:pt x="353796" y="-442"/>
                    <a:pt x="258878" y="3"/>
                  </a:cubicBezTo>
                  <a:cubicBezTo>
                    <a:pt x="115516" y="702"/>
                    <a:pt x="0" y="116790"/>
                    <a:pt x="0" y="260152"/>
                  </a:cubicBezTo>
                  <a:cubicBezTo>
                    <a:pt x="0" y="403832"/>
                    <a:pt x="116470" y="520302"/>
                    <a:pt x="260149" y="520302"/>
                  </a:cubicBezTo>
                  <a:cubicBezTo>
                    <a:pt x="354813" y="520302"/>
                    <a:pt x="437651" y="469759"/>
                    <a:pt x="483171" y="394169"/>
                  </a:cubicBezTo>
                  <a:cubicBezTo>
                    <a:pt x="500845" y="364797"/>
                    <a:pt x="532823" y="347123"/>
                    <a:pt x="567090" y="347123"/>
                  </a:cubicBezTo>
                  <a:lnTo>
                    <a:pt x="571731" y="347123"/>
                  </a:lnTo>
                  <a:cubicBezTo>
                    <a:pt x="605998" y="347123"/>
                    <a:pt x="637976" y="364797"/>
                    <a:pt x="655650" y="394169"/>
                  </a:cubicBezTo>
                  <a:cubicBezTo>
                    <a:pt x="701170" y="469759"/>
                    <a:pt x="784008" y="520302"/>
                    <a:pt x="878672" y="520302"/>
                  </a:cubicBezTo>
                  <a:cubicBezTo>
                    <a:pt x="1022351" y="520302"/>
                    <a:pt x="1138821" y="403832"/>
                    <a:pt x="1138821" y="260152"/>
                  </a:cubicBezTo>
                  <a:cubicBezTo>
                    <a:pt x="1138821" y="116790"/>
                    <a:pt x="1023305" y="702"/>
                    <a:pt x="879943" y="3"/>
                  </a:cubicBez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28C66303-0B26-FC94-9FCD-A0764BE3FFC9}"/>
                </a:ext>
              </a:extLst>
            </p:cNvPr>
            <p:cNvSpPr/>
            <p:nvPr/>
          </p:nvSpPr>
          <p:spPr>
            <a:xfrm>
              <a:off x="9633019" y="3122809"/>
              <a:ext cx="540391" cy="1777496"/>
            </a:xfrm>
            <a:custGeom>
              <a:avLst/>
              <a:gdLst>
                <a:gd name="connsiteX0" fmla="*/ 270194 w 540391"/>
                <a:gd name="connsiteY0" fmla="*/ 1777433 h 1777496"/>
                <a:gd name="connsiteX1" fmla="*/ 270194 w 540391"/>
                <a:gd name="connsiteY1" fmla="*/ 1777433 h 1777496"/>
                <a:gd name="connsiteX2" fmla="*/ 0 w 540391"/>
                <a:gd name="connsiteY2" fmla="*/ 1507238 h 1777496"/>
                <a:gd name="connsiteX3" fmla="*/ 129057 w 540391"/>
                <a:gd name="connsiteY3" fmla="*/ 1276842 h 1777496"/>
                <a:gd name="connsiteX4" fmla="*/ 173179 w 540391"/>
                <a:gd name="connsiteY4" fmla="*/ 1198073 h 1777496"/>
                <a:gd name="connsiteX5" fmla="*/ 129057 w 540391"/>
                <a:gd name="connsiteY5" fmla="*/ 1119113 h 1777496"/>
                <a:gd name="connsiteX6" fmla="*/ 0 w 540391"/>
                <a:gd name="connsiteY6" fmla="*/ 888716 h 1777496"/>
                <a:gd name="connsiteX7" fmla="*/ 129057 w 540391"/>
                <a:gd name="connsiteY7" fmla="*/ 658320 h 1777496"/>
                <a:gd name="connsiteX8" fmla="*/ 173179 w 540391"/>
                <a:gd name="connsiteY8" fmla="*/ 579551 h 1777496"/>
                <a:gd name="connsiteX9" fmla="*/ 129057 w 540391"/>
                <a:gd name="connsiteY9" fmla="*/ 500590 h 1777496"/>
                <a:gd name="connsiteX10" fmla="*/ 0 w 540391"/>
                <a:gd name="connsiteY10" fmla="*/ 270194 h 1777496"/>
                <a:gd name="connsiteX11" fmla="*/ 270194 w 540391"/>
                <a:gd name="connsiteY11" fmla="*/ 0 h 1777496"/>
                <a:gd name="connsiteX12" fmla="*/ 540388 w 540391"/>
                <a:gd name="connsiteY12" fmla="*/ 268859 h 1777496"/>
                <a:gd name="connsiteX13" fmla="*/ 412030 w 540391"/>
                <a:gd name="connsiteY13" fmla="*/ 500209 h 1777496"/>
                <a:gd name="connsiteX14" fmla="*/ 367210 w 540391"/>
                <a:gd name="connsiteY14" fmla="*/ 579360 h 1777496"/>
                <a:gd name="connsiteX15" fmla="*/ 411331 w 540391"/>
                <a:gd name="connsiteY15" fmla="*/ 658320 h 1777496"/>
                <a:gd name="connsiteX16" fmla="*/ 540388 w 540391"/>
                <a:gd name="connsiteY16" fmla="*/ 888716 h 1777496"/>
                <a:gd name="connsiteX17" fmla="*/ 411331 w 540391"/>
                <a:gd name="connsiteY17" fmla="*/ 1119113 h 1777496"/>
                <a:gd name="connsiteX18" fmla="*/ 367210 w 540391"/>
                <a:gd name="connsiteY18" fmla="*/ 1197882 h 1777496"/>
                <a:gd name="connsiteX19" fmla="*/ 412030 w 540391"/>
                <a:gd name="connsiteY19" fmla="*/ 1277287 h 1777496"/>
                <a:gd name="connsiteX20" fmla="*/ 540388 w 540391"/>
                <a:gd name="connsiteY20" fmla="*/ 1508637 h 1777496"/>
                <a:gd name="connsiteX21" fmla="*/ 270194 w 540391"/>
                <a:gd name="connsiteY21" fmla="*/ 1777496 h 1777496"/>
                <a:gd name="connsiteX22" fmla="*/ 270194 w 540391"/>
                <a:gd name="connsiteY22" fmla="*/ 20026 h 1777496"/>
                <a:gd name="connsiteX23" fmla="*/ 20090 w 540391"/>
                <a:gd name="connsiteY23" fmla="*/ 270131 h 1777496"/>
                <a:gd name="connsiteX24" fmla="*/ 139547 w 540391"/>
                <a:gd name="connsiteY24" fmla="*/ 483425 h 1777496"/>
                <a:gd name="connsiteX25" fmla="*/ 193268 w 540391"/>
                <a:gd name="connsiteY25" fmla="*/ 579296 h 1777496"/>
                <a:gd name="connsiteX26" fmla="*/ 139547 w 540391"/>
                <a:gd name="connsiteY26" fmla="*/ 675358 h 1777496"/>
                <a:gd name="connsiteX27" fmla="*/ 20090 w 540391"/>
                <a:gd name="connsiteY27" fmla="*/ 888653 h 1777496"/>
                <a:gd name="connsiteX28" fmla="*/ 139547 w 540391"/>
                <a:gd name="connsiteY28" fmla="*/ 1101947 h 1777496"/>
                <a:gd name="connsiteX29" fmla="*/ 193268 w 540391"/>
                <a:gd name="connsiteY29" fmla="*/ 1197819 h 1777496"/>
                <a:gd name="connsiteX30" fmla="*/ 139547 w 540391"/>
                <a:gd name="connsiteY30" fmla="*/ 1293881 h 1777496"/>
                <a:gd name="connsiteX31" fmla="*/ 20090 w 540391"/>
                <a:gd name="connsiteY31" fmla="*/ 1507175 h 1777496"/>
                <a:gd name="connsiteX32" fmla="*/ 270194 w 540391"/>
                <a:gd name="connsiteY32" fmla="*/ 1757279 h 1777496"/>
                <a:gd name="connsiteX33" fmla="*/ 520299 w 540391"/>
                <a:gd name="connsiteY33" fmla="*/ 1508383 h 1777496"/>
                <a:gd name="connsiteX34" fmla="*/ 530343 w 540391"/>
                <a:gd name="connsiteY34" fmla="*/ 1508383 h 1777496"/>
                <a:gd name="connsiteX35" fmla="*/ 520299 w 540391"/>
                <a:gd name="connsiteY35" fmla="*/ 1508383 h 1777496"/>
                <a:gd name="connsiteX36" fmla="*/ 401477 w 540391"/>
                <a:gd name="connsiteY36" fmla="*/ 1294262 h 1777496"/>
                <a:gd name="connsiteX37" fmla="*/ 347120 w 540391"/>
                <a:gd name="connsiteY37" fmla="*/ 1198009 h 1777496"/>
                <a:gd name="connsiteX38" fmla="*/ 400841 w 540391"/>
                <a:gd name="connsiteY38" fmla="*/ 1101947 h 1777496"/>
                <a:gd name="connsiteX39" fmla="*/ 520299 w 540391"/>
                <a:gd name="connsiteY39" fmla="*/ 888653 h 1777496"/>
                <a:gd name="connsiteX40" fmla="*/ 400841 w 540391"/>
                <a:gd name="connsiteY40" fmla="*/ 675358 h 1777496"/>
                <a:gd name="connsiteX41" fmla="*/ 347120 w 540391"/>
                <a:gd name="connsiteY41" fmla="*/ 579487 h 1777496"/>
                <a:gd name="connsiteX42" fmla="*/ 401477 w 540391"/>
                <a:gd name="connsiteY42" fmla="*/ 483044 h 1777496"/>
                <a:gd name="connsiteX43" fmla="*/ 520299 w 540391"/>
                <a:gd name="connsiteY43" fmla="*/ 268923 h 1777496"/>
                <a:gd name="connsiteX44" fmla="*/ 270194 w 540391"/>
                <a:gd name="connsiteY44" fmla="*/ 20026 h 177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40391" h="1777496">
                  <a:moveTo>
                    <a:pt x="270194" y="1777433"/>
                  </a:moveTo>
                  <a:cubicBezTo>
                    <a:pt x="270194" y="1777433"/>
                    <a:pt x="270194" y="1777433"/>
                    <a:pt x="270194" y="1777433"/>
                  </a:cubicBezTo>
                  <a:cubicBezTo>
                    <a:pt x="121238" y="1777433"/>
                    <a:pt x="0" y="1656195"/>
                    <a:pt x="0" y="1507238"/>
                  </a:cubicBezTo>
                  <a:cubicBezTo>
                    <a:pt x="0" y="1412575"/>
                    <a:pt x="48253" y="1326431"/>
                    <a:pt x="129057" y="1276842"/>
                  </a:cubicBezTo>
                  <a:cubicBezTo>
                    <a:pt x="156268" y="1260122"/>
                    <a:pt x="173179" y="1229987"/>
                    <a:pt x="173179" y="1198073"/>
                  </a:cubicBezTo>
                  <a:cubicBezTo>
                    <a:pt x="173179" y="1166158"/>
                    <a:pt x="156268" y="1135833"/>
                    <a:pt x="129057" y="1119113"/>
                  </a:cubicBezTo>
                  <a:cubicBezTo>
                    <a:pt x="48253" y="1069524"/>
                    <a:pt x="0" y="983380"/>
                    <a:pt x="0" y="888716"/>
                  </a:cubicBezTo>
                  <a:cubicBezTo>
                    <a:pt x="0" y="794053"/>
                    <a:pt x="48253" y="707909"/>
                    <a:pt x="129057" y="658320"/>
                  </a:cubicBezTo>
                  <a:cubicBezTo>
                    <a:pt x="156268" y="641600"/>
                    <a:pt x="173179" y="611465"/>
                    <a:pt x="173179" y="579551"/>
                  </a:cubicBezTo>
                  <a:cubicBezTo>
                    <a:pt x="173179" y="547636"/>
                    <a:pt x="156268" y="517311"/>
                    <a:pt x="129057" y="500590"/>
                  </a:cubicBezTo>
                  <a:cubicBezTo>
                    <a:pt x="48253" y="451002"/>
                    <a:pt x="0" y="364858"/>
                    <a:pt x="0" y="270194"/>
                  </a:cubicBezTo>
                  <a:cubicBezTo>
                    <a:pt x="0" y="121238"/>
                    <a:pt x="121238" y="0"/>
                    <a:pt x="270194" y="0"/>
                  </a:cubicBezTo>
                  <a:cubicBezTo>
                    <a:pt x="418451" y="0"/>
                    <a:pt x="539689" y="120602"/>
                    <a:pt x="540388" y="268859"/>
                  </a:cubicBezTo>
                  <a:cubicBezTo>
                    <a:pt x="540833" y="363777"/>
                    <a:pt x="492834" y="450239"/>
                    <a:pt x="412030" y="500209"/>
                  </a:cubicBezTo>
                  <a:cubicBezTo>
                    <a:pt x="383994" y="517565"/>
                    <a:pt x="367210" y="547127"/>
                    <a:pt x="367210" y="579360"/>
                  </a:cubicBezTo>
                  <a:cubicBezTo>
                    <a:pt x="367210" y="611593"/>
                    <a:pt x="384121" y="641600"/>
                    <a:pt x="411331" y="658320"/>
                  </a:cubicBezTo>
                  <a:cubicBezTo>
                    <a:pt x="492135" y="707909"/>
                    <a:pt x="540388" y="794053"/>
                    <a:pt x="540388" y="888716"/>
                  </a:cubicBezTo>
                  <a:cubicBezTo>
                    <a:pt x="540388" y="983380"/>
                    <a:pt x="492135" y="1069524"/>
                    <a:pt x="411331" y="1119113"/>
                  </a:cubicBezTo>
                  <a:cubicBezTo>
                    <a:pt x="384121" y="1135833"/>
                    <a:pt x="367210" y="1165967"/>
                    <a:pt x="367210" y="1197882"/>
                  </a:cubicBezTo>
                  <a:cubicBezTo>
                    <a:pt x="367210" y="1229797"/>
                    <a:pt x="383994" y="1259932"/>
                    <a:pt x="412030" y="1277287"/>
                  </a:cubicBezTo>
                  <a:cubicBezTo>
                    <a:pt x="492834" y="1327258"/>
                    <a:pt x="540833" y="1413720"/>
                    <a:pt x="540388" y="1508637"/>
                  </a:cubicBezTo>
                  <a:cubicBezTo>
                    <a:pt x="539689" y="1656894"/>
                    <a:pt x="418451" y="1777496"/>
                    <a:pt x="270194" y="1777496"/>
                  </a:cubicBezTo>
                  <a:close/>
                  <a:moveTo>
                    <a:pt x="270194" y="20026"/>
                  </a:moveTo>
                  <a:cubicBezTo>
                    <a:pt x="132300" y="20026"/>
                    <a:pt x="20090" y="132236"/>
                    <a:pt x="20090" y="270131"/>
                  </a:cubicBezTo>
                  <a:cubicBezTo>
                    <a:pt x="20090" y="357801"/>
                    <a:pt x="64783" y="437524"/>
                    <a:pt x="139547" y="483425"/>
                  </a:cubicBezTo>
                  <a:cubicBezTo>
                    <a:pt x="172670" y="503769"/>
                    <a:pt x="193268" y="540516"/>
                    <a:pt x="193268" y="579296"/>
                  </a:cubicBezTo>
                  <a:cubicBezTo>
                    <a:pt x="193268" y="618077"/>
                    <a:pt x="172670" y="655078"/>
                    <a:pt x="139547" y="675358"/>
                  </a:cubicBezTo>
                  <a:cubicBezTo>
                    <a:pt x="64719" y="721260"/>
                    <a:pt x="20090" y="801046"/>
                    <a:pt x="20090" y="888653"/>
                  </a:cubicBezTo>
                  <a:cubicBezTo>
                    <a:pt x="20090" y="976259"/>
                    <a:pt x="64783" y="1056046"/>
                    <a:pt x="139547" y="1101947"/>
                  </a:cubicBezTo>
                  <a:cubicBezTo>
                    <a:pt x="172670" y="1122291"/>
                    <a:pt x="193268" y="1159038"/>
                    <a:pt x="193268" y="1197819"/>
                  </a:cubicBezTo>
                  <a:cubicBezTo>
                    <a:pt x="193268" y="1236599"/>
                    <a:pt x="172670" y="1273600"/>
                    <a:pt x="139547" y="1293881"/>
                  </a:cubicBezTo>
                  <a:cubicBezTo>
                    <a:pt x="64719" y="1339782"/>
                    <a:pt x="20090" y="1419568"/>
                    <a:pt x="20090" y="1507175"/>
                  </a:cubicBezTo>
                  <a:cubicBezTo>
                    <a:pt x="20090" y="1645069"/>
                    <a:pt x="132300" y="1757279"/>
                    <a:pt x="270194" y="1757279"/>
                  </a:cubicBezTo>
                  <a:cubicBezTo>
                    <a:pt x="407453" y="1757279"/>
                    <a:pt x="519663" y="1645642"/>
                    <a:pt x="520299" y="1508383"/>
                  </a:cubicBezTo>
                  <a:lnTo>
                    <a:pt x="530343" y="1508383"/>
                  </a:lnTo>
                  <a:cubicBezTo>
                    <a:pt x="530343" y="1508383"/>
                    <a:pt x="520299" y="1508383"/>
                    <a:pt x="520299" y="1508383"/>
                  </a:cubicBezTo>
                  <a:cubicBezTo>
                    <a:pt x="520744" y="1420522"/>
                    <a:pt x="476305" y="1340481"/>
                    <a:pt x="401477" y="1294262"/>
                  </a:cubicBezTo>
                  <a:cubicBezTo>
                    <a:pt x="367464" y="1273219"/>
                    <a:pt x="347120" y="1237235"/>
                    <a:pt x="347120" y="1198009"/>
                  </a:cubicBezTo>
                  <a:cubicBezTo>
                    <a:pt x="347120" y="1158784"/>
                    <a:pt x="367718" y="1122291"/>
                    <a:pt x="400841" y="1101947"/>
                  </a:cubicBezTo>
                  <a:cubicBezTo>
                    <a:pt x="475669" y="1056046"/>
                    <a:pt x="520299" y="976259"/>
                    <a:pt x="520299" y="888653"/>
                  </a:cubicBezTo>
                  <a:cubicBezTo>
                    <a:pt x="520299" y="801046"/>
                    <a:pt x="475605" y="721260"/>
                    <a:pt x="400841" y="675358"/>
                  </a:cubicBezTo>
                  <a:cubicBezTo>
                    <a:pt x="367718" y="655014"/>
                    <a:pt x="347120" y="618268"/>
                    <a:pt x="347120" y="579487"/>
                  </a:cubicBezTo>
                  <a:cubicBezTo>
                    <a:pt x="347120" y="540706"/>
                    <a:pt x="367464" y="504023"/>
                    <a:pt x="401477" y="483044"/>
                  </a:cubicBezTo>
                  <a:cubicBezTo>
                    <a:pt x="476305" y="436825"/>
                    <a:pt x="520744" y="356720"/>
                    <a:pt x="520299" y="268923"/>
                  </a:cubicBezTo>
                  <a:cubicBezTo>
                    <a:pt x="519663" y="131664"/>
                    <a:pt x="407453" y="20026"/>
                    <a:pt x="270194" y="20026"/>
                  </a:cubicBez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33EE4D97-CEA6-2620-738E-11E132E54A36}"/>
                </a:ext>
              </a:extLst>
            </p:cNvPr>
            <p:cNvSpPr/>
            <p:nvPr/>
          </p:nvSpPr>
          <p:spPr>
            <a:xfrm>
              <a:off x="10894094" y="3133681"/>
              <a:ext cx="289012" cy="139801"/>
            </a:xfrm>
            <a:custGeom>
              <a:avLst/>
              <a:gdLst>
                <a:gd name="connsiteX0" fmla="*/ 253283 w 289012"/>
                <a:gd name="connsiteY0" fmla="*/ 63 h 139801"/>
                <a:gd name="connsiteX1" fmla="*/ 18818 w 289012"/>
                <a:gd name="connsiteY1" fmla="*/ 108968 h 139801"/>
                <a:gd name="connsiteX2" fmla="*/ 0 w 289012"/>
                <a:gd name="connsiteY2" fmla="*/ 139802 h 139801"/>
                <a:gd name="connsiteX3" fmla="*/ 289013 w 289012"/>
                <a:gd name="connsiteY3" fmla="*/ 5531 h 139801"/>
                <a:gd name="connsiteX4" fmla="*/ 253283 w 289012"/>
                <a:gd name="connsiteY4" fmla="*/ 0 h 139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12" h="139801">
                  <a:moveTo>
                    <a:pt x="253283" y="63"/>
                  </a:moveTo>
                  <a:lnTo>
                    <a:pt x="18818" y="108968"/>
                  </a:lnTo>
                  <a:cubicBezTo>
                    <a:pt x="11889" y="118758"/>
                    <a:pt x="5595" y="129057"/>
                    <a:pt x="0" y="139802"/>
                  </a:cubicBezTo>
                  <a:lnTo>
                    <a:pt x="289013" y="5531"/>
                  </a:lnTo>
                  <a:cubicBezTo>
                    <a:pt x="277378" y="2861"/>
                    <a:pt x="265490" y="1017"/>
                    <a:pt x="253283" y="0"/>
                  </a:cubicBez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BEF08A45-97B1-1787-8BF9-1683F2AE8F14}"/>
                </a:ext>
              </a:extLst>
            </p:cNvPr>
            <p:cNvSpPr/>
            <p:nvPr/>
          </p:nvSpPr>
          <p:spPr>
            <a:xfrm>
              <a:off x="10865613" y="3170999"/>
              <a:ext cx="414827" cy="205856"/>
            </a:xfrm>
            <a:custGeom>
              <a:avLst/>
              <a:gdLst>
                <a:gd name="connsiteX0" fmla="*/ 395437 w 414827"/>
                <a:gd name="connsiteY0" fmla="*/ 0 h 205856"/>
                <a:gd name="connsiteX1" fmla="*/ 2416 w 414827"/>
                <a:gd name="connsiteY1" fmla="*/ 182588 h 205856"/>
                <a:gd name="connsiteX2" fmla="*/ 0 w 414827"/>
                <a:gd name="connsiteY2" fmla="*/ 205856 h 205856"/>
                <a:gd name="connsiteX3" fmla="*/ 414828 w 414827"/>
                <a:gd name="connsiteY3" fmla="*/ 13160 h 205856"/>
                <a:gd name="connsiteX4" fmla="*/ 395437 w 414827"/>
                <a:gd name="connsiteY4" fmla="*/ 63 h 20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7" h="205856">
                  <a:moveTo>
                    <a:pt x="395437" y="0"/>
                  </a:moveTo>
                  <a:lnTo>
                    <a:pt x="2416" y="182588"/>
                  </a:lnTo>
                  <a:cubicBezTo>
                    <a:pt x="1271" y="190217"/>
                    <a:pt x="445" y="197973"/>
                    <a:pt x="0" y="205856"/>
                  </a:cubicBezTo>
                  <a:lnTo>
                    <a:pt x="414828" y="13160"/>
                  </a:lnTo>
                  <a:cubicBezTo>
                    <a:pt x="408597" y="8519"/>
                    <a:pt x="402113" y="4132"/>
                    <a:pt x="395437" y="63"/>
                  </a:cubicBez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227FF9A3-B804-830C-E13F-503511F7E9E2}"/>
                </a:ext>
              </a:extLst>
            </p:cNvPr>
            <p:cNvSpPr/>
            <p:nvPr/>
          </p:nvSpPr>
          <p:spPr>
            <a:xfrm>
              <a:off x="10869872" y="3229997"/>
              <a:ext cx="470328" cy="232748"/>
            </a:xfrm>
            <a:custGeom>
              <a:avLst/>
              <a:gdLst>
                <a:gd name="connsiteX0" fmla="*/ 458122 w 470328"/>
                <a:gd name="connsiteY0" fmla="*/ 0 h 232748"/>
                <a:gd name="connsiteX1" fmla="*/ 0 w 470328"/>
                <a:gd name="connsiteY1" fmla="*/ 212786 h 232748"/>
                <a:gd name="connsiteX2" fmla="*/ 4705 w 470328"/>
                <a:gd name="connsiteY2" fmla="*/ 232748 h 232748"/>
                <a:gd name="connsiteX3" fmla="*/ 470329 w 470328"/>
                <a:gd name="connsiteY3" fmla="*/ 16466 h 232748"/>
                <a:gd name="connsiteX4" fmla="*/ 458122 w 470328"/>
                <a:gd name="connsiteY4" fmla="*/ 0 h 23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28" h="232748">
                  <a:moveTo>
                    <a:pt x="458122" y="0"/>
                  </a:moveTo>
                  <a:lnTo>
                    <a:pt x="0" y="212786"/>
                  </a:lnTo>
                  <a:cubicBezTo>
                    <a:pt x="1335" y="219525"/>
                    <a:pt x="2925" y="226200"/>
                    <a:pt x="4705" y="232748"/>
                  </a:cubicBezTo>
                  <a:lnTo>
                    <a:pt x="470329" y="16466"/>
                  </a:lnTo>
                  <a:cubicBezTo>
                    <a:pt x="466451" y="10808"/>
                    <a:pt x="462382" y="5340"/>
                    <a:pt x="458122" y="0"/>
                  </a:cubicBez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6C850AAA-7560-BF33-3599-101D7C4A8569}"/>
                </a:ext>
              </a:extLst>
            </p:cNvPr>
            <p:cNvSpPr/>
            <p:nvPr/>
          </p:nvSpPr>
          <p:spPr>
            <a:xfrm>
              <a:off x="10898100" y="3301074"/>
              <a:ext cx="476940" cy="235863"/>
            </a:xfrm>
            <a:custGeom>
              <a:avLst/>
              <a:gdLst>
                <a:gd name="connsiteX0" fmla="*/ 470583 w 476940"/>
                <a:gd name="connsiteY0" fmla="*/ 64 h 235863"/>
                <a:gd name="connsiteX1" fmla="*/ 0 w 476940"/>
                <a:gd name="connsiteY1" fmla="*/ 218635 h 235863"/>
                <a:gd name="connsiteX2" fmla="*/ 10490 w 476940"/>
                <a:gd name="connsiteY2" fmla="*/ 235864 h 235863"/>
                <a:gd name="connsiteX3" fmla="*/ 476941 w 476940"/>
                <a:gd name="connsiteY3" fmla="*/ 19200 h 235863"/>
                <a:gd name="connsiteX4" fmla="*/ 470583 w 476940"/>
                <a:gd name="connsiteY4" fmla="*/ 0 h 23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40" h="235863">
                  <a:moveTo>
                    <a:pt x="470583" y="64"/>
                  </a:moveTo>
                  <a:lnTo>
                    <a:pt x="0" y="218635"/>
                  </a:lnTo>
                  <a:cubicBezTo>
                    <a:pt x="3306" y="224547"/>
                    <a:pt x="6803" y="230269"/>
                    <a:pt x="10490" y="235864"/>
                  </a:cubicBezTo>
                  <a:lnTo>
                    <a:pt x="476941" y="19200"/>
                  </a:lnTo>
                  <a:cubicBezTo>
                    <a:pt x="475033" y="12715"/>
                    <a:pt x="472935" y="6294"/>
                    <a:pt x="470583" y="0"/>
                  </a:cubicBez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8890FB26-3A5A-E72F-5373-1B66D568FC54}"/>
                </a:ext>
              </a:extLst>
            </p:cNvPr>
            <p:cNvSpPr/>
            <p:nvPr/>
          </p:nvSpPr>
          <p:spPr>
            <a:xfrm>
              <a:off x="10950358" y="3383595"/>
              <a:ext cx="435044" cy="216155"/>
            </a:xfrm>
            <a:custGeom>
              <a:avLst/>
              <a:gdLst>
                <a:gd name="connsiteX0" fmla="*/ 435044 w 435044"/>
                <a:gd name="connsiteY0" fmla="*/ 9346 h 216155"/>
                <a:gd name="connsiteX1" fmla="*/ 434790 w 435044"/>
                <a:gd name="connsiteY1" fmla="*/ 0 h 216155"/>
                <a:gd name="connsiteX2" fmla="*/ 0 w 435044"/>
                <a:gd name="connsiteY2" fmla="*/ 201978 h 216155"/>
                <a:gd name="connsiteX3" fmla="*/ 17102 w 435044"/>
                <a:gd name="connsiteY3" fmla="*/ 216155 h 216155"/>
                <a:gd name="connsiteX4" fmla="*/ 434727 w 435044"/>
                <a:gd name="connsiteY4" fmla="*/ 22188 h 216155"/>
                <a:gd name="connsiteX5" fmla="*/ 435044 w 435044"/>
                <a:gd name="connsiteY5" fmla="*/ 9409 h 2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044" h="216155">
                  <a:moveTo>
                    <a:pt x="435044" y="9346"/>
                  </a:moveTo>
                  <a:cubicBezTo>
                    <a:pt x="435044" y="6230"/>
                    <a:pt x="434917" y="3115"/>
                    <a:pt x="434790" y="0"/>
                  </a:cubicBezTo>
                  <a:lnTo>
                    <a:pt x="0" y="201978"/>
                  </a:lnTo>
                  <a:cubicBezTo>
                    <a:pt x="5468" y="206937"/>
                    <a:pt x="11189" y="211641"/>
                    <a:pt x="17102" y="216155"/>
                  </a:cubicBezTo>
                  <a:lnTo>
                    <a:pt x="434727" y="22188"/>
                  </a:lnTo>
                  <a:cubicBezTo>
                    <a:pt x="434917" y="17928"/>
                    <a:pt x="435044" y="13669"/>
                    <a:pt x="435044" y="9409"/>
                  </a:cubicBez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3C457853-2085-E99B-BC1A-2C305478E9B8}"/>
                </a:ext>
              </a:extLst>
            </p:cNvPr>
            <p:cNvSpPr/>
            <p:nvPr/>
          </p:nvSpPr>
          <p:spPr>
            <a:xfrm>
              <a:off x="11034150" y="3480547"/>
              <a:ext cx="336058" cy="164913"/>
            </a:xfrm>
            <a:custGeom>
              <a:avLst/>
              <a:gdLst>
                <a:gd name="connsiteX0" fmla="*/ 324360 w 336058"/>
                <a:gd name="connsiteY0" fmla="*/ 27592 h 164913"/>
                <a:gd name="connsiteX1" fmla="*/ 336058 w 336058"/>
                <a:gd name="connsiteY1" fmla="*/ 0 h 164913"/>
                <a:gd name="connsiteX2" fmla="*/ 0 w 336058"/>
                <a:gd name="connsiteY2" fmla="*/ 156077 h 164913"/>
                <a:gd name="connsiteX3" fmla="*/ 28609 w 336058"/>
                <a:gd name="connsiteY3" fmla="*/ 164914 h 164913"/>
                <a:gd name="connsiteX4" fmla="*/ 324360 w 336058"/>
                <a:gd name="connsiteY4" fmla="*/ 27528 h 16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058" h="164913">
                  <a:moveTo>
                    <a:pt x="324360" y="27592"/>
                  </a:moveTo>
                  <a:cubicBezTo>
                    <a:pt x="328747" y="18691"/>
                    <a:pt x="332689" y="9473"/>
                    <a:pt x="336058" y="0"/>
                  </a:cubicBezTo>
                  <a:lnTo>
                    <a:pt x="0" y="156077"/>
                  </a:lnTo>
                  <a:cubicBezTo>
                    <a:pt x="9282" y="159573"/>
                    <a:pt x="18882" y="162498"/>
                    <a:pt x="28609" y="164914"/>
                  </a:cubicBezTo>
                  <a:lnTo>
                    <a:pt x="324360" y="27528"/>
                  </a:ln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4A1AC786-4CA4-B358-2690-BC99767242D2}"/>
                </a:ext>
              </a:extLst>
            </p:cNvPr>
            <p:cNvSpPr/>
            <p:nvPr/>
          </p:nvSpPr>
          <p:spPr>
            <a:xfrm>
              <a:off x="9048509" y="3751567"/>
              <a:ext cx="289012" cy="139801"/>
            </a:xfrm>
            <a:custGeom>
              <a:avLst/>
              <a:gdLst>
                <a:gd name="connsiteX0" fmla="*/ 253283 w 289012"/>
                <a:gd name="connsiteY0" fmla="*/ 64 h 139801"/>
                <a:gd name="connsiteX1" fmla="*/ 18818 w 289012"/>
                <a:gd name="connsiteY1" fmla="*/ 108968 h 139801"/>
                <a:gd name="connsiteX2" fmla="*/ 0 w 289012"/>
                <a:gd name="connsiteY2" fmla="*/ 139802 h 139801"/>
                <a:gd name="connsiteX3" fmla="*/ 289012 w 289012"/>
                <a:gd name="connsiteY3" fmla="*/ 5531 h 139801"/>
                <a:gd name="connsiteX4" fmla="*/ 253283 w 289012"/>
                <a:gd name="connsiteY4" fmla="*/ 0 h 139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12" h="139801">
                  <a:moveTo>
                    <a:pt x="253283" y="64"/>
                  </a:moveTo>
                  <a:lnTo>
                    <a:pt x="18818" y="108968"/>
                  </a:lnTo>
                  <a:cubicBezTo>
                    <a:pt x="11889" y="118758"/>
                    <a:pt x="5595" y="129058"/>
                    <a:pt x="0" y="139802"/>
                  </a:cubicBezTo>
                  <a:lnTo>
                    <a:pt x="289012" y="5531"/>
                  </a:lnTo>
                  <a:cubicBezTo>
                    <a:pt x="277378" y="2861"/>
                    <a:pt x="265490" y="1017"/>
                    <a:pt x="253283" y="0"/>
                  </a:cubicBez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8DF44714-962B-7669-5C85-106DD81FC22C}"/>
                </a:ext>
              </a:extLst>
            </p:cNvPr>
            <p:cNvSpPr/>
            <p:nvPr/>
          </p:nvSpPr>
          <p:spPr>
            <a:xfrm>
              <a:off x="9020027" y="3788886"/>
              <a:ext cx="414827" cy="205856"/>
            </a:xfrm>
            <a:custGeom>
              <a:avLst/>
              <a:gdLst>
                <a:gd name="connsiteX0" fmla="*/ 395437 w 414827"/>
                <a:gd name="connsiteY0" fmla="*/ 0 h 205856"/>
                <a:gd name="connsiteX1" fmla="*/ 2416 w 414827"/>
                <a:gd name="connsiteY1" fmla="*/ 182588 h 205856"/>
                <a:gd name="connsiteX2" fmla="*/ 0 w 414827"/>
                <a:gd name="connsiteY2" fmla="*/ 205856 h 205856"/>
                <a:gd name="connsiteX3" fmla="*/ 414828 w 414827"/>
                <a:gd name="connsiteY3" fmla="*/ 13160 h 205856"/>
                <a:gd name="connsiteX4" fmla="*/ 395437 w 414827"/>
                <a:gd name="connsiteY4" fmla="*/ 63 h 20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7" h="205856">
                  <a:moveTo>
                    <a:pt x="395437" y="0"/>
                  </a:moveTo>
                  <a:lnTo>
                    <a:pt x="2416" y="182588"/>
                  </a:lnTo>
                  <a:cubicBezTo>
                    <a:pt x="1272" y="190217"/>
                    <a:pt x="445" y="197973"/>
                    <a:pt x="0" y="205856"/>
                  </a:cubicBezTo>
                  <a:lnTo>
                    <a:pt x="414828" y="13160"/>
                  </a:lnTo>
                  <a:cubicBezTo>
                    <a:pt x="408597" y="8519"/>
                    <a:pt x="402113" y="4132"/>
                    <a:pt x="395437" y="63"/>
                  </a:cubicBez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9F7B4AA3-25B5-B149-6EB7-2CA43171961E}"/>
                </a:ext>
              </a:extLst>
            </p:cNvPr>
            <p:cNvSpPr/>
            <p:nvPr/>
          </p:nvSpPr>
          <p:spPr>
            <a:xfrm>
              <a:off x="9024223" y="3847883"/>
              <a:ext cx="470328" cy="232748"/>
            </a:xfrm>
            <a:custGeom>
              <a:avLst/>
              <a:gdLst>
                <a:gd name="connsiteX0" fmla="*/ 458122 w 470328"/>
                <a:gd name="connsiteY0" fmla="*/ 0 h 232748"/>
                <a:gd name="connsiteX1" fmla="*/ 0 w 470328"/>
                <a:gd name="connsiteY1" fmla="*/ 212786 h 232748"/>
                <a:gd name="connsiteX2" fmla="*/ 4705 w 470328"/>
                <a:gd name="connsiteY2" fmla="*/ 232748 h 232748"/>
                <a:gd name="connsiteX3" fmla="*/ 470329 w 470328"/>
                <a:gd name="connsiteY3" fmla="*/ 16466 h 232748"/>
                <a:gd name="connsiteX4" fmla="*/ 458122 w 470328"/>
                <a:gd name="connsiteY4" fmla="*/ 0 h 23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28" h="232748">
                  <a:moveTo>
                    <a:pt x="458122" y="0"/>
                  </a:moveTo>
                  <a:lnTo>
                    <a:pt x="0" y="212786"/>
                  </a:lnTo>
                  <a:cubicBezTo>
                    <a:pt x="1335" y="219525"/>
                    <a:pt x="2924" y="226200"/>
                    <a:pt x="4705" y="232748"/>
                  </a:cubicBezTo>
                  <a:lnTo>
                    <a:pt x="470329" y="16466"/>
                  </a:lnTo>
                  <a:cubicBezTo>
                    <a:pt x="466451" y="10808"/>
                    <a:pt x="462382" y="5340"/>
                    <a:pt x="458122" y="0"/>
                  </a:cubicBez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658925CD-1D75-C3EC-045F-3C3556515682}"/>
                </a:ext>
              </a:extLst>
            </p:cNvPr>
            <p:cNvSpPr/>
            <p:nvPr/>
          </p:nvSpPr>
          <p:spPr>
            <a:xfrm>
              <a:off x="9052514" y="3918960"/>
              <a:ext cx="476940" cy="235863"/>
            </a:xfrm>
            <a:custGeom>
              <a:avLst/>
              <a:gdLst>
                <a:gd name="connsiteX0" fmla="*/ 470583 w 476940"/>
                <a:gd name="connsiteY0" fmla="*/ 64 h 235863"/>
                <a:gd name="connsiteX1" fmla="*/ 0 w 476940"/>
                <a:gd name="connsiteY1" fmla="*/ 218635 h 235863"/>
                <a:gd name="connsiteX2" fmla="*/ 10490 w 476940"/>
                <a:gd name="connsiteY2" fmla="*/ 235864 h 235863"/>
                <a:gd name="connsiteX3" fmla="*/ 476940 w 476940"/>
                <a:gd name="connsiteY3" fmla="*/ 19200 h 235863"/>
                <a:gd name="connsiteX4" fmla="*/ 470583 w 476940"/>
                <a:gd name="connsiteY4" fmla="*/ 0 h 23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40" h="235863">
                  <a:moveTo>
                    <a:pt x="470583" y="64"/>
                  </a:moveTo>
                  <a:lnTo>
                    <a:pt x="0" y="218635"/>
                  </a:lnTo>
                  <a:cubicBezTo>
                    <a:pt x="3306" y="224547"/>
                    <a:pt x="6803" y="230269"/>
                    <a:pt x="10490" y="235864"/>
                  </a:cubicBezTo>
                  <a:lnTo>
                    <a:pt x="476940" y="19200"/>
                  </a:lnTo>
                  <a:cubicBezTo>
                    <a:pt x="475033" y="12715"/>
                    <a:pt x="472935" y="6294"/>
                    <a:pt x="470583" y="0"/>
                  </a:cubicBez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BBFDB7E4-54D4-27CE-009E-3D0D43024AA6}"/>
                </a:ext>
              </a:extLst>
            </p:cNvPr>
            <p:cNvSpPr/>
            <p:nvPr/>
          </p:nvSpPr>
          <p:spPr>
            <a:xfrm>
              <a:off x="9104709" y="4001417"/>
              <a:ext cx="435044" cy="216155"/>
            </a:xfrm>
            <a:custGeom>
              <a:avLst/>
              <a:gdLst>
                <a:gd name="connsiteX0" fmla="*/ 435044 w 435044"/>
                <a:gd name="connsiteY0" fmla="*/ 9346 h 216155"/>
                <a:gd name="connsiteX1" fmla="*/ 434790 w 435044"/>
                <a:gd name="connsiteY1" fmla="*/ 0 h 216155"/>
                <a:gd name="connsiteX2" fmla="*/ 0 w 435044"/>
                <a:gd name="connsiteY2" fmla="*/ 201978 h 216155"/>
                <a:gd name="connsiteX3" fmla="*/ 17102 w 435044"/>
                <a:gd name="connsiteY3" fmla="*/ 216155 h 216155"/>
                <a:gd name="connsiteX4" fmla="*/ 434727 w 435044"/>
                <a:gd name="connsiteY4" fmla="*/ 22188 h 216155"/>
                <a:gd name="connsiteX5" fmla="*/ 435044 w 435044"/>
                <a:gd name="connsiteY5" fmla="*/ 9409 h 2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044" h="216155">
                  <a:moveTo>
                    <a:pt x="435044" y="9346"/>
                  </a:moveTo>
                  <a:cubicBezTo>
                    <a:pt x="435044" y="6230"/>
                    <a:pt x="434917" y="3115"/>
                    <a:pt x="434790" y="0"/>
                  </a:cubicBezTo>
                  <a:lnTo>
                    <a:pt x="0" y="201978"/>
                  </a:lnTo>
                  <a:cubicBezTo>
                    <a:pt x="5467" y="206937"/>
                    <a:pt x="11189" y="211642"/>
                    <a:pt x="17102" y="216155"/>
                  </a:cubicBezTo>
                  <a:lnTo>
                    <a:pt x="434727" y="22188"/>
                  </a:lnTo>
                  <a:cubicBezTo>
                    <a:pt x="434917" y="17928"/>
                    <a:pt x="435044" y="13669"/>
                    <a:pt x="435044" y="9409"/>
                  </a:cubicBez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5F9F7F54-5F1C-D75B-5336-D99409AFE18D}"/>
                </a:ext>
              </a:extLst>
            </p:cNvPr>
            <p:cNvSpPr/>
            <p:nvPr/>
          </p:nvSpPr>
          <p:spPr>
            <a:xfrm>
              <a:off x="9188501" y="4098369"/>
              <a:ext cx="336058" cy="164913"/>
            </a:xfrm>
            <a:custGeom>
              <a:avLst/>
              <a:gdLst>
                <a:gd name="connsiteX0" fmla="*/ 324360 w 336058"/>
                <a:gd name="connsiteY0" fmla="*/ 27592 h 164913"/>
                <a:gd name="connsiteX1" fmla="*/ 336058 w 336058"/>
                <a:gd name="connsiteY1" fmla="*/ 0 h 164913"/>
                <a:gd name="connsiteX2" fmla="*/ 0 w 336058"/>
                <a:gd name="connsiteY2" fmla="*/ 156077 h 164913"/>
                <a:gd name="connsiteX3" fmla="*/ 28609 w 336058"/>
                <a:gd name="connsiteY3" fmla="*/ 164914 h 164913"/>
                <a:gd name="connsiteX4" fmla="*/ 324360 w 336058"/>
                <a:gd name="connsiteY4" fmla="*/ 27528 h 16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058" h="164913">
                  <a:moveTo>
                    <a:pt x="324360" y="27592"/>
                  </a:moveTo>
                  <a:cubicBezTo>
                    <a:pt x="328747" y="18691"/>
                    <a:pt x="332689" y="9473"/>
                    <a:pt x="336058" y="0"/>
                  </a:cubicBezTo>
                  <a:lnTo>
                    <a:pt x="0" y="156077"/>
                  </a:lnTo>
                  <a:cubicBezTo>
                    <a:pt x="9282" y="159574"/>
                    <a:pt x="18882" y="162498"/>
                    <a:pt x="28609" y="164914"/>
                  </a:cubicBezTo>
                  <a:lnTo>
                    <a:pt x="324360" y="27528"/>
                  </a:ln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97106837-A3A0-6243-743F-33FB9243BAA0}"/>
                </a:ext>
              </a:extLst>
            </p:cNvPr>
            <p:cNvSpPr/>
            <p:nvPr/>
          </p:nvSpPr>
          <p:spPr>
            <a:xfrm>
              <a:off x="9048509" y="4369453"/>
              <a:ext cx="289012" cy="139801"/>
            </a:xfrm>
            <a:custGeom>
              <a:avLst/>
              <a:gdLst>
                <a:gd name="connsiteX0" fmla="*/ 253283 w 289012"/>
                <a:gd name="connsiteY0" fmla="*/ 64 h 139801"/>
                <a:gd name="connsiteX1" fmla="*/ 18818 w 289012"/>
                <a:gd name="connsiteY1" fmla="*/ 108968 h 139801"/>
                <a:gd name="connsiteX2" fmla="*/ 0 w 289012"/>
                <a:gd name="connsiteY2" fmla="*/ 139802 h 139801"/>
                <a:gd name="connsiteX3" fmla="*/ 289012 w 289012"/>
                <a:gd name="connsiteY3" fmla="*/ 5531 h 139801"/>
                <a:gd name="connsiteX4" fmla="*/ 253283 w 289012"/>
                <a:gd name="connsiteY4" fmla="*/ 0 h 139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12" h="139801">
                  <a:moveTo>
                    <a:pt x="253283" y="64"/>
                  </a:moveTo>
                  <a:lnTo>
                    <a:pt x="18818" y="108968"/>
                  </a:lnTo>
                  <a:cubicBezTo>
                    <a:pt x="11889" y="118758"/>
                    <a:pt x="5595" y="129058"/>
                    <a:pt x="0" y="139802"/>
                  </a:cubicBezTo>
                  <a:lnTo>
                    <a:pt x="289012" y="5531"/>
                  </a:lnTo>
                  <a:cubicBezTo>
                    <a:pt x="277378" y="2861"/>
                    <a:pt x="265490" y="1017"/>
                    <a:pt x="253283" y="0"/>
                  </a:cubicBez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547A8630-D9BE-F8D3-860E-ADC9DAD8B791}"/>
                </a:ext>
              </a:extLst>
            </p:cNvPr>
            <p:cNvSpPr/>
            <p:nvPr/>
          </p:nvSpPr>
          <p:spPr>
            <a:xfrm>
              <a:off x="9020027" y="4406772"/>
              <a:ext cx="414827" cy="205856"/>
            </a:xfrm>
            <a:custGeom>
              <a:avLst/>
              <a:gdLst>
                <a:gd name="connsiteX0" fmla="*/ 395437 w 414827"/>
                <a:gd name="connsiteY0" fmla="*/ 0 h 205856"/>
                <a:gd name="connsiteX1" fmla="*/ 2416 w 414827"/>
                <a:gd name="connsiteY1" fmla="*/ 182588 h 205856"/>
                <a:gd name="connsiteX2" fmla="*/ 0 w 414827"/>
                <a:gd name="connsiteY2" fmla="*/ 205856 h 205856"/>
                <a:gd name="connsiteX3" fmla="*/ 414828 w 414827"/>
                <a:gd name="connsiteY3" fmla="*/ 13160 h 205856"/>
                <a:gd name="connsiteX4" fmla="*/ 395437 w 414827"/>
                <a:gd name="connsiteY4" fmla="*/ 63 h 20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7" h="205856">
                  <a:moveTo>
                    <a:pt x="395437" y="0"/>
                  </a:moveTo>
                  <a:lnTo>
                    <a:pt x="2416" y="182588"/>
                  </a:lnTo>
                  <a:cubicBezTo>
                    <a:pt x="1272" y="190217"/>
                    <a:pt x="445" y="197973"/>
                    <a:pt x="0" y="205856"/>
                  </a:cubicBezTo>
                  <a:lnTo>
                    <a:pt x="414828" y="13160"/>
                  </a:lnTo>
                  <a:cubicBezTo>
                    <a:pt x="408597" y="8519"/>
                    <a:pt x="402113" y="4132"/>
                    <a:pt x="395437" y="63"/>
                  </a:cubicBezTo>
                  <a:close/>
                </a:path>
              </a:pathLst>
            </a:custGeom>
            <a:grpFill/>
            <a:ln w="0" cap="flat">
              <a:noFill/>
              <a:prstDash val="solid"/>
              <a:miter/>
            </a:ln>
          </p:spPr>
          <p:txBody>
            <a:bodyPr rtlCol="0" anchor="ctr"/>
            <a:lstStyle/>
            <a:p>
              <a:endParaRPr lang="sv-SE"/>
            </a:p>
          </p:txBody>
        </p:sp>
        <p:sp>
          <p:nvSpPr>
            <p:cNvPr id="39" name="Frihandsfigur: Form 38">
              <a:extLst>
                <a:ext uri="{FF2B5EF4-FFF2-40B4-BE49-F238E27FC236}">
                  <a16:creationId xmlns:a16="http://schemas.microsoft.com/office/drawing/2014/main" id="{F708235F-AECC-6F9F-77F7-A5F65DBBAACC}"/>
                </a:ext>
              </a:extLst>
            </p:cNvPr>
            <p:cNvSpPr/>
            <p:nvPr/>
          </p:nvSpPr>
          <p:spPr>
            <a:xfrm>
              <a:off x="9024223" y="4465706"/>
              <a:ext cx="470328" cy="232748"/>
            </a:xfrm>
            <a:custGeom>
              <a:avLst/>
              <a:gdLst>
                <a:gd name="connsiteX0" fmla="*/ 458122 w 470328"/>
                <a:gd name="connsiteY0" fmla="*/ 0 h 232748"/>
                <a:gd name="connsiteX1" fmla="*/ 0 w 470328"/>
                <a:gd name="connsiteY1" fmla="*/ 212786 h 232748"/>
                <a:gd name="connsiteX2" fmla="*/ 4705 w 470328"/>
                <a:gd name="connsiteY2" fmla="*/ 232748 h 232748"/>
                <a:gd name="connsiteX3" fmla="*/ 470329 w 470328"/>
                <a:gd name="connsiteY3" fmla="*/ 16466 h 232748"/>
                <a:gd name="connsiteX4" fmla="*/ 458122 w 470328"/>
                <a:gd name="connsiteY4" fmla="*/ 0 h 23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28" h="232748">
                  <a:moveTo>
                    <a:pt x="458122" y="0"/>
                  </a:moveTo>
                  <a:lnTo>
                    <a:pt x="0" y="212786"/>
                  </a:lnTo>
                  <a:cubicBezTo>
                    <a:pt x="1335" y="219525"/>
                    <a:pt x="2924" y="226200"/>
                    <a:pt x="4705" y="232748"/>
                  </a:cubicBezTo>
                  <a:lnTo>
                    <a:pt x="470329" y="16466"/>
                  </a:lnTo>
                  <a:cubicBezTo>
                    <a:pt x="466451" y="10808"/>
                    <a:pt x="462382" y="5340"/>
                    <a:pt x="458122" y="0"/>
                  </a:cubicBezTo>
                  <a:close/>
                </a:path>
              </a:pathLst>
            </a:custGeom>
            <a:grpFill/>
            <a:ln w="0" cap="flat">
              <a:noFill/>
              <a:prstDash val="solid"/>
              <a:miter/>
            </a:ln>
          </p:spPr>
          <p:txBody>
            <a:bodyPr rtlCol="0" anchor="ctr"/>
            <a:lstStyle/>
            <a:p>
              <a:endParaRPr lang="sv-SE"/>
            </a:p>
          </p:txBody>
        </p:sp>
        <p:sp>
          <p:nvSpPr>
            <p:cNvPr id="40" name="Frihandsfigur: Form 39">
              <a:extLst>
                <a:ext uri="{FF2B5EF4-FFF2-40B4-BE49-F238E27FC236}">
                  <a16:creationId xmlns:a16="http://schemas.microsoft.com/office/drawing/2014/main" id="{ADB02657-FA8F-483F-9A61-DA66F265C123}"/>
                </a:ext>
              </a:extLst>
            </p:cNvPr>
            <p:cNvSpPr/>
            <p:nvPr/>
          </p:nvSpPr>
          <p:spPr>
            <a:xfrm>
              <a:off x="9052514" y="4536783"/>
              <a:ext cx="476940" cy="235863"/>
            </a:xfrm>
            <a:custGeom>
              <a:avLst/>
              <a:gdLst>
                <a:gd name="connsiteX0" fmla="*/ 470583 w 476940"/>
                <a:gd name="connsiteY0" fmla="*/ 64 h 235863"/>
                <a:gd name="connsiteX1" fmla="*/ 0 w 476940"/>
                <a:gd name="connsiteY1" fmla="*/ 218635 h 235863"/>
                <a:gd name="connsiteX2" fmla="*/ 10490 w 476940"/>
                <a:gd name="connsiteY2" fmla="*/ 235863 h 235863"/>
                <a:gd name="connsiteX3" fmla="*/ 476940 w 476940"/>
                <a:gd name="connsiteY3" fmla="*/ 19200 h 235863"/>
                <a:gd name="connsiteX4" fmla="*/ 470583 w 476940"/>
                <a:gd name="connsiteY4" fmla="*/ 0 h 23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40" h="235863">
                  <a:moveTo>
                    <a:pt x="470583" y="64"/>
                  </a:moveTo>
                  <a:lnTo>
                    <a:pt x="0" y="218635"/>
                  </a:lnTo>
                  <a:cubicBezTo>
                    <a:pt x="3306" y="224547"/>
                    <a:pt x="6803" y="230269"/>
                    <a:pt x="10490" y="235863"/>
                  </a:cubicBezTo>
                  <a:lnTo>
                    <a:pt x="476940" y="19200"/>
                  </a:lnTo>
                  <a:cubicBezTo>
                    <a:pt x="475033" y="12715"/>
                    <a:pt x="472935" y="6294"/>
                    <a:pt x="470583" y="0"/>
                  </a:cubicBezTo>
                  <a:close/>
                </a:path>
              </a:pathLst>
            </a:custGeom>
            <a:grpFill/>
            <a:ln w="0" cap="flat">
              <a:noFill/>
              <a:prstDash val="solid"/>
              <a:miter/>
            </a:ln>
          </p:spPr>
          <p:txBody>
            <a:bodyPr rtlCol="0" anchor="ctr"/>
            <a:lstStyle/>
            <a:p>
              <a:endParaRPr lang="sv-SE"/>
            </a:p>
          </p:txBody>
        </p:sp>
        <p:sp>
          <p:nvSpPr>
            <p:cNvPr id="41" name="Frihandsfigur: Form 40">
              <a:extLst>
                <a:ext uri="{FF2B5EF4-FFF2-40B4-BE49-F238E27FC236}">
                  <a16:creationId xmlns:a16="http://schemas.microsoft.com/office/drawing/2014/main" id="{FEDA3294-4C33-7D4A-E9AA-9894DE626ED0}"/>
                </a:ext>
              </a:extLst>
            </p:cNvPr>
            <p:cNvSpPr/>
            <p:nvPr/>
          </p:nvSpPr>
          <p:spPr>
            <a:xfrm>
              <a:off x="9104709" y="4619304"/>
              <a:ext cx="435044" cy="216155"/>
            </a:xfrm>
            <a:custGeom>
              <a:avLst/>
              <a:gdLst>
                <a:gd name="connsiteX0" fmla="*/ 435044 w 435044"/>
                <a:gd name="connsiteY0" fmla="*/ 9346 h 216155"/>
                <a:gd name="connsiteX1" fmla="*/ 434790 w 435044"/>
                <a:gd name="connsiteY1" fmla="*/ 0 h 216155"/>
                <a:gd name="connsiteX2" fmla="*/ 0 w 435044"/>
                <a:gd name="connsiteY2" fmla="*/ 201978 h 216155"/>
                <a:gd name="connsiteX3" fmla="*/ 17102 w 435044"/>
                <a:gd name="connsiteY3" fmla="*/ 216155 h 216155"/>
                <a:gd name="connsiteX4" fmla="*/ 434727 w 435044"/>
                <a:gd name="connsiteY4" fmla="*/ 22188 h 216155"/>
                <a:gd name="connsiteX5" fmla="*/ 435044 w 435044"/>
                <a:gd name="connsiteY5" fmla="*/ 9409 h 2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044" h="216155">
                  <a:moveTo>
                    <a:pt x="435044" y="9346"/>
                  </a:moveTo>
                  <a:cubicBezTo>
                    <a:pt x="435044" y="6231"/>
                    <a:pt x="434917" y="3116"/>
                    <a:pt x="434790" y="0"/>
                  </a:cubicBezTo>
                  <a:lnTo>
                    <a:pt x="0" y="201978"/>
                  </a:lnTo>
                  <a:cubicBezTo>
                    <a:pt x="5467" y="206937"/>
                    <a:pt x="11189" y="211642"/>
                    <a:pt x="17102" y="216155"/>
                  </a:cubicBezTo>
                  <a:lnTo>
                    <a:pt x="434727" y="22188"/>
                  </a:lnTo>
                  <a:cubicBezTo>
                    <a:pt x="434917" y="17928"/>
                    <a:pt x="435044" y="13669"/>
                    <a:pt x="435044" y="9409"/>
                  </a:cubicBezTo>
                  <a:close/>
                </a:path>
              </a:pathLst>
            </a:custGeom>
            <a:grpFill/>
            <a:ln w="0" cap="flat">
              <a:noFill/>
              <a:prstDash val="solid"/>
              <a:miter/>
            </a:ln>
          </p:spPr>
          <p:txBody>
            <a:bodyPr rtlCol="0" anchor="ctr"/>
            <a:lstStyle/>
            <a:p>
              <a:endParaRPr lang="sv-SE"/>
            </a:p>
          </p:txBody>
        </p:sp>
        <p:sp>
          <p:nvSpPr>
            <p:cNvPr id="42" name="Frihandsfigur: Form 41">
              <a:extLst>
                <a:ext uri="{FF2B5EF4-FFF2-40B4-BE49-F238E27FC236}">
                  <a16:creationId xmlns:a16="http://schemas.microsoft.com/office/drawing/2014/main" id="{84AD1726-04AB-A210-4E00-A741A1EEF5EC}"/>
                </a:ext>
              </a:extLst>
            </p:cNvPr>
            <p:cNvSpPr/>
            <p:nvPr/>
          </p:nvSpPr>
          <p:spPr>
            <a:xfrm>
              <a:off x="9188501" y="4716256"/>
              <a:ext cx="336058" cy="164913"/>
            </a:xfrm>
            <a:custGeom>
              <a:avLst/>
              <a:gdLst>
                <a:gd name="connsiteX0" fmla="*/ 324360 w 336058"/>
                <a:gd name="connsiteY0" fmla="*/ 27592 h 164913"/>
                <a:gd name="connsiteX1" fmla="*/ 336058 w 336058"/>
                <a:gd name="connsiteY1" fmla="*/ 0 h 164913"/>
                <a:gd name="connsiteX2" fmla="*/ 0 w 336058"/>
                <a:gd name="connsiteY2" fmla="*/ 156077 h 164913"/>
                <a:gd name="connsiteX3" fmla="*/ 28609 w 336058"/>
                <a:gd name="connsiteY3" fmla="*/ 164914 h 164913"/>
                <a:gd name="connsiteX4" fmla="*/ 324360 w 336058"/>
                <a:gd name="connsiteY4" fmla="*/ 27528 h 16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058" h="164913">
                  <a:moveTo>
                    <a:pt x="324360" y="27592"/>
                  </a:moveTo>
                  <a:cubicBezTo>
                    <a:pt x="328747" y="18691"/>
                    <a:pt x="332689" y="9473"/>
                    <a:pt x="336058" y="0"/>
                  </a:cubicBezTo>
                  <a:lnTo>
                    <a:pt x="0" y="156077"/>
                  </a:lnTo>
                  <a:cubicBezTo>
                    <a:pt x="9282" y="159574"/>
                    <a:pt x="18882" y="162498"/>
                    <a:pt x="28609" y="164914"/>
                  </a:cubicBezTo>
                  <a:lnTo>
                    <a:pt x="324360" y="27528"/>
                  </a:lnTo>
                  <a:close/>
                </a:path>
              </a:pathLst>
            </a:custGeom>
            <a:grpFill/>
            <a:ln w="0" cap="flat">
              <a:noFill/>
              <a:prstDash val="solid"/>
              <a:miter/>
            </a:ln>
          </p:spPr>
          <p:txBody>
            <a:bodyPr rtlCol="0" anchor="ctr"/>
            <a:lstStyle/>
            <a:p>
              <a:endParaRPr lang="sv-SE"/>
            </a:p>
          </p:txBody>
        </p:sp>
        <p:sp>
          <p:nvSpPr>
            <p:cNvPr id="43" name="Frihandsfigur: Form 42">
              <a:extLst>
                <a:ext uri="{FF2B5EF4-FFF2-40B4-BE49-F238E27FC236}">
                  <a16:creationId xmlns:a16="http://schemas.microsoft.com/office/drawing/2014/main" id="{692C05C7-1C41-9F21-36A0-FA3F25083BA6}"/>
                </a:ext>
              </a:extLst>
            </p:cNvPr>
            <p:cNvSpPr/>
            <p:nvPr/>
          </p:nvSpPr>
          <p:spPr>
            <a:xfrm>
              <a:off x="9048509" y="4987276"/>
              <a:ext cx="289012" cy="139801"/>
            </a:xfrm>
            <a:custGeom>
              <a:avLst/>
              <a:gdLst>
                <a:gd name="connsiteX0" fmla="*/ 253283 w 289012"/>
                <a:gd name="connsiteY0" fmla="*/ 64 h 139801"/>
                <a:gd name="connsiteX1" fmla="*/ 18818 w 289012"/>
                <a:gd name="connsiteY1" fmla="*/ 108968 h 139801"/>
                <a:gd name="connsiteX2" fmla="*/ 0 w 289012"/>
                <a:gd name="connsiteY2" fmla="*/ 139802 h 139801"/>
                <a:gd name="connsiteX3" fmla="*/ 289012 w 289012"/>
                <a:gd name="connsiteY3" fmla="*/ 5531 h 139801"/>
                <a:gd name="connsiteX4" fmla="*/ 253283 w 289012"/>
                <a:gd name="connsiteY4" fmla="*/ 0 h 139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12" h="139801">
                  <a:moveTo>
                    <a:pt x="253283" y="64"/>
                  </a:moveTo>
                  <a:lnTo>
                    <a:pt x="18818" y="108968"/>
                  </a:lnTo>
                  <a:cubicBezTo>
                    <a:pt x="11889" y="118758"/>
                    <a:pt x="5595" y="129058"/>
                    <a:pt x="0" y="139802"/>
                  </a:cubicBezTo>
                  <a:lnTo>
                    <a:pt x="289012" y="5531"/>
                  </a:lnTo>
                  <a:cubicBezTo>
                    <a:pt x="277378" y="2861"/>
                    <a:pt x="265490" y="1017"/>
                    <a:pt x="253283" y="0"/>
                  </a:cubicBezTo>
                  <a:close/>
                </a:path>
              </a:pathLst>
            </a:custGeom>
            <a:grpFill/>
            <a:ln w="0" cap="flat">
              <a:noFill/>
              <a:prstDash val="solid"/>
              <a:miter/>
            </a:ln>
          </p:spPr>
          <p:txBody>
            <a:bodyPr rtlCol="0" anchor="ctr"/>
            <a:lstStyle/>
            <a:p>
              <a:endParaRPr lang="sv-SE"/>
            </a:p>
          </p:txBody>
        </p:sp>
        <p:sp>
          <p:nvSpPr>
            <p:cNvPr id="44" name="Frihandsfigur: Form 43">
              <a:extLst>
                <a:ext uri="{FF2B5EF4-FFF2-40B4-BE49-F238E27FC236}">
                  <a16:creationId xmlns:a16="http://schemas.microsoft.com/office/drawing/2014/main" id="{B87546A5-14D2-EE26-FF34-62632F6CD971}"/>
                </a:ext>
              </a:extLst>
            </p:cNvPr>
            <p:cNvSpPr/>
            <p:nvPr/>
          </p:nvSpPr>
          <p:spPr>
            <a:xfrm>
              <a:off x="9020027" y="5024595"/>
              <a:ext cx="414827" cy="205856"/>
            </a:xfrm>
            <a:custGeom>
              <a:avLst/>
              <a:gdLst>
                <a:gd name="connsiteX0" fmla="*/ 395437 w 414827"/>
                <a:gd name="connsiteY0" fmla="*/ 0 h 205856"/>
                <a:gd name="connsiteX1" fmla="*/ 2416 w 414827"/>
                <a:gd name="connsiteY1" fmla="*/ 182588 h 205856"/>
                <a:gd name="connsiteX2" fmla="*/ 0 w 414827"/>
                <a:gd name="connsiteY2" fmla="*/ 205856 h 205856"/>
                <a:gd name="connsiteX3" fmla="*/ 414828 w 414827"/>
                <a:gd name="connsiteY3" fmla="*/ 13160 h 205856"/>
                <a:gd name="connsiteX4" fmla="*/ 395437 w 414827"/>
                <a:gd name="connsiteY4" fmla="*/ 64 h 20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7" h="205856">
                  <a:moveTo>
                    <a:pt x="395437" y="0"/>
                  </a:moveTo>
                  <a:lnTo>
                    <a:pt x="2416" y="182588"/>
                  </a:lnTo>
                  <a:cubicBezTo>
                    <a:pt x="1272" y="190217"/>
                    <a:pt x="445" y="197973"/>
                    <a:pt x="0" y="205856"/>
                  </a:cubicBezTo>
                  <a:lnTo>
                    <a:pt x="414828" y="13160"/>
                  </a:lnTo>
                  <a:cubicBezTo>
                    <a:pt x="408597" y="8519"/>
                    <a:pt x="402113" y="4133"/>
                    <a:pt x="395437" y="64"/>
                  </a:cubicBezTo>
                  <a:close/>
                </a:path>
              </a:pathLst>
            </a:custGeom>
            <a:grpFill/>
            <a:ln w="0" cap="flat">
              <a:noFill/>
              <a:prstDash val="solid"/>
              <a:miter/>
            </a:ln>
          </p:spPr>
          <p:txBody>
            <a:bodyPr rtlCol="0" anchor="ctr"/>
            <a:lstStyle/>
            <a:p>
              <a:endParaRPr lang="sv-SE"/>
            </a:p>
          </p:txBody>
        </p:sp>
        <p:sp>
          <p:nvSpPr>
            <p:cNvPr id="45" name="Frihandsfigur: Form 44">
              <a:extLst>
                <a:ext uri="{FF2B5EF4-FFF2-40B4-BE49-F238E27FC236}">
                  <a16:creationId xmlns:a16="http://schemas.microsoft.com/office/drawing/2014/main" id="{9292F170-40D3-359A-D46A-C70C789198FF}"/>
                </a:ext>
              </a:extLst>
            </p:cNvPr>
            <p:cNvSpPr/>
            <p:nvPr/>
          </p:nvSpPr>
          <p:spPr>
            <a:xfrm>
              <a:off x="9024223" y="5083593"/>
              <a:ext cx="470328" cy="232748"/>
            </a:xfrm>
            <a:custGeom>
              <a:avLst/>
              <a:gdLst>
                <a:gd name="connsiteX0" fmla="*/ 458122 w 470328"/>
                <a:gd name="connsiteY0" fmla="*/ 0 h 232748"/>
                <a:gd name="connsiteX1" fmla="*/ 0 w 470328"/>
                <a:gd name="connsiteY1" fmla="*/ 212786 h 232748"/>
                <a:gd name="connsiteX2" fmla="*/ 4705 w 470328"/>
                <a:gd name="connsiteY2" fmla="*/ 232748 h 232748"/>
                <a:gd name="connsiteX3" fmla="*/ 470329 w 470328"/>
                <a:gd name="connsiteY3" fmla="*/ 16466 h 232748"/>
                <a:gd name="connsiteX4" fmla="*/ 458122 w 470328"/>
                <a:gd name="connsiteY4" fmla="*/ 0 h 23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28" h="232748">
                  <a:moveTo>
                    <a:pt x="458122" y="0"/>
                  </a:moveTo>
                  <a:lnTo>
                    <a:pt x="0" y="212786"/>
                  </a:lnTo>
                  <a:cubicBezTo>
                    <a:pt x="1335" y="219525"/>
                    <a:pt x="2924" y="226200"/>
                    <a:pt x="4705" y="232748"/>
                  </a:cubicBezTo>
                  <a:lnTo>
                    <a:pt x="470329" y="16466"/>
                  </a:lnTo>
                  <a:cubicBezTo>
                    <a:pt x="466451" y="10808"/>
                    <a:pt x="462382" y="5340"/>
                    <a:pt x="458122" y="0"/>
                  </a:cubicBezTo>
                  <a:close/>
                </a:path>
              </a:pathLst>
            </a:custGeom>
            <a:grpFill/>
            <a:ln w="0" cap="flat">
              <a:noFill/>
              <a:prstDash val="solid"/>
              <a:miter/>
            </a:ln>
          </p:spPr>
          <p:txBody>
            <a:bodyPr rtlCol="0" anchor="ctr"/>
            <a:lstStyle/>
            <a:p>
              <a:endParaRPr lang="sv-SE"/>
            </a:p>
          </p:txBody>
        </p:sp>
        <p:sp>
          <p:nvSpPr>
            <p:cNvPr id="46" name="Frihandsfigur: Form 45">
              <a:extLst>
                <a:ext uri="{FF2B5EF4-FFF2-40B4-BE49-F238E27FC236}">
                  <a16:creationId xmlns:a16="http://schemas.microsoft.com/office/drawing/2014/main" id="{927BFCFA-40AD-DED9-EB97-89484CDE2D90}"/>
                </a:ext>
              </a:extLst>
            </p:cNvPr>
            <p:cNvSpPr/>
            <p:nvPr/>
          </p:nvSpPr>
          <p:spPr>
            <a:xfrm>
              <a:off x="9052514" y="5154670"/>
              <a:ext cx="476940" cy="235863"/>
            </a:xfrm>
            <a:custGeom>
              <a:avLst/>
              <a:gdLst>
                <a:gd name="connsiteX0" fmla="*/ 470583 w 476940"/>
                <a:gd name="connsiteY0" fmla="*/ 64 h 235863"/>
                <a:gd name="connsiteX1" fmla="*/ 0 w 476940"/>
                <a:gd name="connsiteY1" fmla="*/ 218635 h 235863"/>
                <a:gd name="connsiteX2" fmla="*/ 10490 w 476940"/>
                <a:gd name="connsiteY2" fmla="*/ 235863 h 235863"/>
                <a:gd name="connsiteX3" fmla="*/ 476940 w 476940"/>
                <a:gd name="connsiteY3" fmla="*/ 19200 h 235863"/>
                <a:gd name="connsiteX4" fmla="*/ 470583 w 476940"/>
                <a:gd name="connsiteY4" fmla="*/ 0 h 23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40" h="235863">
                  <a:moveTo>
                    <a:pt x="470583" y="64"/>
                  </a:moveTo>
                  <a:lnTo>
                    <a:pt x="0" y="218635"/>
                  </a:lnTo>
                  <a:cubicBezTo>
                    <a:pt x="3306" y="224547"/>
                    <a:pt x="6803" y="230269"/>
                    <a:pt x="10490" y="235863"/>
                  </a:cubicBezTo>
                  <a:lnTo>
                    <a:pt x="476940" y="19200"/>
                  </a:lnTo>
                  <a:cubicBezTo>
                    <a:pt x="475033" y="12715"/>
                    <a:pt x="472935" y="6294"/>
                    <a:pt x="470583" y="0"/>
                  </a:cubicBezTo>
                  <a:close/>
                </a:path>
              </a:pathLst>
            </a:custGeom>
            <a:grpFill/>
            <a:ln w="0" cap="flat">
              <a:noFill/>
              <a:prstDash val="solid"/>
              <a:miter/>
            </a:ln>
          </p:spPr>
          <p:txBody>
            <a:bodyPr rtlCol="0" anchor="ctr"/>
            <a:lstStyle/>
            <a:p>
              <a:endParaRPr lang="sv-SE"/>
            </a:p>
          </p:txBody>
        </p:sp>
        <p:sp>
          <p:nvSpPr>
            <p:cNvPr id="47" name="Frihandsfigur: Form 46">
              <a:extLst>
                <a:ext uri="{FF2B5EF4-FFF2-40B4-BE49-F238E27FC236}">
                  <a16:creationId xmlns:a16="http://schemas.microsoft.com/office/drawing/2014/main" id="{962155A2-E874-530D-8E64-3D811E5F59FB}"/>
                </a:ext>
              </a:extLst>
            </p:cNvPr>
            <p:cNvSpPr/>
            <p:nvPr/>
          </p:nvSpPr>
          <p:spPr>
            <a:xfrm>
              <a:off x="9104709" y="5237190"/>
              <a:ext cx="435044" cy="216155"/>
            </a:xfrm>
            <a:custGeom>
              <a:avLst/>
              <a:gdLst>
                <a:gd name="connsiteX0" fmla="*/ 435044 w 435044"/>
                <a:gd name="connsiteY0" fmla="*/ 9346 h 216155"/>
                <a:gd name="connsiteX1" fmla="*/ 434790 w 435044"/>
                <a:gd name="connsiteY1" fmla="*/ 0 h 216155"/>
                <a:gd name="connsiteX2" fmla="*/ 0 w 435044"/>
                <a:gd name="connsiteY2" fmla="*/ 201978 h 216155"/>
                <a:gd name="connsiteX3" fmla="*/ 17102 w 435044"/>
                <a:gd name="connsiteY3" fmla="*/ 216155 h 216155"/>
                <a:gd name="connsiteX4" fmla="*/ 434727 w 435044"/>
                <a:gd name="connsiteY4" fmla="*/ 22188 h 216155"/>
                <a:gd name="connsiteX5" fmla="*/ 435044 w 435044"/>
                <a:gd name="connsiteY5" fmla="*/ 9409 h 2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044" h="216155">
                  <a:moveTo>
                    <a:pt x="435044" y="9346"/>
                  </a:moveTo>
                  <a:cubicBezTo>
                    <a:pt x="435044" y="6231"/>
                    <a:pt x="434917" y="3116"/>
                    <a:pt x="434790" y="0"/>
                  </a:cubicBezTo>
                  <a:lnTo>
                    <a:pt x="0" y="201978"/>
                  </a:lnTo>
                  <a:cubicBezTo>
                    <a:pt x="5467" y="206937"/>
                    <a:pt x="11189" y="211642"/>
                    <a:pt x="17102" y="216155"/>
                  </a:cubicBezTo>
                  <a:lnTo>
                    <a:pt x="434727" y="22188"/>
                  </a:lnTo>
                  <a:cubicBezTo>
                    <a:pt x="434917" y="17928"/>
                    <a:pt x="435044" y="13669"/>
                    <a:pt x="435044" y="9409"/>
                  </a:cubicBezTo>
                  <a:close/>
                </a:path>
              </a:pathLst>
            </a:custGeom>
            <a:grpFill/>
            <a:ln w="0" cap="flat">
              <a:noFill/>
              <a:prstDash val="solid"/>
              <a:miter/>
            </a:ln>
          </p:spPr>
          <p:txBody>
            <a:bodyPr rtlCol="0" anchor="ctr"/>
            <a:lstStyle/>
            <a:p>
              <a:endParaRPr lang="sv-SE"/>
            </a:p>
          </p:txBody>
        </p:sp>
        <p:sp>
          <p:nvSpPr>
            <p:cNvPr id="48" name="Frihandsfigur: Form 47">
              <a:extLst>
                <a:ext uri="{FF2B5EF4-FFF2-40B4-BE49-F238E27FC236}">
                  <a16:creationId xmlns:a16="http://schemas.microsoft.com/office/drawing/2014/main" id="{3BC7D52C-155F-01F3-BD72-7D9AB2BFB717}"/>
                </a:ext>
              </a:extLst>
            </p:cNvPr>
            <p:cNvSpPr/>
            <p:nvPr/>
          </p:nvSpPr>
          <p:spPr>
            <a:xfrm>
              <a:off x="9188501" y="5334142"/>
              <a:ext cx="336058" cy="164913"/>
            </a:xfrm>
            <a:custGeom>
              <a:avLst/>
              <a:gdLst>
                <a:gd name="connsiteX0" fmla="*/ 324360 w 336058"/>
                <a:gd name="connsiteY0" fmla="*/ 27592 h 164913"/>
                <a:gd name="connsiteX1" fmla="*/ 336058 w 336058"/>
                <a:gd name="connsiteY1" fmla="*/ 0 h 164913"/>
                <a:gd name="connsiteX2" fmla="*/ 0 w 336058"/>
                <a:gd name="connsiteY2" fmla="*/ 156077 h 164913"/>
                <a:gd name="connsiteX3" fmla="*/ 28609 w 336058"/>
                <a:gd name="connsiteY3" fmla="*/ 164914 h 164913"/>
                <a:gd name="connsiteX4" fmla="*/ 324360 w 336058"/>
                <a:gd name="connsiteY4" fmla="*/ 27528 h 16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058" h="164913">
                  <a:moveTo>
                    <a:pt x="324360" y="27592"/>
                  </a:moveTo>
                  <a:cubicBezTo>
                    <a:pt x="328747" y="18691"/>
                    <a:pt x="332689" y="9473"/>
                    <a:pt x="336058" y="0"/>
                  </a:cubicBezTo>
                  <a:lnTo>
                    <a:pt x="0" y="156077"/>
                  </a:lnTo>
                  <a:cubicBezTo>
                    <a:pt x="9282" y="159574"/>
                    <a:pt x="18882" y="162498"/>
                    <a:pt x="28609" y="164914"/>
                  </a:cubicBezTo>
                  <a:lnTo>
                    <a:pt x="324360" y="27528"/>
                  </a:lnTo>
                  <a:close/>
                </a:path>
              </a:pathLst>
            </a:custGeom>
            <a:grpFill/>
            <a:ln w="0" cap="flat">
              <a:noFill/>
              <a:prstDash val="solid"/>
              <a:miter/>
            </a:ln>
          </p:spPr>
          <p:txBody>
            <a:bodyPr rtlCol="0" anchor="ctr"/>
            <a:lstStyle/>
            <a:p>
              <a:endParaRPr lang="sv-SE"/>
            </a:p>
          </p:txBody>
        </p:sp>
        <p:sp>
          <p:nvSpPr>
            <p:cNvPr id="49" name="Frihandsfigur: Form 48">
              <a:extLst>
                <a:ext uri="{FF2B5EF4-FFF2-40B4-BE49-F238E27FC236}">
                  <a16:creationId xmlns:a16="http://schemas.microsoft.com/office/drawing/2014/main" id="{A9822680-E7BE-643B-D833-1DF0D7BC6425}"/>
                </a:ext>
              </a:extLst>
            </p:cNvPr>
            <p:cNvSpPr/>
            <p:nvPr/>
          </p:nvSpPr>
          <p:spPr>
            <a:xfrm>
              <a:off x="11514079" y="5623091"/>
              <a:ext cx="267778" cy="146540"/>
            </a:xfrm>
            <a:custGeom>
              <a:avLst/>
              <a:gdLst>
                <a:gd name="connsiteX0" fmla="*/ 267778 w 267778"/>
                <a:gd name="connsiteY0" fmla="*/ 0 h 146540"/>
                <a:gd name="connsiteX1" fmla="*/ 12969 w 267778"/>
                <a:gd name="connsiteY1" fmla="*/ 118377 h 146540"/>
                <a:gd name="connsiteX2" fmla="*/ 0 w 267778"/>
                <a:gd name="connsiteY2" fmla="*/ 146541 h 146540"/>
                <a:gd name="connsiteX3" fmla="*/ 267778 w 267778"/>
                <a:gd name="connsiteY3" fmla="*/ 22124 h 146540"/>
                <a:gd name="connsiteX4" fmla="*/ 267778 w 267778"/>
                <a:gd name="connsiteY4" fmla="*/ 0 h 14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78" h="146540">
                  <a:moveTo>
                    <a:pt x="267778" y="0"/>
                  </a:moveTo>
                  <a:lnTo>
                    <a:pt x="12969" y="118377"/>
                  </a:lnTo>
                  <a:cubicBezTo>
                    <a:pt x="8074" y="127468"/>
                    <a:pt x="3815" y="136877"/>
                    <a:pt x="0" y="146541"/>
                  </a:cubicBezTo>
                  <a:lnTo>
                    <a:pt x="267778" y="22124"/>
                  </a:lnTo>
                  <a:lnTo>
                    <a:pt x="267778" y="0"/>
                  </a:lnTo>
                  <a:close/>
                </a:path>
              </a:pathLst>
            </a:custGeom>
            <a:grpFill/>
            <a:ln w="0" cap="flat">
              <a:noFill/>
              <a:prstDash val="solid"/>
              <a:miter/>
            </a:ln>
          </p:spPr>
          <p:txBody>
            <a:bodyPr rtlCol="0" anchor="ctr"/>
            <a:lstStyle/>
            <a:p>
              <a:endParaRPr lang="sv-SE"/>
            </a:p>
          </p:txBody>
        </p:sp>
        <p:sp>
          <p:nvSpPr>
            <p:cNvPr id="50" name="Frihandsfigur: Form 49">
              <a:extLst>
                <a:ext uri="{FF2B5EF4-FFF2-40B4-BE49-F238E27FC236}">
                  <a16:creationId xmlns:a16="http://schemas.microsoft.com/office/drawing/2014/main" id="{473308CC-3D23-EA17-9A28-0982A6668874}"/>
                </a:ext>
              </a:extLst>
            </p:cNvPr>
            <p:cNvSpPr/>
            <p:nvPr/>
          </p:nvSpPr>
          <p:spPr>
            <a:xfrm>
              <a:off x="10877692" y="4986384"/>
              <a:ext cx="904164" cy="520301"/>
            </a:xfrm>
            <a:custGeom>
              <a:avLst/>
              <a:gdLst>
                <a:gd name="connsiteX0" fmla="*/ 904165 w 904164"/>
                <a:gd name="connsiteY0" fmla="*/ 1274 h 520301"/>
                <a:gd name="connsiteX1" fmla="*/ 879943 w 904164"/>
                <a:gd name="connsiteY1" fmla="*/ 3 h 520301"/>
                <a:gd name="connsiteX2" fmla="*/ 656032 w 904164"/>
                <a:gd name="connsiteY2" fmla="*/ 125500 h 520301"/>
                <a:gd name="connsiteX3" fmla="*/ 571731 w 904164"/>
                <a:gd name="connsiteY3" fmla="*/ 173181 h 520301"/>
                <a:gd name="connsiteX4" fmla="*/ 567090 w 904164"/>
                <a:gd name="connsiteY4" fmla="*/ 173181 h 520301"/>
                <a:gd name="connsiteX5" fmla="*/ 482789 w 904164"/>
                <a:gd name="connsiteY5" fmla="*/ 125500 h 520301"/>
                <a:gd name="connsiteX6" fmla="*/ 258878 w 904164"/>
                <a:gd name="connsiteY6" fmla="*/ 3 h 520301"/>
                <a:gd name="connsiteX7" fmla="*/ 0 w 904164"/>
                <a:gd name="connsiteY7" fmla="*/ 260152 h 520301"/>
                <a:gd name="connsiteX8" fmla="*/ 260149 w 904164"/>
                <a:gd name="connsiteY8" fmla="*/ 520301 h 520301"/>
                <a:gd name="connsiteX9" fmla="*/ 483171 w 904164"/>
                <a:gd name="connsiteY9" fmla="*/ 394169 h 520301"/>
                <a:gd name="connsiteX10" fmla="*/ 567090 w 904164"/>
                <a:gd name="connsiteY10" fmla="*/ 347123 h 520301"/>
                <a:gd name="connsiteX11" fmla="*/ 571731 w 904164"/>
                <a:gd name="connsiteY11" fmla="*/ 347123 h 520301"/>
                <a:gd name="connsiteX12" fmla="*/ 655650 w 904164"/>
                <a:gd name="connsiteY12" fmla="*/ 394169 h 520301"/>
                <a:gd name="connsiteX13" fmla="*/ 878672 w 904164"/>
                <a:gd name="connsiteY13" fmla="*/ 520301 h 520301"/>
                <a:gd name="connsiteX14" fmla="*/ 904165 w 904164"/>
                <a:gd name="connsiteY14" fmla="*/ 519030 h 520301"/>
                <a:gd name="connsiteX15" fmla="*/ 904165 w 904164"/>
                <a:gd name="connsiteY15" fmla="*/ 1274 h 52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4164" h="520301">
                  <a:moveTo>
                    <a:pt x="904165" y="1274"/>
                  </a:moveTo>
                  <a:cubicBezTo>
                    <a:pt x="896155" y="511"/>
                    <a:pt x="888144" y="66"/>
                    <a:pt x="879943" y="3"/>
                  </a:cubicBezTo>
                  <a:cubicBezTo>
                    <a:pt x="785025" y="-442"/>
                    <a:pt x="701869" y="49909"/>
                    <a:pt x="656032" y="125500"/>
                  </a:cubicBezTo>
                  <a:cubicBezTo>
                    <a:pt x="638167" y="154999"/>
                    <a:pt x="606252" y="173181"/>
                    <a:pt x="571731" y="173181"/>
                  </a:cubicBezTo>
                  <a:lnTo>
                    <a:pt x="567090" y="173181"/>
                  </a:lnTo>
                  <a:cubicBezTo>
                    <a:pt x="532569" y="173181"/>
                    <a:pt x="500654" y="154999"/>
                    <a:pt x="482789" y="125500"/>
                  </a:cubicBezTo>
                  <a:cubicBezTo>
                    <a:pt x="437015" y="49909"/>
                    <a:pt x="353795" y="-442"/>
                    <a:pt x="258878" y="3"/>
                  </a:cubicBezTo>
                  <a:cubicBezTo>
                    <a:pt x="115516" y="702"/>
                    <a:pt x="0" y="116790"/>
                    <a:pt x="0" y="260152"/>
                  </a:cubicBezTo>
                  <a:cubicBezTo>
                    <a:pt x="0" y="403832"/>
                    <a:pt x="116470" y="520301"/>
                    <a:pt x="260149" y="520301"/>
                  </a:cubicBezTo>
                  <a:cubicBezTo>
                    <a:pt x="354813" y="520301"/>
                    <a:pt x="437651" y="469759"/>
                    <a:pt x="483171" y="394169"/>
                  </a:cubicBezTo>
                  <a:cubicBezTo>
                    <a:pt x="500845" y="364796"/>
                    <a:pt x="532823" y="347123"/>
                    <a:pt x="567090" y="347123"/>
                  </a:cubicBezTo>
                  <a:lnTo>
                    <a:pt x="571731" y="347123"/>
                  </a:lnTo>
                  <a:cubicBezTo>
                    <a:pt x="605998" y="347123"/>
                    <a:pt x="637976" y="364796"/>
                    <a:pt x="655650" y="394169"/>
                  </a:cubicBezTo>
                  <a:cubicBezTo>
                    <a:pt x="701170" y="469759"/>
                    <a:pt x="784008" y="520301"/>
                    <a:pt x="878672" y="520301"/>
                  </a:cubicBezTo>
                  <a:cubicBezTo>
                    <a:pt x="887254" y="520301"/>
                    <a:pt x="895773" y="519856"/>
                    <a:pt x="904165" y="519030"/>
                  </a:cubicBezTo>
                  <a:lnTo>
                    <a:pt x="904165" y="1274"/>
                  </a:lnTo>
                  <a:close/>
                </a:path>
              </a:pathLst>
            </a:custGeom>
            <a:grpFill/>
            <a:ln w="0" cap="flat">
              <a:noFill/>
              <a:prstDash val="solid"/>
              <a:miter/>
            </a:ln>
          </p:spPr>
          <p:txBody>
            <a:bodyPr rtlCol="0" anchor="ctr"/>
            <a:lstStyle/>
            <a:p>
              <a:endParaRPr lang="sv-SE"/>
            </a:p>
          </p:txBody>
        </p:sp>
        <p:sp>
          <p:nvSpPr>
            <p:cNvPr id="51" name="Frihandsfigur: Form 50">
              <a:extLst>
                <a:ext uri="{FF2B5EF4-FFF2-40B4-BE49-F238E27FC236}">
                  <a16:creationId xmlns:a16="http://schemas.microsoft.com/office/drawing/2014/main" id="{74419DB2-245E-A9F2-6E23-308A28CA5622}"/>
                </a:ext>
              </a:extLst>
            </p:cNvPr>
            <p:cNvSpPr/>
            <p:nvPr/>
          </p:nvSpPr>
          <p:spPr>
            <a:xfrm>
              <a:off x="11486169" y="4358455"/>
              <a:ext cx="295687" cy="540388"/>
            </a:xfrm>
            <a:custGeom>
              <a:avLst/>
              <a:gdLst>
                <a:gd name="connsiteX0" fmla="*/ 295688 w 295687"/>
                <a:gd name="connsiteY0" fmla="*/ 519027 h 540388"/>
                <a:gd name="connsiteX1" fmla="*/ 270194 w 295687"/>
                <a:gd name="connsiteY1" fmla="*/ 520298 h 540388"/>
                <a:gd name="connsiteX2" fmla="*/ 20090 w 295687"/>
                <a:gd name="connsiteY2" fmla="*/ 270194 h 540388"/>
                <a:gd name="connsiteX3" fmla="*/ 270194 w 295687"/>
                <a:gd name="connsiteY3" fmla="*/ 20090 h 540388"/>
                <a:gd name="connsiteX4" fmla="*/ 295688 w 295687"/>
                <a:gd name="connsiteY4" fmla="*/ 21361 h 540388"/>
                <a:gd name="connsiteX5" fmla="*/ 295688 w 295687"/>
                <a:gd name="connsiteY5" fmla="*/ 1208 h 540388"/>
                <a:gd name="connsiteX6" fmla="*/ 270194 w 295687"/>
                <a:gd name="connsiteY6" fmla="*/ 0 h 540388"/>
                <a:gd name="connsiteX7" fmla="*/ 0 w 295687"/>
                <a:gd name="connsiteY7" fmla="*/ 270194 h 540388"/>
                <a:gd name="connsiteX8" fmla="*/ 270194 w 295687"/>
                <a:gd name="connsiteY8" fmla="*/ 540388 h 540388"/>
                <a:gd name="connsiteX9" fmla="*/ 295688 w 295687"/>
                <a:gd name="connsiteY9" fmla="*/ 539180 h 540388"/>
                <a:gd name="connsiteX10" fmla="*/ 295688 w 295687"/>
                <a:gd name="connsiteY10" fmla="*/ 519090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687" h="540388">
                  <a:moveTo>
                    <a:pt x="295688" y="519027"/>
                  </a:moveTo>
                  <a:cubicBezTo>
                    <a:pt x="287296" y="519854"/>
                    <a:pt x="278777" y="520298"/>
                    <a:pt x="270194" y="520298"/>
                  </a:cubicBezTo>
                  <a:cubicBezTo>
                    <a:pt x="132300" y="520298"/>
                    <a:pt x="20090" y="408089"/>
                    <a:pt x="20090" y="270194"/>
                  </a:cubicBezTo>
                  <a:cubicBezTo>
                    <a:pt x="20090" y="132300"/>
                    <a:pt x="132300" y="20090"/>
                    <a:pt x="270194" y="20090"/>
                  </a:cubicBezTo>
                  <a:cubicBezTo>
                    <a:pt x="278777" y="20090"/>
                    <a:pt x="287296" y="20535"/>
                    <a:pt x="295688" y="21361"/>
                  </a:cubicBezTo>
                  <a:lnTo>
                    <a:pt x="295688" y="1208"/>
                  </a:lnTo>
                  <a:cubicBezTo>
                    <a:pt x="287296" y="445"/>
                    <a:pt x="278777" y="0"/>
                    <a:pt x="270194" y="0"/>
                  </a:cubicBezTo>
                  <a:cubicBezTo>
                    <a:pt x="121238" y="0"/>
                    <a:pt x="0" y="121238"/>
                    <a:pt x="0" y="270194"/>
                  </a:cubicBezTo>
                  <a:cubicBezTo>
                    <a:pt x="0" y="419151"/>
                    <a:pt x="121238" y="540388"/>
                    <a:pt x="270194" y="540388"/>
                  </a:cubicBezTo>
                  <a:cubicBezTo>
                    <a:pt x="278777" y="540388"/>
                    <a:pt x="287296" y="539943"/>
                    <a:pt x="295688" y="539180"/>
                  </a:cubicBezTo>
                  <a:lnTo>
                    <a:pt x="295688" y="519090"/>
                  </a:lnTo>
                  <a:close/>
                </a:path>
              </a:pathLst>
            </a:custGeom>
            <a:grpFill/>
            <a:ln w="0" cap="flat">
              <a:noFill/>
              <a:prstDash val="solid"/>
              <a:miter/>
            </a:ln>
          </p:spPr>
          <p:txBody>
            <a:bodyPr rtlCol="0" anchor="ctr"/>
            <a:lstStyle/>
            <a:p>
              <a:endParaRPr lang="sv-SE"/>
            </a:p>
          </p:txBody>
        </p:sp>
        <p:sp>
          <p:nvSpPr>
            <p:cNvPr id="52" name="Frihandsfigur: Form 51">
              <a:extLst>
                <a:ext uri="{FF2B5EF4-FFF2-40B4-BE49-F238E27FC236}">
                  <a16:creationId xmlns:a16="http://schemas.microsoft.com/office/drawing/2014/main" id="{B43AE8C7-8060-B839-068B-53549A7348BF}"/>
                </a:ext>
              </a:extLst>
            </p:cNvPr>
            <p:cNvSpPr/>
            <p:nvPr/>
          </p:nvSpPr>
          <p:spPr>
            <a:xfrm>
              <a:off x="11483626" y="3740696"/>
              <a:ext cx="298230" cy="540388"/>
            </a:xfrm>
            <a:custGeom>
              <a:avLst/>
              <a:gdLst>
                <a:gd name="connsiteX0" fmla="*/ 298231 w 298230"/>
                <a:gd name="connsiteY0" fmla="*/ 518582 h 540388"/>
                <a:gd name="connsiteX1" fmla="*/ 270194 w 298230"/>
                <a:gd name="connsiteY1" fmla="*/ 520235 h 540388"/>
                <a:gd name="connsiteX2" fmla="*/ 20090 w 298230"/>
                <a:gd name="connsiteY2" fmla="*/ 270131 h 540388"/>
                <a:gd name="connsiteX3" fmla="*/ 268986 w 298230"/>
                <a:gd name="connsiteY3" fmla="*/ 20026 h 540388"/>
                <a:gd name="connsiteX4" fmla="*/ 270194 w 298230"/>
                <a:gd name="connsiteY4" fmla="*/ 20026 h 540388"/>
                <a:gd name="connsiteX5" fmla="*/ 298167 w 298230"/>
                <a:gd name="connsiteY5" fmla="*/ 21679 h 540388"/>
                <a:gd name="connsiteX6" fmla="*/ 298167 w 298230"/>
                <a:gd name="connsiteY6" fmla="*/ 1526 h 540388"/>
                <a:gd name="connsiteX7" fmla="*/ 270194 w 298230"/>
                <a:gd name="connsiteY7" fmla="*/ 0 h 540388"/>
                <a:gd name="connsiteX8" fmla="*/ 268859 w 298230"/>
                <a:gd name="connsiteY8" fmla="*/ 0 h 540388"/>
                <a:gd name="connsiteX9" fmla="*/ 0 w 298230"/>
                <a:gd name="connsiteY9" fmla="*/ 270194 h 540388"/>
                <a:gd name="connsiteX10" fmla="*/ 270194 w 298230"/>
                <a:gd name="connsiteY10" fmla="*/ 540388 h 540388"/>
                <a:gd name="connsiteX11" fmla="*/ 298231 w 298230"/>
                <a:gd name="connsiteY11" fmla="*/ 538863 h 540388"/>
                <a:gd name="connsiteX12" fmla="*/ 298231 w 298230"/>
                <a:gd name="connsiteY12" fmla="*/ 518709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230" h="540388">
                  <a:moveTo>
                    <a:pt x="298231" y="518582"/>
                  </a:moveTo>
                  <a:cubicBezTo>
                    <a:pt x="289013" y="519599"/>
                    <a:pt x="279667" y="520235"/>
                    <a:pt x="270194" y="520235"/>
                  </a:cubicBezTo>
                  <a:cubicBezTo>
                    <a:pt x="132300" y="520235"/>
                    <a:pt x="20090" y="408025"/>
                    <a:pt x="20090" y="270131"/>
                  </a:cubicBezTo>
                  <a:cubicBezTo>
                    <a:pt x="20090" y="132872"/>
                    <a:pt x="131728" y="20662"/>
                    <a:pt x="268986" y="20026"/>
                  </a:cubicBezTo>
                  <a:cubicBezTo>
                    <a:pt x="269368" y="20026"/>
                    <a:pt x="269813" y="20026"/>
                    <a:pt x="270194" y="20026"/>
                  </a:cubicBezTo>
                  <a:cubicBezTo>
                    <a:pt x="279667" y="20026"/>
                    <a:pt x="288949" y="20662"/>
                    <a:pt x="298167" y="21679"/>
                  </a:cubicBezTo>
                  <a:lnTo>
                    <a:pt x="298167" y="1526"/>
                  </a:lnTo>
                  <a:cubicBezTo>
                    <a:pt x="288949" y="572"/>
                    <a:pt x="279603" y="0"/>
                    <a:pt x="270194" y="0"/>
                  </a:cubicBezTo>
                  <a:cubicBezTo>
                    <a:pt x="269749" y="0"/>
                    <a:pt x="269304" y="0"/>
                    <a:pt x="268859" y="0"/>
                  </a:cubicBezTo>
                  <a:cubicBezTo>
                    <a:pt x="120602" y="699"/>
                    <a:pt x="0" y="121937"/>
                    <a:pt x="0" y="270194"/>
                  </a:cubicBezTo>
                  <a:cubicBezTo>
                    <a:pt x="0" y="419151"/>
                    <a:pt x="121238" y="540388"/>
                    <a:pt x="270194" y="540388"/>
                  </a:cubicBezTo>
                  <a:cubicBezTo>
                    <a:pt x="279667" y="540388"/>
                    <a:pt x="288949" y="539753"/>
                    <a:pt x="298231" y="538863"/>
                  </a:cubicBezTo>
                  <a:lnTo>
                    <a:pt x="298231" y="518709"/>
                  </a:lnTo>
                  <a:close/>
                </a:path>
              </a:pathLst>
            </a:custGeom>
            <a:grpFill/>
            <a:ln w="0" cap="flat">
              <a:noFill/>
              <a:prstDash val="solid"/>
              <a:miter/>
            </a:ln>
          </p:spPr>
          <p:txBody>
            <a:bodyPr rtlCol="0" anchor="ctr"/>
            <a:lstStyle/>
            <a:p>
              <a:endParaRPr lang="sv-SE"/>
            </a:p>
          </p:txBody>
        </p:sp>
        <p:sp>
          <p:nvSpPr>
            <p:cNvPr id="53" name="Frihandsfigur: Form 52">
              <a:extLst>
                <a:ext uri="{FF2B5EF4-FFF2-40B4-BE49-F238E27FC236}">
                  <a16:creationId xmlns:a16="http://schemas.microsoft.com/office/drawing/2014/main" id="{0B441CDF-E91F-B291-F73A-4EE49614900D}"/>
                </a:ext>
              </a:extLst>
            </p:cNvPr>
            <p:cNvSpPr/>
            <p:nvPr/>
          </p:nvSpPr>
          <p:spPr>
            <a:xfrm>
              <a:off x="11662781" y="3581313"/>
              <a:ext cx="119076" cy="64147"/>
            </a:xfrm>
            <a:custGeom>
              <a:avLst/>
              <a:gdLst>
                <a:gd name="connsiteX0" fmla="*/ 119076 w 119076"/>
                <a:gd name="connsiteY0" fmla="*/ 0 h 64147"/>
                <a:gd name="connsiteX1" fmla="*/ 0 w 119076"/>
                <a:gd name="connsiteY1" fmla="*/ 55310 h 64147"/>
                <a:gd name="connsiteX2" fmla="*/ 28609 w 119076"/>
                <a:gd name="connsiteY2" fmla="*/ 64147 h 64147"/>
                <a:gd name="connsiteX3" fmla="*/ 119076 w 119076"/>
                <a:gd name="connsiteY3" fmla="*/ 22124 h 64147"/>
                <a:gd name="connsiteX4" fmla="*/ 119076 w 119076"/>
                <a:gd name="connsiteY4" fmla="*/ 0 h 64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6" h="64147">
                  <a:moveTo>
                    <a:pt x="119076" y="0"/>
                  </a:moveTo>
                  <a:lnTo>
                    <a:pt x="0" y="55310"/>
                  </a:lnTo>
                  <a:cubicBezTo>
                    <a:pt x="9282" y="58807"/>
                    <a:pt x="18882" y="61732"/>
                    <a:pt x="28609" y="64147"/>
                  </a:cubicBezTo>
                  <a:lnTo>
                    <a:pt x="119076" y="22124"/>
                  </a:lnTo>
                  <a:lnTo>
                    <a:pt x="119076" y="0"/>
                  </a:lnTo>
                  <a:close/>
                </a:path>
              </a:pathLst>
            </a:custGeom>
            <a:grpFill/>
            <a:ln w="0" cap="flat">
              <a:noFill/>
              <a:prstDash val="solid"/>
              <a:miter/>
            </a:ln>
          </p:spPr>
          <p:txBody>
            <a:bodyPr rtlCol="0" anchor="ctr"/>
            <a:lstStyle/>
            <a:p>
              <a:endParaRPr lang="sv-SE"/>
            </a:p>
          </p:txBody>
        </p:sp>
        <p:sp>
          <p:nvSpPr>
            <p:cNvPr id="54" name="Frihandsfigur: Form 53">
              <a:extLst>
                <a:ext uri="{FF2B5EF4-FFF2-40B4-BE49-F238E27FC236}">
                  <a16:creationId xmlns:a16="http://schemas.microsoft.com/office/drawing/2014/main" id="{804A1945-CD2A-300D-97B8-D0C109F4F92C}"/>
                </a:ext>
              </a:extLst>
            </p:cNvPr>
            <p:cNvSpPr/>
            <p:nvPr/>
          </p:nvSpPr>
          <p:spPr>
            <a:xfrm>
              <a:off x="11578925" y="3491291"/>
              <a:ext cx="202931" cy="108459"/>
            </a:xfrm>
            <a:custGeom>
              <a:avLst/>
              <a:gdLst>
                <a:gd name="connsiteX0" fmla="*/ 202932 w 202931"/>
                <a:gd name="connsiteY0" fmla="*/ 0 h 108459"/>
                <a:gd name="connsiteX1" fmla="*/ 0 w 202931"/>
                <a:gd name="connsiteY1" fmla="*/ 94282 h 108459"/>
                <a:gd name="connsiteX2" fmla="*/ 17102 w 202931"/>
                <a:gd name="connsiteY2" fmla="*/ 108459 h 108459"/>
                <a:gd name="connsiteX3" fmla="*/ 202932 w 202931"/>
                <a:gd name="connsiteY3" fmla="*/ 22124 h 108459"/>
                <a:gd name="connsiteX4" fmla="*/ 202932 w 202931"/>
                <a:gd name="connsiteY4" fmla="*/ 0 h 10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931" h="108459">
                  <a:moveTo>
                    <a:pt x="202932" y="0"/>
                  </a:moveTo>
                  <a:lnTo>
                    <a:pt x="0" y="94282"/>
                  </a:lnTo>
                  <a:cubicBezTo>
                    <a:pt x="5468" y="99241"/>
                    <a:pt x="11189" y="103945"/>
                    <a:pt x="17102" y="108459"/>
                  </a:cubicBezTo>
                  <a:lnTo>
                    <a:pt x="202932" y="22124"/>
                  </a:lnTo>
                  <a:lnTo>
                    <a:pt x="202932" y="0"/>
                  </a:lnTo>
                  <a:close/>
                </a:path>
              </a:pathLst>
            </a:custGeom>
            <a:grpFill/>
            <a:ln w="0" cap="flat">
              <a:noFill/>
              <a:prstDash val="solid"/>
              <a:miter/>
            </a:ln>
          </p:spPr>
          <p:txBody>
            <a:bodyPr rtlCol="0" anchor="ctr"/>
            <a:lstStyle/>
            <a:p>
              <a:endParaRPr lang="sv-SE"/>
            </a:p>
          </p:txBody>
        </p:sp>
        <p:sp>
          <p:nvSpPr>
            <p:cNvPr id="55" name="Frihandsfigur: Form 54">
              <a:extLst>
                <a:ext uri="{FF2B5EF4-FFF2-40B4-BE49-F238E27FC236}">
                  <a16:creationId xmlns:a16="http://schemas.microsoft.com/office/drawing/2014/main" id="{D378D1FF-B58A-ACE5-2F2A-A5CF33D50E0E}"/>
                </a:ext>
              </a:extLst>
            </p:cNvPr>
            <p:cNvSpPr/>
            <p:nvPr/>
          </p:nvSpPr>
          <p:spPr>
            <a:xfrm>
              <a:off x="11526730" y="3401205"/>
              <a:ext cx="255126" cy="135732"/>
            </a:xfrm>
            <a:custGeom>
              <a:avLst/>
              <a:gdLst>
                <a:gd name="connsiteX0" fmla="*/ 255127 w 255126"/>
                <a:gd name="connsiteY0" fmla="*/ 0 h 135732"/>
                <a:gd name="connsiteX1" fmla="*/ 0 w 255126"/>
                <a:gd name="connsiteY1" fmla="*/ 118504 h 135732"/>
                <a:gd name="connsiteX2" fmla="*/ 10490 w 255126"/>
                <a:gd name="connsiteY2" fmla="*/ 135733 h 135732"/>
                <a:gd name="connsiteX3" fmla="*/ 255127 w 255126"/>
                <a:gd name="connsiteY3" fmla="*/ 22124 h 135732"/>
                <a:gd name="connsiteX4" fmla="*/ 255127 w 255126"/>
                <a:gd name="connsiteY4" fmla="*/ 0 h 135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26" h="135732">
                  <a:moveTo>
                    <a:pt x="255127" y="0"/>
                  </a:moveTo>
                  <a:lnTo>
                    <a:pt x="0" y="118504"/>
                  </a:lnTo>
                  <a:cubicBezTo>
                    <a:pt x="3306" y="124417"/>
                    <a:pt x="6803" y="130138"/>
                    <a:pt x="10490" y="135733"/>
                  </a:cubicBezTo>
                  <a:lnTo>
                    <a:pt x="255127" y="22124"/>
                  </a:lnTo>
                  <a:lnTo>
                    <a:pt x="255127" y="0"/>
                  </a:lnTo>
                  <a:close/>
                </a:path>
              </a:pathLst>
            </a:custGeom>
            <a:grpFill/>
            <a:ln w="0" cap="flat">
              <a:noFill/>
              <a:prstDash val="solid"/>
              <a:miter/>
            </a:ln>
          </p:spPr>
          <p:txBody>
            <a:bodyPr rtlCol="0" anchor="ctr"/>
            <a:lstStyle/>
            <a:p>
              <a:endParaRPr lang="sv-SE"/>
            </a:p>
          </p:txBody>
        </p:sp>
        <p:sp>
          <p:nvSpPr>
            <p:cNvPr id="56" name="Frihandsfigur: Form 55">
              <a:extLst>
                <a:ext uri="{FF2B5EF4-FFF2-40B4-BE49-F238E27FC236}">
                  <a16:creationId xmlns:a16="http://schemas.microsoft.com/office/drawing/2014/main" id="{285DBD66-EA5F-17E0-71CF-C6ED9C4C56FF}"/>
                </a:ext>
              </a:extLst>
            </p:cNvPr>
            <p:cNvSpPr/>
            <p:nvPr/>
          </p:nvSpPr>
          <p:spPr>
            <a:xfrm>
              <a:off x="11498503" y="3311182"/>
              <a:ext cx="283354" cy="151563"/>
            </a:xfrm>
            <a:custGeom>
              <a:avLst/>
              <a:gdLst>
                <a:gd name="connsiteX0" fmla="*/ 283354 w 283354"/>
                <a:gd name="connsiteY0" fmla="*/ 0 h 151563"/>
                <a:gd name="connsiteX1" fmla="*/ 0 w 283354"/>
                <a:gd name="connsiteY1" fmla="*/ 131601 h 151563"/>
                <a:gd name="connsiteX2" fmla="*/ 4704 w 283354"/>
                <a:gd name="connsiteY2" fmla="*/ 151563 h 151563"/>
                <a:gd name="connsiteX3" fmla="*/ 283354 w 283354"/>
                <a:gd name="connsiteY3" fmla="*/ 22124 h 151563"/>
                <a:gd name="connsiteX4" fmla="*/ 283354 w 283354"/>
                <a:gd name="connsiteY4" fmla="*/ 0 h 151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354" h="151563">
                  <a:moveTo>
                    <a:pt x="283354" y="0"/>
                  </a:moveTo>
                  <a:lnTo>
                    <a:pt x="0" y="131601"/>
                  </a:lnTo>
                  <a:cubicBezTo>
                    <a:pt x="1335" y="138339"/>
                    <a:pt x="2924" y="145015"/>
                    <a:pt x="4704" y="151563"/>
                  </a:cubicBezTo>
                  <a:lnTo>
                    <a:pt x="283354" y="22124"/>
                  </a:lnTo>
                  <a:lnTo>
                    <a:pt x="283354" y="0"/>
                  </a:lnTo>
                  <a:close/>
                </a:path>
              </a:pathLst>
            </a:custGeom>
            <a:grpFill/>
            <a:ln w="0" cap="flat">
              <a:noFill/>
              <a:prstDash val="solid"/>
              <a:miter/>
            </a:ln>
          </p:spPr>
          <p:txBody>
            <a:bodyPr rtlCol="0" anchor="ctr"/>
            <a:lstStyle/>
            <a:p>
              <a:endParaRPr lang="sv-SE"/>
            </a:p>
          </p:txBody>
        </p:sp>
        <p:sp>
          <p:nvSpPr>
            <p:cNvPr id="57" name="Frihandsfigur: Form 56">
              <a:extLst>
                <a:ext uri="{FF2B5EF4-FFF2-40B4-BE49-F238E27FC236}">
                  <a16:creationId xmlns:a16="http://schemas.microsoft.com/office/drawing/2014/main" id="{BE7BE434-8141-471E-E19A-7AEC315770C0}"/>
                </a:ext>
              </a:extLst>
            </p:cNvPr>
            <p:cNvSpPr/>
            <p:nvPr/>
          </p:nvSpPr>
          <p:spPr>
            <a:xfrm>
              <a:off x="11494243" y="3221097"/>
              <a:ext cx="287613" cy="155758"/>
            </a:xfrm>
            <a:custGeom>
              <a:avLst/>
              <a:gdLst>
                <a:gd name="connsiteX0" fmla="*/ 287614 w 287613"/>
                <a:gd name="connsiteY0" fmla="*/ 0 h 155758"/>
                <a:gd name="connsiteX1" fmla="*/ 2416 w 287613"/>
                <a:gd name="connsiteY1" fmla="*/ 132490 h 155758"/>
                <a:gd name="connsiteX2" fmla="*/ 0 w 287613"/>
                <a:gd name="connsiteY2" fmla="*/ 155759 h 155758"/>
                <a:gd name="connsiteX3" fmla="*/ 287614 w 287613"/>
                <a:gd name="connsiteY3" fmla="*/ 22124 h 155758"/>
                <a:gd name="connsiteX4" fmla="*/ 287614 w 287613"/>
                <a:gd name="connsiteY4" fmla="*/ 0 h 15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13" h="155758">
                  <a:moveTo>
                    <a:pt x="287614" y="0"/>
                  </a:moveTo>
                  <a:lnTo>
                    <a:pt x="2416" y="132490"/>
                  </a:lnTo>
                  <a:cubicBezTo>
                    <a:pt x="1271" y="140119"/>
                    <a:pt x="445" y="147876"/>
                    <a:pt x="0" y="155759"/>
                  </a:cubicBezTo>
                  <a:lnTo>
                    <a:pt x="287614" y="22124"/>
                  </a:lnTo>
                  <a:lnTo>
                    <a:pt x="287614" y="0"/>
                  </a:lnTo>
                  <a:close/>
                </a:path>
              </a:pathLst>
            </a:custGeom>
            <a:grpFill/>
            <a:ln w="0" cap="flat">
              <a:noFill/>
              <a:prstDash val="solid"/>
              <a:miter/>
            </a:ln>
          </p:spPr>
          <p:txBody>
            <a:bodyPr rtlCol="0" anchor="ctr"/>
            <a:lstStyle/>
            <a:p>
              <a:endParaRPr lang="sv-SE"/>
            </a:p>
          </p:txBody>
        </p:sp>
        <p:sp>
          <p:nvSpPr>
            <p:cNvPr id="58" name="Frihandsfigur: Form 57">
              <a:extLst>
                <a:ext uri="{FF2B5EF4-FFF2-40B4-BE49-F238E27FC236}">
                  <a16:creationId xmlns:a16="http://schemas.microsoft.com/office/drawing/2014/main" id="{887E6D8A-0AA2-FFDA-4633-DDFC6814FA33}"/>
                </a:ext>
              </a:extLst>
            </p:cNvPr>
            <p:cNvSpPr/>
            <p:nvPr/>
          </p:nvSpPr>
          <p:spPr>
            <a:xfrm>
              <a:off x="11522725" y="3133808"/>
              <a:ext cx="259131" cy="139738"/>
            </a:xfrm>
            <a:custGeom>
              <a:avLst/>
              <a:gdLst>
                <a:gd name="connsiteX0" fmla="*/ 259132 w 259131"/>
                <a:gd name="connsiteY0" fmla="*/ 699 h 139738"/>
                <a:gd name="connsiteX1" fmla="*/ 253283 w 259131"/>
                <a:gd name="connsiteY1" fmla="*/ 0 h 139738"/>
                <a:gd name="connsiteX2" fmla="*/ 18818 w 259131"/>
                <a:gd name="connsiteY2" fmla="*/ 108904 h 139738"/>
                <a:gd name="connsiteX3" fmla="*/ 0 w 259131"/>
                <a:gd name="connsiteY3" fmla="*/ 139738 h 139738"/>
                <a:gd name="connsiteX4" fmla="*/ 259132 w 259131"/>
                <a:gd name="connsiteY4" fmla="*/ 19390 h 139738"/>
                <a:gd name="connsiteX5" fmla="*/ 259132 w 259131"/>
                <a:gd name="connsiteY5" fmla="*/ 699 h 139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131" h="139738">
                  <a:moveTo>
                    <a:pt x="259132" y="699"/>
                  </a:moveTo>
                  <a:cubicBezTo>
                    <a:pt x="257161" y="509"/>
                    <a:pt x="255254" y="191"/>
                    <a:pt x="253283" y="0"/>
                  </a:cubicBezTo>
                  <a:lnTo>
                    <a:pt x="18818" y="108904"/>
                  </a:lnTo>
                  <a:cubicBezTo>
                    <a:pt x="11889" y="118695"/>
                    <a:pt x="5595" y="128994"/>
                    <a:pt x="0" y="139738"/>
                  </a:cubicBezTo>
                  <a:lnTo>
                    <a:pt x="259132" y="19390"/>
                  </a:lnTo>
                  <a:lnTo>
                    <a:pt x="259132" y="699"/>
                  </a:lnTo>
                  <a:close/>
                </a:path>
              </a:pathLst>
            </a:custGeom>
            <a:grpFill/>
            <a:ln w="0" cap="flat">
              <a:noFill/>
              <a:prstDash val="solid"/>
              <a:miter/>
            </a:ln>
          </p:spPr>
          <p:txBody>
            <a:bodyPr rtlCol="0" anchor="ctr"/>
            <a:lstStyle/>
            <a:p>
              <a:endParaRPr lang="sv-SE"/>
            </a:p>
          </p:txBody>
        </p:sp>
        <p:sp>
          <p:nvSpPr>
            <p:cNvPr id="59" name="Frihandsfigur: Form 58">
              <a:extLst>
                <a:ext uri="{FF2B5EF4-FFF2-40B4-BE49-F238E27FC236}">
                  <a16:creationId xmlns:a16="http://schemas.microsoft.com/office/drawing/2014/main" id="{349D5532-C444-E4C1-1ADC-F4139DFBC20F}"/>
                </a:ext>
              </a:extLst>
            </p:cNvPr>
            <p:cNvSpPr/>
            <p:nvPr/>
          </p:nvSpPr>
          <p:spPr>
            <a:xfrm>
              <a:off x="10261522" y="1277797"/>
              <a:ext cx="1520334" cy="1757470"/>
            </a:xfrm>
            <a:custGeom>
              <a:avLst/>
              <a:gdLst>
                <a:gd name="connsiteX0" fmla="*/ 1520335 w 1520334"/>
                <a:gd name="connsiteY0" fmla="*/ 1081 h 1757470"/>
                <a:gd name="connsiteX1" fmla="*/ 1496876 w 1520334"/>
                <a:gd name="connsiteY1" fmla="*/ 0 h 1757470"/>
                <a:gd name="connsiteX2" fmla="*/ 1236727 w 1520334"/>
                <a:gd name="connsiteY2" fmla="*/ 260149 h 1757470"/>
                <a:gd name="connsiteX3" fmla="*/ 1361016 w 1520334"/>
                <a:gd name="connsiteY3" fmla="*/ 482026 h 1757470"/>
                <a:gd name="connsiteX4" fmla="*/ 1409969 w 1520334"/>
                <a:gd name="connsiteY4" fmla="*/ 569315 h 1757470"/>
                <a:gd name="connsiteX5" fmla="*/ 1409969 w 1520334"/>
                <a:gd name="connsiteY5" fmla="*/ 569569 h 1757470"/>
                <a:gd name="connsiteX6" fmla="*/ 1361016 w 1520334"/>
                <a:gd name="connsiteY6" fmla="*/ 656858 h 1757470"/>
                <a:gd name="connsiteX7" fmla="*/ 1236727 w 1520334"/>
                <a:gd name="connsiteY7" fmla="*/ 878735 h 1757470"/>
                <a:gd name="connsiteX8" fmla="*/ 1361016 w 1520334"/>
                <a:gd name="connsiteY8" fmla="*/ 1100612 h 1757470"/>
                <a:gd name="connsiteX9" fmla="*/ 1409969 w 1520334"/>
                <a:gd name="connsiteY9" fmla="*/ 1187901 h 1757470"/>
                <a:gd name="connsiteX10" fmla="*/ 1409969 w 1520334"/>
                <a:gd name="connsiteY10" fmla="*/ 1188155 h 1757470"/>
                <a:gd name="connsiteX11" fmla="*/ 1361016 w 1520334"/>
                <a:gd name="connsiteY11" fmla="*/ 1275444 h 1757470"/>
                <a:gd name="connsiteX12" fmla="*/ 1271820 w 1520334"/>
                <a:gd name="connsiteY12" fmla="*/ 1366865 h 1757470"/>
                <a:gd name="connsiteX13" fmla="*/ 1188219 w 1520334"/>
                <a:gd name="connsiteY13" fmla="*/ 1410350 h 1757470"/>
                <a:gd name="connsiteX14" fmla="*/ 1187965 w 1520334"/>
                <a:gd name="connsiteY14" fmla="*/ 1410350 h 1757470"/>
                <a:gd name="connsiteX15" fmla="*/ 1100676 w 1520334"/>
                <a:gd name="connsiteY15" fmla="*/ 1361397 h 1757470"/>
                <a:gd name="connsiteX16" fmla="*/ 878799 w 1520334"/>
                <a:gd name="connsiteY16" fmla="*/ 1237108 h 1757470"/>
                <a:gd name="connsiteX17" fmla="*/ 656922 w 1520334"/>
                <a:gd name="connsiteY17" fmla="*/ 1361397 h 1757470"/>
                <a:gd name="connsiteX18" fmla="*/ 569633 w 1520334"/>
                <a:gd name="connsiteY18" fmla="*/ 1410350 h 1757470"/>
                <a:gd name="connsiteX19" fmla="*/ 569379 w 1520334"/>
                <a:gd name="connsiteY19" fmla="*/ 1410350 h 1757470"/>
                <a:gd name="connsiteX20" fmla="*/ 481645 w 1520334"/>
                <a:gd name="connsiteY20" fmla="*/ 1360761 h 1757470"/>
                <a:gd name="connsiteX21" fmla="*/ 258878 w 1520334"/>
                <a:gd name="connsiteY21" fmla="*/ 1237172 h 1757470"/>
                <a:gd name="connsiteX22" fmla="*/ 0 w 1520334"/>
                <a:gd name="connsiteY22" fmla="*/ 1497321 h 1757470"/>
                <a:gd name="connsiteX23" fmla="*/ 260149 w 1520334"/>
                <a:gd name="connsiteY23" fmla="*/ 1757470 h 1757470"/>
                <a:gd name="connsiteX24" fmla="*/ 482026 w 1520334"/>
                <a:gd name="connsiteY24" fmla="*/ 1633181 h 1757470"/>
                <a:gd name="connsiteX25" fmla="*/ 569315 w 1520334"/>
                <a:gd name="connsiteY25" fmla="*/ 1584228 h 1757470"/>
                <a:gd name="connsiteX26" fmla="*/ 569569 w 1520334"/>
                <a:gd name="connsiteY26" fmla="*/ 1584228 h 1757470"/>
                <a:gd name="connsiteX27" fmla="*/ 656858 w 1520334"/>
                <a:gd name="connsiteY27" fmla="*/ 1633181 h 1757470"/>
                <a:gd name="connsiteX28" fmla="*/ 878735 w 1520334"/>
                <a:gd name="connsiteY28" fmla="*/ 1757470 h 1757470"/>
                <a:gd name="connsiteX29" fmla="*/ 1100612 w 1520334"/>
                <a:gd name="connsiteY29" fmla="*/ 1633181 h 1757470"/>
                <a:gd name="connsiteX30" fmla="*/ 1187901 w 1520334"/>
                <a:gd name="connsiteY30" fmla="*/ 1584228 h 1757470"/>
                <a:gd name="connsiteX31" fmla="*/ 1188155 w 1520334"/>
                <a:gd name="connsiteY31" fmla="*/ 1584228 h 1757470"/>
                <a:gd name="connsiteX32" fmla="*/ 1271311 w 1520334"/>
                <a:gd name="connsiteY32" fmla="*/ 1626950 h 1757470"/>
                <a:gd name="connsiteX33" fmla="*/ 1488484 w 1520334"/>
                <a:gd name="connsiteY33" fmla="*/ 1757279 h 1757470"/>
                <a:gd name="connsiteX34" fmla="*/ 1488611 w 1520334"/>
                <a:gd name="connsiteY34" fmla="*/ 1757279 h 1757470"/>
                <a:gd name="connsiteX35" fmla="*/ 1496876 w 1520334"/>
                <a:gd name="connsiteY35" fmla="*/ 1757406 h 1757470"/>
                <a:gd name="connsiteX36" fmla="*/ 1497130 w 1520334"/>
                <a:gd name="connsiteY36" fmla="*/ 1757406 h 1757470"/>
                <a:gd name="connsiteX37" fmla="*/ 1497321 w 1520334"/>
                <a:gd name="connsiteY37" fmla="*/ 1757406 h 1757470"/>
                <a:gd name="connsiteX38" fmla="*/ 1520335 w 1520334"/>
                <a:gd name="connsiteY38" fmla="*/ 1756326 h 1757470"/>
                <a:gd name="connsiteX39" fmla="*/ 1520335 w 1520334"/>
                <a:gd name="connsiteY39" fmla="*/ 1081 h 175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20334" h="1757470">
                  <a:moveTo>
                    <a:pt x="1520335" y="1081"/>
                  </a:moveTo>
                  <a:cubicBezTo>
                    <a:pt x="1512579" y="381"/>
                    <a:pt x="1504823" y="0"/>
                    <a:pt x="1496876" y="0"/>
                  </a:cubicBezTo>
                  <a:cubicBezTo>
                    <a:pt x="1353196" y="0"/>
                    <a:pt x="1236727" y="116470"/>
                    <a:pt x="1236727" y="260149"/>
                  </a:cubicBezTo>
                  <a:cubicBezTo>
                    <a:pt x="1236727" y="354050"/>
                    <a:pt x="1286442" y="436252"/>
                    <a:pt x="1361016" y="482026"/>
                  </a:cubicBezTo>
                  <a:cubicBezTo>
                    <a:pt x="1391405" y="500654"/>
                    <a:pt x="1409969" y="533713"/>
                    <a:pt x="1409969" y="569315"/>
                  </a:cubicBezTo>
                  <a:lnTo>
                    <a:pt x="1409969" y="569569"/>
                  </a:lnTo>
                  <a:cubicBezTo>
                    <a:pt x="1409969" y="605171"/>
                    <a:pt x="1391405" y="638230"/>
                    <a:pt x="1361016" y="656858"/>
                  </a:cubicBezTo>
                  <a:cubicBezTo>
                    <a:pt x="1286506" y="702632"/>
                    <a:pt x="1236727" y="784835"/>
                    <a:pt x="1236727" y="878735"/>
                  </a:cubicBezTo>
                  <a:cubicBezTo>
                    <a:pt x="1236727" y="972635"/>
                    <a:pt x="1286442" y="1054838"/>
                    <a:pt x="1361016" y="1100612"/>
                  </a:cubicBezTo>
                  <a:cubicBezTo>
                    <a:pt x="1391405" y="1119240"/>
                    <a:pt x="1409969" y="1152299"/>
                    <a:pt x="1409969" y="1187901"/>
                  </a:cubicBezTo>
                  <a:lnTo>
                    <a:pt x="1409969" y="1188155"/>
                  </a:lnTo>
                  <a:cubicBezTo>
                    <a:pt x="1409969" y="1223757"/>
                    <a:pt x="1391405" y="1256816"/>
                    <a:pt x="1361016" y="1275444"/>
                  </a:cubicBezTo>
                  <a:cubicBezTo>
                    <a:pt x="1324206" y="1298013"/>
                    <a:pt x="1293499" y="1329482"/>
                    <a:pt x="1271820" y="1366865"/>
                  </a:cubicBezTo>
                  <a:cubicBezTo>
                    <a:pt x="1252493" y="1393821"/>
                    <a:pt x="1221659" y="1410350"/>
                    <a:pt x="1188219" y="1410350"/>
                  </a:cubicBezTo>
                  <a:lnTo>
                    <a:pt x="1187965" y="1410350"/>
                  </a:lnTo>
                  <a:cubicBezTo>
                    <a:pt x="1152362" y="1410350"/>
                    <a:pt x="1119303" y="1391786"/>
                    <a:pt x="1100676" y="1361397"/>
                  </a:cubicBezTo>
                  <a:cubicBezTo>
                    <a:pt x="1054902" y="1286887"/>
                    <a:pt x="972699" y="1237108"/>
                    <a:pt x="878799" y="1237108"/>
                  </a:cubicBezTo>
                  <a:cubicBezTo>
                    <a:pt x="784898" y="1237108"/>
                    <a:pt x="702696" y="1286824"/>
                    <a:pt x="656922" y="1361397"/>
                  </a:cubicBezTo>
                  <a:cubicBezTo>
                    <a:pt x="638294" y="1391786"/>
                    <a:pt x="605235" y="1410350"/>
                    <a:pt x="569633" y="1410350"/>
                  </a:cubicBezTo>
                  <a:lnTo>
                    <a:pt x="569379" y="1410350"/>
                  </a:lnTo>
                  <a:cubicBezTo>
                    <a:pt x="533459" y="1410350"/>
                    <a:pt x="500527" y="1391341"/>
                    <a:pt x="481645" y="1360761"/>
                  </a:cubicBezTo>
                  <a:cubicBezTo>
                    <a:pt x="435617" y="1286251"/>
                    <a:pt x="353033" y="1236726"/>
                    <a:pt x="258878" y="1237172"/>
                  </a:cubicBezTo>
                  <a:cubicBezTo>
                    <a:pt x="115516" y="1237871"/>
                    <a:pt x="0" y="1353959"/>
                    <a:pt x="0" y="1497321"/>
                  </a:cubicBezTo>
                  <a:cubicBezTo>
                    <a:pt x="0" y="1641000"/>
                    <a:pt x="116470" y="1757470"/>
                    <a:pt x="260149" y="1757470"/>
                  </a:cubicBezTo>
                  <a:cubicBezTo>
                    <a:pt x="354050" y="1757470"/>
                    <a:pt x="436253" y="1707754"/>
                    <a:pt x="482026" y="1633181"/>
                  </a:cubicBezTo>
                  <a:cubicBezTo>
                    <a:pt x="500654" y="1602792"/>
                    <a:pt x="533713" y="1584228"/>
                    <a:pt x="569315" y="1584228"/>
                  </a:cubicBezTo>
                  <a:lnTo>
                    <a:pt x="569569" y="1584228"/>
                  </a:lnTo>
                  <a:cubicBezTo>
                    <a:pt x="605171" y="1584228"/>
                    <a:pt x="638231" y="1602792"/>
                    <a:pt x="656858" y="1633181"/>
                  </a:cubicBezTo>
                  <a:cubicBezTo>
                    <a:pt x="702632" y="1707691"/>
                    <a:pt x="784835" y="1757470"/>
                    <a:pt x="878735" y="1757470"/>
                  </a:cubicBezTo>
                  <a:cubicBezTo>
                    <a:pt x="972636" y="1757470"/>
                    <a:pt x="1054838" y="1707754"/>
                    <a:pt x="1100612" y="1633181"/>
                  </a:cubicBezTo>
                  <a:cubicBezTo>
                    <a:pt x="1119240" y="1602792"/>
                    <a:pt x="1152299" y="1584228"/>
                    <a:pt x="1187901" y="1584228"/>
                  </a:cubicBezTo>
                  <a:lnTo>
                    <a:pt x="1188155" y="1584228"/>
                  </a:lnTo>
                  <a:cubicBezTo>
                    <a:pt x="1221278" y="1584228"/>
                    <a:pt x="1252112" y="1600312"/>
                    <a:pt x="1271311" y="1626950"/>
                  </a:cubicBezTo>
                  <a:cubicBezTo>
                    <a:pt x="1314924" y="1702668"/>
                    <a:pt x="1395537" y="1754355"/>
                    <a:pt x="1488484" y="1757279"/>
                  </a:cubicBezTo>
                  <a:cubicBezTo>
                    <a:pt x="1488484" y="1757279"/>
                    <a:pt x="1488547" y="1757279"/>
                    <a:pt x="1488611" y="1757279"/>
                  </a:cubicBezTo>
                  <a:cubicBezTo>
                    <a:pt x="1491345" y="1757343"/>
                    <a:pt x="1494142" y="1757406"/>
                    <a:pt x="1496876" y="1757406"/>
                  </a:cubicBezTo>
                  <a:cubicBezTo>
                    <a:pt x="1496939" y="1757406"/>
                    <a:pt x="1497067" y="1757406"/>
                    <a:pt x="1497130" y="1757406"/>
                  </a:cubicBezTo>
                  <a:cubicBezTo>
                    <a:pt x="1497194" y="1757406"/>
                    <a:pt x="1497258" y="1757406"/>
                    <a:pt x="1497321" y="1757406"/>
                  </a:cubicBezTo>
                  <a:cubicBezTo>
                    <a:pt x="1505077" y="1757406"/>
                    <a:pt x="1512706" y="1757025"/>
                    <a:pt x="1520335" y="1756326"/>
                  </a:cubicBezTo>
                  <a:lnTo>
                    <a:pt x="1520335" y="1081"/>
                  </a:lnTo>
                  <a:close/>
                </a:path>
              </a:pathLst>
            </a:custGeom>
            <a:grpFill/>
            <a:ln w="0" cap="flat">
              <a:noFill/>
              <a:prstDash val="solid"/>
              <a:miter/>
            </a:ln>
          </p:spPr>
          <p:txBody>
            <a:bodyPr rtlCol="0" anchor="ctr"/>
            <a:lstStyle/>
            <a:p>
              <a:endParaRPr lang="sv-SE"/>
            </a:p>
          </p:txBody>
        </p:sp>
        <p:sp>
          <p:nvSpPr>
            <p:cNvPr id="60" name="Frihandsfigur: Form 59">
              <a:extLst>
                <a:ext uri="{FF2B5EF4-FFF2-40B4-BE49-F238E27FC236}">
                  <a16:creationId xmlns:a16="http://schemas.microsoft.com/office/drawing/2014/main" id="{3947DEEA-7D5D-F8CE-6194-5DFED57EEC37}"/>
                </a:ext>
              </a:extLst>
            </p:cNvPr>
            <p:cNvSpPr/>
            <p:nvPr/>
          </p:nvSpPr>
          <p:spPr>
            <a:xfrm>
              <a:off x="11508929" y="6253502"/>
              <a:ext cx="272927" cy="148956"/>
            </a:xfrm>
            <a:custGeom>
              <a:avLst/>
              <a:gdLst>
                <a:gd name="connsiteX0" fmla="*/ 272928 w 272927"/>
                <a:gd name="connsiteY0" fmla="*/ 0 h 148956"/>
                <a:gd name="connsiteX1" fmla="*/ 10490 w 272927"/>
                <a:gd name="connsiteY1" fmla="*/ 121937 h 148956"/>
                <a:gd name="connsiteX2" fmla="*/ 0 w 272927"/>
                <a:gd name="connsiteY2" fmla="*/ 148956 h 148956"/>
                <a:gd name="connsiteX3" fmla="*/ 272928 w 272927"/>
                <a:gd name="connsiteY3" fmla="*/ 22188 h 148956"/>
                <a:gd name="connsiteX4" fmla="*/ 272928 w 272927"/>
                <a:gd name="connsiteY4" fmla="*/ 63 h 148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7" h="148956">
                  <a:moveTo>
                    <a:pt x="272928" y="0"/>
                  </a:moveTo>
                  <a:lnTo>
                    <a:pt x="10490" y="121937"/>
                  </a:lnTo>
                  <a:cubicBezTo>
                    <a:pt x="6485" y="130710"/>
                    <a:pt x="3051" y="139674"/>
                    <a:pt x="0" y="148956"/>
                  </a:cubicBezTo>
                  <a:lnTo>
                    <a:pt x="272928" y="22188"/>
                  </a:lnTo>
                  <a:lnTo>
                    <a:pt x="272928" y="63"/>
                  </a:lnTo>
                  <a:close/>
                </a:path>
              </a:pathLst>
            </a:custGeom>
            <a:grpFill/>
            <a:ln w="0" cap="flat">
              <a:noFill/>
              <a:prstDash val="solid"/>
              <a:miter/>
            </a:ln>
          </p:spPr>
          <p:txBody>
            <a:bodyPr rtlCol="0" anchor="ctr"/>
            <a:lstStyle/>
            <a:p>
              <a:endParaRPr lang="sv-SE"/>
            </a:p>
          </p:txBody>
        </p:sp>
        <p:sp>
          <p:nvSpPr>
            <p:cNvPr id="61" name="Frihandsfigur: Form 60">
              <a:extLst>
                <a:ext uri="{FF2B5EF4-FFF2-40B4-BE49-F238E27FC236}">
                  <a16:creationId xmlns:a16="http://schemas.microsoft.com/office/drawing/2014/main" id="{1F9AA33C-2CEA-D8F4-5C55-E8FB3197A631}"/>
                </a:ext>
              </a:extLst>
            </p:cNvPr>
            <p:cNvSpPr/>
            <p:nvPr/>
          </p:nvSpPr>
          <p:spPr>
            <a:xfrm>
              <a:off x="11623174" y="6163416"/>
              <a:ext cx="158683" cy="95807"/>
            </a:xfrm>
            <a:custGeom>
              <a:avLst/>
              <a:gdLst>
                <a:gd name="connsiteX0" fmla="*/ 158683 w 158683"/>
                <a:gd name="connsiteY0" fmla="*/ 0 h 95807"/>
                <a:gd name="connsiteX1" fmla="*/ 34521 w 158683"/>
                <a:gd name="connsiteY1" fmla="*/ 57663 h 95807"/>
                <a:gd name="connsiteX2" fmla="*/ 0 w 158683"/>
                <a:gd name="connsiteY2" fmla="*/ 95808 h 95807"/>
                <a:gd name="connsiteX3" fmla="*/ 158683 w 158683"/>
                <a:gd name="connsiteY3" fmla="*/ 22124 h 95807"/>
                <a:gd name="connsiteX4" fmla="*/ 158683 w 158683"/>
                <a:gd name="connsiteY4" fmla="*/ 0 h 95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83" h="95807">
                  <a:moveTo>
                    <a:pt x="158683" y="0"/>
                  </a:moveTo>
                  <a:lnTo>
                    <a:pt x="34521" y="57663"/>
                  </a:lnTo>
                  <a:cubicBezTo>
                    <a:pt x="26574" y="72921"/>
                    <a:pt x="14749" y="86081"/>
                    <a:pt x="0" y="95808"/>
                  </a:cubicBezTo>
                  <a:lnTo>
                    <a:pt x="158683" y="22124"/>
                  </a:lnTo>
                  <a:lnTo>
                    <a:pt x="158683" y="0"/>
                  </a:lnTo>
                  <a:close/>
                </a:path>
              </a:pathLst>
            </a:custGeom>
            <a:grpFill/>
            <a:ln w="0" cap="flat">
              <a:noFill/>
              <a:prstDash val="solid"/>
              <a:miter/>
            </a:ln>
          </p:spPr>
          <p:txBody>
            <a:bodyPr rtlCol="0" anchor="ctr"/>
            <a:lstStyle/>
            <a:p>
              <a:endParaRPr lang="sv-SE"/>
            </a:p>
          </p:txBody>
        </p:sp>
        <p:sp>
          <p:nvSpPr>
            <p:cNvPr id="62" name="Frihandsfigur: Form 61">
              <a:extLst>
                <a:ext uri="{FF2B5EF4-FFF2-40B4-BE49-F238E27FC236}">
                  <a16:creationId xmlns:a16="http://schemas.microsoft.com/office/drawing/2014/main" id="{C91CB526-D7A1-0985-2218-FBC3361338E0}"/>
                </a:ext>
              </a:extLst>
            </p:cNvPr>
            <p:cNvSpPr/>
            <p:nvPr/>
          </p:nvSpPr>
          <p:spPr>
            <a:xfrm>
              <a:off x="11659666" y="6073393"/>
              <a:ext cx="122191" cy="75781"/>
            </a:xfrm>
            <a:custGeom>
              <a:avLst/>
              <a:gdLst>
                <a:gd name="connsiteX0" fmla="*/ 122191 w 122191"/>
                <a:gd name="connsiteY0" fmla="*/ 0 h 75781"/>
                <a:gd name="connsiteX1" fmla="*/ 0 w 122191"/>
                <a:gd name="connsiteY1" fmla="*/ 56773 h 75781"/>
                <a:gd name="connsiteX2" fmla="*/ 6739 w 122191"/>
                <a:gd name="connsiteY2" fmla="*/ 75781 h 75781"/>
                <a:gd name="connsiteX3" fmla="*/ 122191 w 122191"/>
                <a:gd name="connsiteY3" fmla="*/ 22124 h 75781"/>
                <a:gd name="connsiteX4" fmla="*/ 122191 w 122191"/>
                <a:gd name="connsiteY4" fmla="*/ 0 h 75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91" h="75781">
                  <a:moveTo>
                    <a:pt x="122191" y="0"/>
                  </a:moveTo>
                  <a:lnTo>
                    <a:pt x="0" y="56773"/>
                  </a:lnTo>
                  <a:cubicBezTo>
                    <a:pt x="2861" y="62876"/>
                    <a:pt x="5086" y="69233"/>
                    <a:pt x="6739" y="75781"/>
                  </a:cubicBezTo>
                  <a:lnTo>
                    <a:pt x="122191" y="22124"/>
                  </a:lnTo>
                  <a:lnTo>
                    <a:pt x="122191" y="0"/>
                  </a:lnTo>
                  <a:close/>
                </a:path>
              </a:pathLst>
            </a:custGeom>
            <a:grpFill/>
            <a:ln w="0" cap="flat">
              <a:noFill/>
              <a:prstDash val="solid"/>
              <a:miter/>
            </a:ln>
          </p:spPr>
          <p:txBody>
            <a:bodyPr rtlCol="0" anchor="ctr"/>
            <a:lstStyle/>
            <a:p>
              <a:endParaRPr lang="sv-SE"/>
            </a:p>
          </p:txBody>
        </p:sp>
        <p:sp>
          <p:nvSpPr>
            <p:cNvPr id="63" name="Frihandsfigur: Form 62">
              <a:extLst>
                <a:ext uri="{FF2B5EF4-FFF2-40B4-BE49-F238E27FC236}">
                  <a16:creationId xmlns:a16="http://schemas.microsoft.com/office/drawing/2014/main" id="{0E764CB0-EBF0-1F7F-2601-F8AD147EA6FE}"/>
                </a:ext>
              </a:extLst>
            </p:cNvPr>
            <p:cNvSpPr/>
            <p:nvPr/>
          </p:nvSpPr>
          <p:spPr>
            <a:xfrm>
              <a:off x="11596345" y="5983308"/>
              <a:ext cx="185511" cy="99558"/>
            </a:xfrm>
            <a:custGeom>
              <a:avLst/>
              <a:gdLst>
                <a:gd name="connsiteX0" fmla="*/ 185512 w 185511"/>
                <a:gd name="connsiteY0" fmla="*/ 0 h 99558"/>
                <a:gd name="connsiteX1" fmla="*/ 0 w 185511"/>
                <a:gd name="connsiteY1" fmla="*/ 86144 h 99558"/>
                <a:gd name="connsiteX2" fmla="*/ 18818 w 185511"/>
                <a:gd name="connsiteY2" fmla="*/ 99558 h 99558"/>
                <a:gd name="connsiteX3" fmla="*/ 185512 w 185511"/>
                <a:gd name="connsiteY3" fmla="*/ 22124 h 99558"/>
                <a:gd name="connsiteX4" fmla="*/ 185512 w 185511"/>
                <a:gd name="connsiteY4" fmla="*/ 0 h 99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11" h="99558">
                  <a:moveTo>
                    <a:pt x="185512" y="0"/>
                  </a:moveTo>
                  <a:lnTo>
                    <a:pt x="0" y="86144"/>
                  </a:lnTo>
                  <a:cubicBezTo>
                    <a:pt x="6040" y="90849"/>
                    <a:pt x="12334" y="95363"/>
                    <a:pt x="18818" y="99558"/>
                  </a:cubicBezTo>
                  <a:lnTo>
                    <a:pt x="185512" y="22124"/>
                  </a:lnTo>
                  <a:lnTo>
                    <a:pt x="185512" y="0"/>
                  </a:lnTo>
                  <a:close/>
                </a:path>
              </a:pathLst>
            </a:custGeom>
            <a:grpFill/>
            <a:ln w="0" cap="flat">
              <a:noFill/>
              <a:prstDash val="solid"/>
              <a:miter/>
            </a:ln>
          </p:spPr>
          <p:txBody>
            <a:bodyPr rtlCol="0" anchor="ctr"/>
            <a:lstStyle/>
            <a:p>
              <a:endParaRPr lang="sv-SE"/>
            </a:p>
          </p:txBody>
        </p:sp>
        <p:sp>
          <p:nvSpPr>
            <p:cNvPr id="64" name="Frihandsfigur: Form 63">
              <a:extLst>
                <a:ext uri="{FF2B5EF4-FFF2-40B4-BE49-F238E27FC236}">
                  <a16:creationId xmlns:a16="http://schemas.microsoft.com/office/drawing/2014/main" id="{5CC22B76-F4F9-D6D1-8690-F5A61635FAC2}"/>
                </a:ext>
              </a:extLst>
            </p:cNvPr>
            <p:cNvSpPr/>
            <p:nvPr/>
          </p:nvSpPr>
          <p:spPr>
            <a:xfrm>
              <a:off x="11538364" y="5893285"/>
              <a:ext cx="243492" cy="129756"/>
            </a:xfrm>
            <a:custGeom>
              <a:avLst/>
              <a:gdLst>
                <a:gd name="connsiteX0" fmla="*/ 243493 w 243492"/>
                <a:gd name="connsiteY0" fmla="*/ 0 h 129756"/>
                <a:gd name="connsiteX1" fmla="*/ 0 w 243492"/>
                <a:gd name="connsiteY1" fmla="*/ 113100 h 129756"/>
                <a:gd name="connsiteX2" fmla="*/ 11825 w 243492"/>
                <a:gd name="connsiteY2" fmla="*/ 129757 h 129756"/>
                <a:gd name="connsiteX3" fmla="*/ 243493 w 243492"/>
                <a:gd name="connsiteY3" fmla="*/ 22124 h 129756"/>
                <a:gd name="connsiteX4" fmla="*/ 243493 w 243492"/>
                <a:gd name="connsiteY4" fmla="*/ 0 h 129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492" h="129756">
                  <a:moveTo>
                    <a:pt x="243493" y="0"/>
                  </a:moveTo>
                  <a:lnTo>
                    <a:pt x="0" y="113100"/>
                  </a:lnTo>
                  <a:cubicBezTo>
                    <a:pt x="3751" y="118822"/>
                    <a:pt x="7693" y="124353"/>
                    <a:pt x="11825" y="129757"/>
                  </a:cubicBezTo>
                  <a:lnTo>
                    <a:pt x="243493" y="22124"/>
                  </a:lnTo>
                  <a:lnTo>
                    <a:pt x="243493" y="0"/>
                  </a:lnTo>
                  <a:close/>
                </a:path>
              </a:pathLst>
            </a:custGeom>
            <a:grpFill/>
            <a:ln w="0" cap="flat">
              <a:noFill/>
              <a:prstDash val="solid"/>
              <a:miter/>
            </a:ln>
          </p:spPr>
          <p:txBody>
            <a:bodyPr rtlCol="0" anchor="ctr"/>
            <a:lstStyle/>
            <a:p>
              <a:endParaRPr lang="sv-SE"/>
            </a:p>
          </p:txBody>
        </p:sp>
        <p:sp>
          <p:nvSpPr>
            <p:cNvPr id="65" name="Frihandsfigur: Form 64">
              <a:extLst>
                <a:ext uri="{FF2B5EF4-FFF2-40B4-BE49-F238E27FC236}">
                  <a16:creationId xmlns:a16="http://schemas.microsoft.com/office/drawing/2014/main" id="{16606E90-3D6B-5996-11F4-99B1DD34DFF6}"/>
                </a:ext>
              </a:extLst>
            </p:cNvPr>
            <p:cNvSpPr/>
            <p:nvPr/>
          </p:nvSpPr>
          <p:spPr>
            <a:xfrm>
              <a:off x="11505051" y="5803199"/>
              <a:ext cx="276869" cy="147939"/>
            </a:xfrm>
            <a:custGeom>
              <a:avLst/>
              <a:gdLst>
                <a:gd name="connsiteX0" fmla="*/ 276806 w 276869"/>
                <a:gd name="connsiteY0" fmla="*/ 0 h 147939"/>
                <a:gd name="connsiteX1" fmla="*/ 0 w 276869"/>
                <a:gd name="connsiteY1" fmla="*/ 128612 h 147939"/>
                <a:gd name="connsiteX2" fmla="*/ 6040 w 276869"/>
                <a:gd name="connsiteY2" fmla="*/ 147939 h 147939"/>
                <a:gd name="connsiteX3" fmla="*/ 276870 w 276869"/>
                <a:gd name="connsiteY3" fmla="*/ 22124 h 147939"/>
                <a:gd name="connsiteX4" fmla="*/ 276870 w 276869"/>
                <a:gd name="connsiteY4" fmla="*/ 0 h 14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869" h="147939">
                  <a:moveTo>
                    <a:pt x="276806" y="0"/>
                  </a:moveTo>
                  <a:lnTo>
                    <a:pt x="0" y="128612"/>
                  </a:lnTo>
                  <a:cubicBezTo>
                    <a:pt x="1780" y="135161"/>
                    <a:pt x="3751" y="141582"/>
                    <a:pt x="6040" y="147939"/>
                  </a:cubicBezTo>
                  <a:lnTo>
                    <a:pt x="276870" y="22124"/>
                  </a:lnTo>
                  <a:lnTo>
                    <a:pt x="276870" y="0"/>
                  </a:lnTo>
                  <a:close/>
                </a:path>
              </a:pathLst>
            </a:custGeom>
            <a:grpFill/>
            <a:ln w="0" cap="flat">
              <a:noFill/>
              <a:prstDash val="solid"/>
              <a:miter/>
            </a:ln>
          </p:spPr>
          <p:txBody>
            <a:bodyPr rtlCol="0" anchor="ctr"/>
            <a:lstStyle/>
            <a:p>
              <a:endParaRPr lang="sv-SE"/>
            </a:p>
          </p:txBody>
        </p:sp>
        <p:sp>
          <p:nvSpPr>
            <p:cNvPr id="66" name="Frihandsfigur: Form 65">
              <a:extLst>
                <a:ext uri="{FF2B5EF4-FFF2-40B4-BE49-F238E27FC236}">
                  <a16:creationId xmlns:a16="http://schemas.microsoft.com/office/drawing/2014/main" id="{FEFAE9FE-E73C-EB45-F6E4-1F5250131888}"/>
                </a:ext>
              </a:extLst>
            </p:cNvPr>
            <p:cNvSpPr/>
            <p:nvPr/>
          </p:nvSpPr>
          <p:spPr>
            <a:xfrm>
              <a:off x="11496214" y="5713177"/>
              <a:ext cx="285642" cy="154805"/>
            </a:xfrm>
            <a:custGeom>
              <a:avLst/>
              <a:gdLst>
                <a:gd name="connsiteX0" fmla="*/ 285643 w 285642"/>
                <a:gd name="connsiteY0" fmla="*/ 0 h 154805"/>
                <a:gd name="connsiteX1" fmla="*/ 763 w 285642"/>
                <a:gd name="connsiteY1" fmla="*/ 132363 h 154805"/>
                <a:gd name="connsiteX2" fmla="*/ 0 w 285642"/>
                <a:gd name="connsiteY2" fmla="*/ 151245 h 154805"/>
                <a:gd name="connsiteX3" fmla="*/ 0 w 285642"/>
                <a:gd name="connsiteY3" fmla="*/ 154806 h 154805"/>
                <a:gd name="connsiteX4" fmla="*/ 285579 w 285642"/>
                <a:gd name="connsiteY4" fmla="*/ 22124 h 154805"/>
                <a:gd name="connsiteX5" fmla="*/ 285579 w 285642"/>
                <a:gd name="connsiteY5" fmla="*/ 0 h 15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642" h="154805">
                  <a:moveTo>
                    <a:pt x="285643" y="0"/>
                  </a:moveTo>
                  <a:lnTo>
                    <a:pt x="763" y="132363"/>
                  </a:lnTo>
                  <a:cubicBezTo>
                    <a:pt x="318" y="138594"/>
                    <a:pt x="0" y="144888"/>
                    <a:pt x="0" y="151245"/>
                  </a:cubicBezTo>
                  <a:cubicBezTo>
                    <a:pt x="0" y="152453"/>
                    <a:pt x="0" y="153598"/>
                    <a:pt x="0" y="154806"/>
                  </a:cubicBezTo>
                  <a:lnTo>
                    <a:pt x="285579" y="22124"/>
                  </a:lnTo>
                  <a:lnTo>
                    <a:pt x="285579" y="0"/>
                  </a:lnTo>
                  <a:close/>
                </a:path>
              </a:pathLst>
            </a:custGeom>
            <a:grpFill/>
            <a:ln w="0" cap="flat">
              <a:noFill/>
              <a:prstDash val="solid"/>
              <a:miter/>
            </a:ln>
          </p:spPr>
          <p:txBody>
            <a:bodyPr rtlCol="0" anchor="ctr"/>
            <a:lstStyle/>
            <a:p>
              <a:endParaRPr lang="sv-SE"/>
            </a:p>
          </p:txBody>
        </p:sp>
        <p:sp>
          <p:nvSpPr>
            <p:cNvPr id="67" name="Frihandsfigur: Form 66">
              <a:extLst>
                <a:ext uri="{FF2B5EF4-FFF2-40B4-BE49-F238E27FC236}">
                  <a16:creationId xmlns:a16="http://schemas.microsoft.com/office/drawing/2014/main" id="{6CC10781-7891-DA5F-100F-A86B876274A6}"/>
                </a:ext>
              </a:extLst>
            </p:cNvPr>
            <p:cNvSpPr/>
            <p:nvPr/>
          </p:nvSpPr>
          <p:spPr>
            <a:xfrm>
              <a:off x="11735257" y="6433610"/>
              <a:ext cx="46600" cy="21615"/>
            </a:xfrm>
            <a:custGeom>
              <a:avLst/>
              <a:gdLst>
                <a:gd name="connsiteX0" fmla="*/ 46600 w 46600"/>
                <a:gd name="connsiteY0" fmla="*/ 21616 h 21615"/>
                <a:gd name="connsiteX1" fmla="*/ 46600 w 46600"/>
                <a:gd name="connsiteY1" fmla="*/ 0 h 21615"/>
                <a:gd name="connsiteX2" fmla="*/ 0 w 46600"/>
                <a:gd name="connsiteY2" fmla="*/ 21616 h 21615"/>
                <a:gd name="connsiteX3" fmla="*/ 46600 w 46600"/>
                <a:gd name="connsiteY3" fmla="*/ 21616 h 21615"/>
              </a:gdLst>
              <a:ahLst/>
              <a:cxnLst>
                <a:cxn ang="0">
                  <a:pos x="connsiteX0" y="connsiteY0"/>
                </a:cxn>
                <a:cxn ang="0">
                  <a:pos x="connsiteX1" y="connsiteY1"/>
                </a:cxn>
                <a:cxn ang="0">
                  <a:pos x="connsiteX2" y="connsiteY2"/>
                </a:cxn>
                <a:cxn ang="0">
                  <a:pos x="connsiteX3" y="connsiteY3"/>
                </a:cxn>
              </a:cxnLst>
              <a:rect l="l" t="t" r="r" b="b"/>
              <a:pathLst>
                <a:path w="46600" h="21615">
                  <a:moveTo>
                    <a:pt x="46600" y="21616"/>
                  </a:moveTo>
                  <a:lnTo>
                    <a:pt x="46600" y="0"/>
                  </a:lnTo>
                  <a:lnTo>
                    <a:pt x="0" y="21616"/>
                  </a:lnTo>
                  <a:lnTo>
                    <a:pt x="46600" y="21616"/>
                  </a:lnTo>
                  <a:close/>
                </a:path>
              </a:pathLst>
            </a:custGeom>
            <a:grpFill/>
            <a:ln w="0" cap="flat">
              <a:noFill/>
              <a:prstDash val="solid"/>
              <a:miter/>
            </a:ln>
          </p:spPr>
          <p:txBody>
            <a:bodyPr rtlCol="0" anchor="ctr"/>
            <a:lstStyle/>
            <a:p>
              <a:endParaRPr lang="sv-SE"/>
            </a:p>
          </p:txBody>
        </p:sp>
        <p:sp>
          <p:nvSpPr>
            <p:cNvPr id="68" name="Frihandsfigur: Form 67">
              <a:extLst>
                <a:ext uri="{FF2B5EF4-FFF2-40B4-BE49-F238E27FC236}">
                  <a16:creationId xmlns:a16="http://schemas.microsoft.com/office/drawing/2014/main" id="{BC2BDBA7-0871-6BC2-5AF2-704D687B58B7}"/>
                </a:ext>
              </a:extLst>
            </p:cNvPr>
            <p:cNvSpPr/>
            <p:nvPr/>
          </p:nvSpPr>
          <p:spPr>
            <a:xfrm>
              <a:off x="11541352" y="6343524"/>
              <a:ext cx="240504" cy="111701"/>
            </a:xfrm>
            <a:custGeom>
              <a:avLst/>
              <a:gdLst>
                <a:gd name="connsiteX0" fmla="*/ 47681 w 240504"/>
                <a:gd name="connsiteY0" fmla="*/ 111701 h 111701"/>
                <a:gd name="connsiteX1" fmla="*/ 240505 w 240504"/>
                <a:gd name="connsiteY1" fmla="*/ 22124 h 111701"/>
                <a:gd name="connsiteX2" fmla="*/ 240505 w 240504"/>
                <a:gd name="connsiteY2" fmla="*/ 0 h 111701"/>
                <a:gd name="connsiteX3" fmla="*/ 0 w 240504"/>
                <a:gd name="connsiteY3" fmla="*/ 111701 h 111701"/>
                <a:gd name="connsiteX4" fmla="*/ 47681 w 240504"/>
                <a:gd name="connsiteY4" fmla="*/ 111701 h 111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504" h="111701">
                  <a:moveTo>
                    <a:pt x="47681" y="111701"/>
                  </a:moveTo>
                  <a:lnTo>
                    <a:pt x="240505" y="22124"/>
                  </a:lnTo>
                  <a:lnTo>
                    <a:pt x="240505" y="0"/>
                  </a:lnTo>
                  <a:lnTo>
                    <a:pt x="0" y="111701"/>
                  </a:lnTo>
                  <a:lnTo>
                    <a:pt x="47681" y="111701"/>
                  </a:lnTo>
                  <a:close/>
                </a:path>
              </a:pathLst>
            </a:custGeom>
            <a:grpFill/>
            <a:ln w="0" cap="flat">
              <a:noFill/>
              <a:prstDash val="solid"/>
              <a:miter/>
            </a:ln>
          </p:spPr>
          <p:txBody>
            <a:bodyPr rtlCol="0" anchor="ctr"/>
            <a:lstStyle/>
            <a:p>
              <a:endParaRPr lang="sv-SE"/>
            </a:p>
          </p:txBody>
        </p:sp>
        <p:sp>
          <p:nvSpPr>
            <p:cNvPr id="69" name="Frihandsfigur: Form 68">
              <a:extLst>
                <a:ext uri="{FF2B5EF4-FFF2-40B4-BE49-F238E27FC236}">
                  <a16:creationId xmlns:a16="http://schemas.microsoft.com/office/drawing/2014/main" id="{ED687FC3-C9DD-448F-923E-3BDCB781FCB3}"/>
                </a:ext>
              </a:extLst>
            </p:cNvPr>
            <p:cNvSpPr/>
            <p:nvPr/>
          </p:nvSpPr>
          <p:spPr>
            <a:xfrm>
              <a:off x="10874068" y="6222032"/>
              <a:ext cx="517501" cy="233193"/>
            </a:xfrm>
            <a:custGeom>
              <a:avLst/>
              <a:gdLst>
                <a:gd name="connsiteX0" fmla="*/ 517501 w 517501"/>
                <a:gd name="connsiteY0" fmla="*/ 233193 h 233193"/>
                <a:gd name="connsiteX1" fmla="*/ 258751 w 517501"/>
                <a:gd name="connsiteY1" fmla="*/ 0 h 233193"/>
                <a:gd name="connsiteX2" fmla="*/ 0 w 517501"/>
                <a:gd name="connsiteY2" fmla="*/ 233193 h 233193"/>
                <a:gd name="connsiteX3" fmla="*/ 517501 w 517501"/>
                <a:gd name="connsiteY3" fmla="*/ 233193 h 233193"/>
              </a:gdLst>
              <a:ahLst/>
              <a:cxnLst>
                <a:cxn ang="0">
                  <a:pos x="connsiteX0" y="connsiteY0"/>
                </a:cxn>
                <a:cxn ang="0">
                  <a:pos x="connsiteX1" y="connsiteY1"/>
                </a:cxn>
                <a:cxn ang="0">
                  <a:pos x="connsiteX2" y="connsiteY2"/>
                </a:cxn>
                <a:cxn ang="0">
                  <a:pos x="connsiteX3" y="connsiteY3"/>
                </a:cxn>
              </a:cxnLst>
              <a:rect l="l" t="t" r="r" b="b"/>
              <a:pathLst>
                <a:path w="517501" h="233193">
                  <a:moveTo>
                    <a:pt x="517501" y="233193"/>
                  </a:moveTo>
                  <a:cubicBezTo>
                    <a:pt x="504023" y="102229"/>
                    <a:pt x="393276" y="0"/>
                    <a:pt x="258751" y="0"/>
                  </a:cubicBezTo>
                  <a:cubicBezTo>
                    <a:pt x="124226" y="0"/>
                    <a:pt x="13478" y="102165"/>
                    <a:pt x="0" y="233193"/>
                  </a:cubicBezTo>
                  <a:lnTo>
                    <a:pt x="517501" y="233193"/>
                  </a:lnTo>
                  <a:close/>
                </a:path>
              </a:pathLst>
            </a:custGeom>
            <a:grpFill/>
            <a:ln w="0" cap="flat">
              <a:noFill/>
              <a:prstDash val="solid"/>
              <a:miter/>
            </a:ln>
          </p:spPr>
          <p:txBody>
            <a:bodyPr rtlCol="0" anchor="ctr"/>
            <a:lstStyle/>
            <a:p>
              <a:endParaRPr lang="sv-SE"/>
            </a:p>
          </p:txBody>
        </p:sp>
        <p:sp>
          <p:nvSpPr>
            <p:cNvPr id="70" name="Frihandsfigur: Form 69">
              <a:extLst>
                <a:ext uri="{FF2B5EF4-FFF2-40B4-BE49-F238E27FC236}">
                  <a16:creationId xmlns:a16="http://schemas.microsoft.com/office/drawing/2014/main" id="{5C308482-0BB7-6418-11D2-576D125CE338}"/>
                </a:ext>
              </a:extLst>
            </p:cNvPr>
            <p:cNvSpPr/>
            <p:nvPr/>
          </p:nvSpPr>
          <p:spPr>
            <a:xfrm>
              <a:off x="10255482" y="6222032"/>
              <a:ext cx="517501" cy="233193"/>
            </a:xfrm>
            <a:custGeom>
              <a:avLst/>
              <a:gdLst>
                <a:gd name="connsiteX0" fmla="*/ 517501 w 517501"/>
                <a:gd name="connsiteY0" fmla="*/ 233193 h 233193"/>
                <a:gd name="connsiteX1" fmla="*/ 258751 w 517501"/>
                <a:gd name="connsiteY1" fmla="*/ 0 h 233193"/>
                <a:gd name="connsiteX2" fmla="*/ 0 w 517501"/>
                <a:gd name="connsiteY2" fmla="*/ 233193 h 233193"/>
                <a:gd name="connsiteX3" fmla="*/ 517501 w 517501"/>
                <a:gd name="connsiteY3" fmla="*/ 233193 h 233193"/>
              </a:gdLst>
              <a:ahLst/>
              <a:cxnLst>
                <a:cxn ang="0">
                  <a:pos x="connsiteX0" y="connsiteY0"/>
                </a:cxn>
                <a:cxn ang="0">
                  <a:pos x="connsiteX1" y="connsiteY1"/>
                </a:cxn>
                <a:cxn ang="0">
                  <a:pos x="connsiteX2" y="connsiteY2"/>
                </a:cxn>
                <a:cxn ang="0">
                  <a:pos x="connsiteX3" y="connsiteY3"/>
                </a:cxn>
              </a:cxnLst>
              <a:rect l="l" t="t" r="r" b="b"/>
              <a:pathLst>
                <a:path w="517501" h="233193">
                  <a:moveTo>
                    <a:pt x="517501" y="233193"/>
                  </a:moveTo>
                  <a:cubicBezTo>
                    <a:pt x="504023" y="102229"/>
                    <a:pt x="393276" y="0"/>
                    <a:pt x="258751" y="0"/>
                  </a:cubicBezTo>
                  <a:cubicBezTo>
                    <a:pt x="124226" y="0"/>
                    <a:pt x="13478" y="102165"/>
                    <a:pt x="0" y="233193"/>
                  </a:cubicBezTo>
                  <a:lnTo>
                    <a:pt x="517501" y="233193"/>
                  </a:lnTo>
                  <a:close/>
                </a:path>
              </a:pathLst>
            </a:custGeom>
            <a:grpFill/>
            <a:ln w="0" cap="flat">
              <a:noFill/>
              <a:prstDash val="solid"/>
              <a:miter/>
            </a:ln>
          </p:spPr>
          <p:txBody>
            <a:bodyPr rtlCol="0" anchor="ctr"/>
            <a:lstStyle/>
            <a:p>
              <a:endParaRPr lang="sv-SE"/>
            </a:p>
          </p:txBody>
        </p:sp>
        <p:sp>
          <p:nvSpPr>
            <p:cNvPr id="71" name="Frihandsfigur: Form 70">
              <a:extLst>
                <a:ext uri="{FF2B5EF4-FFF2-40B4-BE49-F238E27FC236}">
                  <a16:creationId xmlns:a16="http://schemas.microsoft.com/office/drawing/2014/main" id="{CB062C94-15C6-A322-9F90-A8BB87AB7D9C}"/>
                </a:ext>
              </a:extLst>
            </p:cNvPr>
            <p:cNvSpPr/>
            <p:nvPr/>
          </p:nvSpPr>
          <p:spPr>
            <a:xfrm>
              <a:off x="9008266" y="6212051"/>
              <a:ext cx="537718" cy="243174"/>
            </a:xfrm>
            <a:custGeom>
              <a:avLst/>
              <a:gdLst>
                <a:gd name="connsiteX0" fmla="*/ 20217 w 537718"/>
                <a:gd name="connsiteY0" fmla="*/ 243175 h 243174"/>
                <a:gd name="connsiteX1" fmla="*/ 268859 w 537718"/>
                <a:gd name="connsiteY1" fmla="*/ 20026 h 243174"/>
                <a:gd name="connsiteX2" fmla="*/ 517501 w 537718"/>
                <a:gd name="connsiteY2" fmla="*/ 243175 h 243174"/>
                <a:gd name="connsiteX3" fmla="*/ 537718 w 537718"/>
                <a:gd name="connsiteY3" fmla="*/ 243175 h 243174"/>
                <a:gd name="connsiteX4" fmla="*/ 268859 w 537718"/>
                <a:gd name="connsiteY4" fmla="*/ 0 h 243174"/>
                <a:gd name="connsiteX5" fmla="*/ 0 w 537718"/>
                <a:gd name="connsiteY5" fmla="*/ 243175 h 243174"/>
                <a:gd name="connsiteX6" fmla="*/ 20217 w 537718"/>
                <a:gd name="connsiteY6" fmla="*/ 243175 h 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18" h="243174">
                  <a:moveTo>
                    <a:pt x="20217" y="243175"/>
                  </a:moveTo>
                  <a:cubicBezTo>
                    <a:pt x="33695" y="117932"/>
                    <a:pt x="140056" y="20026"/>
                    <a:pt x="268859" y="20026"/>
                  </a:cubicBezTo>
                  <a:cubicBezTo>
                    <a:pt x="397662" y="20026"/>
                    <a:pt x="504023" y="117868"/>
                    <a:pt x="517501" y="243175"/>
                  </a:cubicBezTo>
                  <a:lnTo>
                    <a:pt x="537718" y="243175"/>
                  </a:lnTo>
                  <a:cubicBezTo>
                    <a:pt x="524113" y="106806"/>
                    <a:pt x="408724" y="0"/>
                    <a:pt x="268859" y="0"/>
                  </a:cubicBezTo>
                  <a:cubicBezTo>
                    <a:pt x="128994" y="0"/>
                    <a:pt x="13605" y="106870"/>
                    <a:pt x="0" y="243175"/>
                  </a:cubicBezTo>
                  <a:lnTo>
                    <a:pt x="20217" y="243175"/>
                  </a:lnTo>
                  <a:close/>
                </a:path>
              </a:pathLst>
            </a:custGeom>
            <a:grpFill/>
            <a:ln w="0" cap="flat">
              <a:noFill/>
              <a:prstDash val="solid"/>
              <a:miter/>
            </a:ln>
          </p:spPr>
          <p:txBody>
            <a:bodyPr rtlCol="0" anchor="ctr"/>
            <a:lstStyle/>
            <a:p>
              <a:endParaRPr lang="sv-SE"/>
            </a:p>
          </p:txBody>
        </p:sp>
        <p:sp>
          <p:nvSpPr>
            <p:cNvPr id="72" name="Frihandsfigur: Form 71">
              <a:extLst>
                <a:ext uri="{FF2B5EF4-FFF2-40B4-BE49-F238E27FC236}">
                  <a16:creationId xmlns:a16="http://schemas.microsoft.com/office/drawing/2014/main" id="{FF8C8396-EA43-3067-749D-E87640E5313F}"/>
                </a:ext>
              </a:extLst>
            </p:cNvPr>
            <p:cNvSpPr/>
            <p:nvPr/>
          </p:nvSpPr>
          <p:spPr>
            <a:xfrm>
              <a:off x="9626788" y="6212051"/>
              <a:ext cx="537718" cy="243174"/>
            </a:xfrm>
            <a:custGeom>
              <a:avLst/>
              <a:gdLst>
                <a:gd name="connsiteX0" fmla="*/ 20217 w 537718"/>
                <a:gd name="connsiteY0" fmla="*/ 243175 h 243174"/>
                <a:gd name="connsiteX1" fmla="*/ 268859 w 537718"/>
                <a:gd name="connsiteY1" fmla="*/ 20026 h 243174"/>
                <a:gd name="connsiteX2" fmla="*/ 517501 w 537718"/>
                <a:gd name="connsiteY2" fmla="*/ 243175 h 243174"/>
                <a:gd name="connsiteX3" fmla="*/ 537718 w 537718"/>
                <a:gd name="connsiteY3" fmla="*/ 243175 h 243174"/>
                <a:gd name="connsiteX4" fmla="*/ 268859 w 537718"/>
                <a:gd name="connsiteY4" fmla="*/ 0 h 243174"/>
                <a:gd name="connsiteX5" fmla="*/ 0 w 537718"/>
                <a:gd name="connsiteY5" fmla="*/ 243175 h 243174"/>
                <a:gd name="connsiteX6" fmla="*/ 20217 w 537718"/>
                <a:gd name="connsiteY6" fmla="*/ 243175 h 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18" h="243174">
                  <a:moveTo>
                    <a:pt x="20217" y="243175"/>
                  </a:moveTo>
                  <a:cubicBezTo>
                    <a:pt x="33695" y="117932"/>
                    <a:pt x="140056" y="20026"/>
                    <a:pt x="268859" y="20026"/>
                  </a:cubicBezTo>
                  <a:cubicBezTo>
                    <a:pt x="397662" y="20026"/>
                    <a:pt x="504023" y="117868"/>
                    <a:pt x="517501" y="243175"/>
                  </a:cubicBezTo>
                  <a:lnTo>
                    <a:pt x="537718" y="243175"/>
                  </a:lnTo>
                  <a:cubicBezTo>
                    <a:pt x="524113" y="106806"/>
                    <a:pt x="408724" y="0"/>
                    <a:pt x="268859" y="0"/>
                  </a:cubicBezTo>
                  <a:cubicBezTo>
                    <a:pt x="128994" y="0"/>
                    <a:pt x="13605" y="106870"/>
                    <a:pt x="0" y="243175"/>
                  </a:cubicBezTo>
                  <a:lnTo>
                    <a:pt x="20217" y="243175"/>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3571127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_Avslutsbild_ljusrosa">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8" name="Rubrik 3">
            <a:extLst>
              <a:ext uri="{FF2B5EF4-FFF2-40B4-BE49-F238E27FC236}">
                <a16:creationId xmlns:a16="http://schemas.microsoft.com/office/drawing/2014/main" id="{48B20EB8-4FF0-4D86-B782-FE843B459F2B}"/>
              </a:ext>
            </a:extLst>
          </p:cNvPr>
          <p:cNvSpPr>
            <a:spLocks noGrp="1"/>
          </p:cNvSpPr>
          <p:nvPr>
            <p:ph type="title" hasCustomPrompt="1"/>
          </p:nvPr>
        </p:nvSpPr>
        <p:spPr>
          <a:xfrm>
            <a:off x="1420650" y="2399545"/>
            <a:ext cx="6148878" cy="309600"/>
          </a:xfrm>
        </p:spPr>
        <p:txBody>
          <a:bodyPr>
            <a:normAutofit/>
          </a:bodyPr>
          <a:lstStyle>
            <a:lvl1pPr>
              <a:defRPr sz="1700">
                <a:solidFill>
                  <a:schemeClr val="bg1"/>
                </a:solidFill>
              </a:defRPr>
            </a:lvl1pPr>
          </a:lstStyle>
          <a:p>
            <a:r>
              <a:rPr lang="sv-SE"/>
              <a:t>Kontakt</a:t>
            </a:r>
          </a:p>
        </p:txBody>
      </p:sp>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bg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
        <p:nvSpPr>
          <p:cNvPr id="7" name="textruta 6">
            <a:extLst>
              <a:ext uri="{FF2B5EF4-FFF2-40B4-BE49-F238E27FC236}">
                <a16:creationId xmlns:a16="http://schemas.microsoft.com/office/drawing/2014/main" id="{266C4A4B-0FFF-4609-BF3A-89A12B42C121}"/>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grpSp>
        <p:nvGrpSpPr>
          <p:cNvPr id="4" name="Grupp 3">
            <a:extLst>
              <a:ext uri="{FF2B5EF4-FFF2-40B4-BE49-F238E27FC236}">
                <a16:creationId xmlns:a16="http://schemas.microsoft.com/office/drawing/2014/main" id="{24C4520D-0BF2-E92C-20AA-A3138C60DB51}"/>
              </a:ext>
            </a:extLst>
          </p:cNvPr>
          <p:cNvGrpSpPr/>
          <p:nvPr userDrawn="1"/>
        </p:nvGrpSpPr>
        <p:grpSpPr>
          <a:xfrm>
            <a:off x="8403413" y="1277797"/>
            <a:ext cx="3378507" cy="5177428"/>
            <a:chOff x="8403413" y="1277797"/>
            <a:chExt cx="3378507" cy="5177428"/>
          </a:xfrm>
          <a:solidFill>
            <a:schemeClr val="accent5"/>
          </a:solidFill>
        </p:grpSpPr>
        <p:sp>
          <p:nvSpPr>
            <p:cNvPr id="5" name="Frihandsfigur: Form 4">
              <a:extLst>
                <a:ext uri="{FF2B5EF4-FFF2-40B4-BE49-F238E27FC236}">
                  <a16:creationId xmlns:a16="http://schemas.microsoft.com/office/drawing/2014/main" id="{503690FF-A019-C64C-71B5-261EDAD02831}"/>
                </a:ext>
              </a:extLst>
            </p:cNvPr>
            <p:cNvSpPr/>
            <p:nvPr/>
          </p:nvSpPr>
          <p:spPr>
            <a:xfrm>
              <a:off x="10251541" y="1887037"/>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26 h 540388"/>
                <a:gd name="connsiteX6" fmla="*/ 20090 w 540388"/>
                <a:gd name="connsiteY6" fmla="*/ 270131 h 540388"/>
                <a:gd name="connsiteX7" fmla="*/ 270194 w 540388"/>
                <a:gd name="connsiteY7" fmla="*/ 520235 h 540388"/>
                <a:gd name="connsiteX8" fmla="*/ 520299 w 540388"/>
                <a:gd name="connsiteY8" fmla="*/ 270131 h 540388"/>
                <a:gd name="connsiteX9" fmla="*/ 270194 w 540388"/>
                <a:gd name="connsiteY9" fmla="*/ 20026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26"/>
                  </a:moveTo>
                  <a:cubicBezTo>
                    <a:pt x="132300" y="20026"/>
                    <a:pt x="20090" y="132236"/>
                    <a:pt x="20090" y="270131"/>
                  </a:cubicBezTo>
                  <a:cubicBezTo>
                    <a:pt x="20090" y="408025"/>
                    <a:pt x="132300" y="520235"/>
                    <a:pt x="270194" y="520235"/>
                  </a:cubicBezTo>
                  <a:cubicBezTo>
                    <a:pt x="408089" y="520235"/>
                    <a:pt x="520299" y="408025"/>
                    <a:pt x="520299" y="270131"/>
                  </a:cubicBezTo>
                  <a:cubicBezTo>
                    <a:pt x="520299" y="132236"/>
                    <a:pt x="408089" y="20026"/>
                    <a:pt x="270194" y="20026"/>
                  </a:cubicBezTo>
                  <a:close/>
                </a:path>
              </a:pathLst>
            </a:custGeom>
            <a:grpFill/>
            <a:ln w="0" cap="flat">
              <a:noFill/>
              <a:prstDash val="solid"/>
              <a:miter/>
            </a:ln>
          </p:spPr>
          <p:txBody>
            <a:bodyPr rtlCol="0" anchor="ctr"/>
            <a:lstStyle/>
            <a:p>
              <a:endParaRPr lang="sv-SE"/>
            </a:p>
          </p:txBody>
        </p:sp>
        <p:sp>
          <p:nvSpPr>
            <p:cNvPr id="6" name="Frihandsfigur: Form 5">
              <a:extLst>
                <a:ext uri="{FF2B5EF4-FFF2-40B4-BE49-F238E27FC236}">
                  <a16:creationId xmlns:a16="http://schemas.microsoft.com/office/drawing/2014/main" id="{E53D67FA-788D-F0AD-01D9-4C679F336DCC}"/>
                </a:ext>
              </a:extLst>
            </p:cNvPr>
            <p:cNvSpPr/>
            <p:nvPr/>
          </p:nvSpPr>
          <p:spPr>
            <a:xfrm>
              <a:off x="10870127" y="1887037"/>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26 h 540388"/>
                <a:gd name="connsiteX6" fmla="*/ 20090 w 540388"/>
                <a:gd name="connsiteY6" fmla="*/ 270131 h 540388"/>
                <a:gd name="connsiteX7" fmla="*/ 270194 w 540388"/>
                <a:gd name="connsiteY7" fmla="*/ 520235 h 540388"/>
                <a:gd name="connsiteX8" fmla="*/ 520299 w 540388"/>
                <a:gd name="connsiteY8" fmla="*/ 270131 h 540388"/>
                <a:gd name="connsiteX9" fmla="*/ 270194 w 540388"/>
                <a:gd name="connsiteY9" fmla="*/ 20026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26"/>
                  </a:moveTo>
                  <a:cubicBezTo>
                    <a:pt x="132300" y="20026"/>
                    <a:pt x="20090" y="132236"/>
                    <a:pt x="20090" y="270131"/>
                  </a:cubicBezTo>
                  <a:cubicBezTo>
                    <a:pt x="20090" y="408025"/>
                    <a:pt x="132300" y="520235"/>
                    <a:pt x="270194" y="520235"/>
                  </a:cubicBezTo>
                  <a:cubicBezTo>
                    <a:pt x="408089" y="520235"/>
                    <a:pt x="520299" y="408025"/>
                    <a:pt x="520299" y="270131"/>
                  </a:cubicBezTo>
                  <a:cubicBezTo>
                    <a:pt x="520299" y="132236"/>
                    <a:pt x="408089" y="20026"/>
                    <a:pt x="270194" y="20026"/>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9931D286-F5FD-B9A9-8CE6-DF1E5EDDD035}"/>
                </a:ext>
              </a:extLst>
            </p:cNvPr>
            <p:cNvSpPr/>
            <p:nvPr/>
          </p:nvSpPr>
          <p:spPr>
            <a:xfrm>
              <a:off x="9024478" y="2514904"/>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5C994D20-C574-8147-E476-C9DAF25CAF40}"/>
                </a:ext>
              </a:extLst>
            </p:cNvPr>
            <p:cNvSpPr/>
            <p:nvPr/>
          </p:nvSpPr>
          <p:spPr>
            <a:xfrm>
              <a:off x="9633019" y="2504859"/>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90 h 540388"/>
                <a:gd name="connsiteX6" fmla="*/ 20090 w 540388"/>
                <a:gd name="connsiteY6" fmla="*/ 270194 h 540388"/>
                <a:gd name="connsiteX7" fmla="*/ 270194 w 540388"/>
                <a:gd name="connsiteY7" fmla="*/ 520299 h 540388"/>
                <a:gd name="connsiteX8" fmla="*/ 520299 w 540388"/>
                <a:gd name="connsiteY8" fmla="*/ 270194 h 540388"/>
                <a:gd name="connsiteX9" fmla="*/ 270194 w 540388"/>
                <a:gd name="connsiteY9" fmla="*/ 20090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90"/>
                  </a:moveTo>
                  <a:cubicBezTo>
                    <a:pt x="132300" y="20090"/>
                    <a:pt x="20090" y="132300"/>
                    <a:pt x="20090" y="270194"/>
                  </a:cubicBezTo>
                  <a:cubicBezTo>
                    <a:pt x="20090" y="408089"/>
                    <a:pt x="132300" y="520299"/>
                    <a:pt x="270194" y="520299"/>
                  </a:cubicBezTo>
                  <a:cubicBezTo>
                    <a:pt x="408089" y="520299"/>
                    <a:pt x="520299" y="408089"/>
                    <a:pt x="520299" y="270194"/>
                  </a:cubicBezTo>
                  <a:cubicBezTo>
                    <a:pt x="520299" y="132300"/>
                    <a:pt x="408089" y="20090"/>
                    <a:pt x="270194" y="20090"/>
                  </a:cubicBezTo>
                  <a:close/>
                </a:path>
              </a:pathLst>
            </a:custGeom>
            <a:grpFill/>
            <a:ln w="0" cap="flat">
              <a:noFill/>
              <a:prstDash val="solid"/>
              <a:miter/>
            </a:ln>
          </p:spPr>
          <p:txBody>
            <a:bodyPr rtlCol="0" anchor="ctr"/>
            <a:lstStyle/>
            <a:p>
              <a:endParaRPr lang="sv-SE"/>
            </a:p>
          </p:txBody>
        </p:sp>
        <p:sp>
          <p:nvSpPr>
            <p:cNvPr id="11" name="Frihandsfigur: Form 10">
              <a:extLst>
                <a:ext uri="{FF2B5EF4-FFF2-40B4-BE49-F238E27FC236}">
                  <a16:creationId xmlns:a16="http://schemas.microsoft.com/office/drawing/2014/main" id="{784936B8-449D-B172-D1A3-535900BBDB31}"/>
                </a:ext>
              </a:extLst>
            </p:cNvPr>
            <p:cNvSpPr/>
            <p:nvPr/>
          </p:nvSpPr>
          <p:spPr>
            <a:xfrm>
              <a:off x="9019455" y="3132791"/>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5D0D4383-CFEB-C991-9026-9B3C0537F2EE}"/>
                </a:ext>
              </a:extLst>
            </p:cNvPr>
            <p:cNvSpPr/>
            <p:nvPr/>
          </p:nvSpPr>
          <p:spPr>
            <a:xfrm>
              <a:off x="10256563" y="3132791"/>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2"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DFBAD7BB-CF0A-34A2-C7E3-CC583B91EA4C}"/>
                </a:ext>
              </a:extLst>
            </p:cNvPr>
            <p:cNvSpPr/>
            <p:nvPr/>
          </p:nvSpPr>
          <p:spPr>
            <a:xfrm>
              <a:off x="10865104" y="3741268"/>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90 h 540388"/>
                <a:gd name="connsiteX6" fmla="*/ 20090 w 540388"/>
                <a:gd name="connsiteY6" fmla="*/ 270194 h 540388"/>
                <a:gd name="connsiteX7" fmla="*/ 270194 w 540388"/>
                <a:gd name="connsiteY7" fmla="*/ 520299 h 540388"/>
                <a:gd name="connsiteX8" fmla="*/ 520299 w 540388"/>
                <a:gd name="connsiteY8" fmla="*/ 270194 h 540388"/>
                <a:gd name="connsiteX9" fmla="*/ 270194 w 540388"/>
                <a:gd name="connsiteY9" fmla="*/ 20090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90"/>
                  </a:moveTo>
                  <a:cubicBezTo>
                    <a:pt x="132300" y="20090"/>
                    <a:pt x="20090" y="132300"/>
                    <a:pt x="20090" y="270194"/>
                  </a:cubicBezTo>
                  <a:cubicBezTo>
                    <a:pt x="20090" y="408089"/>
                    <a:pt x="132300" y="520299"/>
                    <a:pt x="270194" y="520299"/>
                  </a:cubicBezTo>
                  <a:cubicBezTo>
                    <a:pt x="408089" y="520299"/>
                    <a:pt x="520299" y="408089"/>
                    <a:pt x="520299" y="270194"/>
                  </a:cubicBezTo>
                  <a:cubicBezTo>
                    <a:pt x="520299" y="132300"/>
                    <a:pt x="408089" y="20090"/>
                    <a:pt x="270194" y="20090"/>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919FEC6F-33F5-04FC-562E-E336831B0566}"/>
                </a:ext>
              </a:extLst>
            </p:cNvPr>
            <p:cNvSpPr/>
            <p:nvPr/>
          </p:nvSpPr>
          <p:spPr>
            <a:xfrm>
              <a:off x="10256563" y="3750614"/>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2"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0ED23A72-C63B-783E-8127-4A1AF8D4C952}"/>
                </a:ext>
              </a:extLst>
            </p:cNvPr>
            <p:cNvSpPr/>
            <p:nvPr/>
          </p:nvSpPr>
          <p:spPr>
            <a:xfrm>
              <a:off x="10259106" y="4368500"/>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3CA7B663-FED3-D6AE-3F95-8156CDD72DE2}"/>
                </a:ext>
              </a:extLst>
            </p:cNvPr>
            <p:cNvSpPr/>
            <p:nvPr/>
          </p:nvSpPr>
          <p:spPr>
            <a:xfrm>
              <a:off x="10877628" y="4368500"/>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ED1EB195-15F0-561C-E97A-0DEB5C64C081}"/>
                </a:ext>
              </a:extLst>
            </p:cNvPr>
            <p:cNvSpPr/>
            <p:nvPr/>
          </p:nvSpPr>
          <p:spPr>
            <a:xfrm>
              <a:off x="9640520" y="4986386"/>
              <a:ext cx="520298" cy="520298"/>
            </a:xfrm>
            <a:custGeom>
              <a:avLst/>
              <a:gdLst>
                <a:gd name="connsiteX0" fmla="*/ 520299 w 520298"/>
                <a:gd name="connsiteY0" fmla="*/ 260149 h 520298"/>
                <a:gd name="connsiteX1" fmla="*/ 260149 w 520298"/>
                <a:gd name="connsiteY1" fmla="*/ 520299 h 520298"/>
                <a:gd name="connsiteX2" fmla="*/ 0 w 520298"/>
                <a:gd name="connsiteY2" fmla="*/ 260149 h 520298"/>
                <a:gd name="connsiteX3" fmla="*/ 260149 w 520298"/>
                <a:gd name="connsiteY3" fmla="*/ 0 h 520298"/>
                <a:gd name="connsiteX4" fmla="*/ 520299 w 520298"/>
                <a:gd name="connsiteY4" fmla="*/ 260149 h 52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298" h="520298">
                  <a:moveTo>
                    <a:pt x="520299" y="260149"/>
                  </a:moveTo>
                  <a:cubicBezTo>
                    <a:pt x="520299" y="403826"/>
                    <a:pt x="403826" y="520299"/>
                    <a:pt x="260149" y="520299"/>
                  </a:cubicBezTo>
                  <a:cubicBezTo>
                    <a:pt x="116473" y="520299"/>
                    <a:pt x="0" y="403826"/>
                    <a:pt x="0" y="260149"/>
                  </a:cubicBezTo>
                  <a:cubicBezTo>
                    <a:pt x="0" y="116473"/>
                    <a:pt x="116473" y="0"/>
                    <a:pt x="260149" y="0"/>
                  </a:cubicBezTo>
                  <a:cubicBezTo>
                    <a:pt x="403826" y="0"/>
                    <a:pt x="520299" y="116473"/>
                    <a:pt x="520299" y="260149"/>
                  </a:cubicBez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D28C9DDE-AE09-C07F-6071-0042D361EDE6}"/>
                </a:ext>
              </a:extLst>
            </p:cNvPr>
            <p:cNvSpPr/>
            <p:nvPr/>
          </p:nvSpPr>
          <p:spPr>
            <a:xfrm>
              <a:off x="10249061" y="4976341"/>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26 h 540388"/>
                <a:gd name="connsiteX6" fmla="*/ 20090 w 540388"/>
                <a:gd name="connsiteY6" fmla="*/ 270131 h 540388"/>
                <a:gd name="connsiteX7" fmla="*/ 270194 w 540388"/>
                <a:gd name="connsiteY7" fmla="*/ 520235 h 540388"/>
                <a:gd name="connsiteX8" fmla="*/ 520299 w 540388"/>
                <a:gd name="connsiteY8" fmla="*/ 270131 h 540388"/>
                <a:gd name="connsiteX9" fmla="*/ 270194 w 540388"/>
                <a:gd name="connsiteY9" fmla="*/ 20026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26"/>
                  </a:moveTo>
                  <a:cubicBezTo>
                    <a:pt x="132300" y="20026"/>
                    <a:pt x="20090" y="132236"/>
                    <a:pt x="20090" y="270131"/>
                  </a:cubicBezTo>
                  <a:cubicBezTo>
                    <a:pt x="20090" y="408025"/>
                    <a:pt x="132300" y="520235"/>
                    <a:pt x="270194" y="520235"/>
                  </a:cubicBezTo>
                  <a:cubicBezTo>
                    <a:pt x="408089" y="520235"/>
                    <a:pt x="520299" y="408025"/>
                    <a:pt x="520299" y="270131"/>
                  </a:cubicBezTo>
                  <a:cubicBezTo>
                    <a:pt x="520299" y="132236"/>
                    <a:pt x="408089" y="20026"/>
                    <a:pt x="270194" y="20026"/>
                  </a:cubicBez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DF094EAB-1277-A54C-524E-A8A0C6254005}"/>
                </a:ext>
              </a:extLst>
            </p:cNvPr>
            <p:cNvSpPr/>
            <p:nvPr/>
          </p:nvSpPr>
          <p:spPr>
            <a:xfrm>
              <a:off x="8403413" y="5604146"/>
              <a:ext cx="2376055" cy="520362"/>
            </a:xfrm>
            <a:custGeom>
              <a:avLst/>
              <a:gdLst>
                <a:gd name="connsiteX0" fmla="*/ 2117115 w 2376055"/>
                <a:gd name="connsiteY0" fmla="*/ 64 h 520362"/>
                <a:gd name="connsiteX1" fmla="*/ 1894347 w 2376055"/>
                <a:gd name="connsiteY1" fmla="*/ 123654 h 520362"/>
                <a:gd name="connsiteX2" fmla="*/ 1806614 w 2376055"/>
                <a:gd name="connsiteY2" fmla="*/ 173242 h 520362"/>
                <a:gd name="connsiteX3" fmla="*/ 1806360 w 2376055"/>
                <a:gd name="connsiteY3" fmla="*/ 173242 h 520362"/>
                <a:gd name="connsiteX4" fmla="*/ 1719071 w 2376055"/>
                <a:gd name="connsiteY4" fmla="*/ 124289 h 520362"/>
                <a:gd name="connsiteX5" fmla="*/ 1497194 w 2376055"/>
                <a:gd name="connsiteY5" fmla="*/ 0 h 520362"/>
                <a:gd name="connsiteX6" fmla="*/ 1275317 w 2376055"/>
                <a:gd name="connsiteY6" fmla="*/ 124289 h 520362"/>
                <a:gd name="connsiteX7" fmla="*/ 1188028 w 2376055"/>
                <a:gd name="connsiteY7" fmla="*/ 173242 h 520362"/>
                <a:gd name="connsiteX8" fmla="*/ 1187774 w 2376055"/>
                <a:gd name="connsiteY8" fmla="*/ 173242 h 520362"/>
                <a:gd name="connsiteX9" fmla="*/ 1100485 w 2376055"/>
                <a:gd name="connsiteY9" fmla="*/ 124289 h 520362"/>
                <a:gd name="connsiteX10" fmla="*/ 878608 w 2376055"/>
                <a:gd name="connsiteY10" fmla="*/ 0 h 520362"/>
                <a:gd name="connsiteX11" fmla="*/ 656731 w 2376055"/>
                <a:gd name="connsiteY11" fmla="*/ 124289 h 520362"/>
                <a:gd name="connsiteX12" fmla="*/ 569442 w 2376055"/>
                <a:gd name="connsiteY12" fmla="*/ 173242 h 520362"/>
                <a:gd name="connsiteX13" fmla="*/ 569188 w 2376055"/>
                <a:gd name="connsiteY13" fmla="*/ 173242 h 520362"/>
                <a:gd name="connsiteX14" fmla="*/ 481454 w 2376055"/>
                <a:gd name="connsiteY14" fmla="*/ 123654 h 520362"/>
                <a:gd name="connsiteX15" fmla="*/ 258687 w 2376055"/>
                <a:gd name="connsiteY15" fmla="*/ 64 h 520362"/>
                <a:gd name="connsiteX16" fmla="*/ 0 w 2376055"/>
                <a:gd name="connsiteY16" fmla="*/ 260213 h 520362"/>
                <a:gd name="connsiteX17" fmla="*/ 260149 w 2376055"/>
                <a:gd name="connsiteY17" fmla="*/ 520362 h 520362"/>
                <a:gd name="connsiteX18" fmla="*/ 482026 w 2376055"/>
                <a:gd name="connsiteY18" fmla="*/ 396073 h 520362"/>
                <a:gd name="connsiteX19" fmla="*/ 569315 w 2376055"/>
                <a:gd name="connsiteY19" fmla="*/ 347120 h 520362"/>
                <a:gd name="connsiteX20" fmla="*/ 569569 w 2376055"/>
                <a:gd name="connsiteY20" fmla="*/ 347120 h 520362"/>
                <a:gd name="connsiteX21" fmla="*/ 656858 w 2376055"/>
                <a:gd name="connsiteY21" fmla="*/ 396073 h 520362"/>
                <a:gd name="connsiteX22" fmla="*/ 878735 w 2376055"/>
                <a:gd name="connsiteY22" fmla="*/ 520362 h 520362"/>
                <a:gd name="connsiteX23" fmla="*/ 1100612 w 2376055"/>
                <a:gd name="connsiteY23" fmla="*/ 396073 h 520362"/>
                <a:gd name="connsiteX24" fmla="*/ 1187901 w 2376055"/>
                <a:gd name="connsiteY24" fmla="*/ 347120 h 520362"/>
                <a:gd name="connsiteX25" fmla="*/ 1188155 w 2376055"/>
                <a:gd name="connsiteY25" fmla="*/ 347120 h 520362"/>
                <a:gd name="connsiteX26" fmla="*/ 1275444 w 2376055"/>
                <a:gd name="connsiteY26" fmla="*/ 396073 h 520362"/>
                <a:gd name="connsiteX27" fmla="*/ 1497321 w 2376055"/>
                <a:gd name="connsiteY27" fmla="*/ 520362 h 520362"/>
                <a:gd name="connsiteX28" fmla="*/ 1719198 w 2376055"/>
                <a:gd name="connsiteY28" fmla="*/ 396073 h 520362"/>
                <a:gd name="connsiteX29" fmla="*/ 1806487 w 2376055"/>
                <a:gd name="connsiteY29" fmla="*/ 347120 h 520362"/>
                <a:gd name="connsiteX30" fmla="*/ 1806741 w 2376055"/>
                <a:gd name="connsiteY30" fmla="*/ 347120 h 520362"/>
                <a:gd name="connsiteX31" fmla="*/ 1894030 w 2376055"/>
                <a:gd name="connsiteY31" fmla="*/ 396073 h 520362"/>
                <a:gd name="connsiteX32" fmla="*/ 2115907 w 2376055"/>
                <a:gd name="connsiteY32" fmla="*/ 520362 h 520362"/>
                <a:gd name="connsiteX33" fmla="*/ 2376056 w 2376055"/>
                <a:gd name="connsiteY33" fmla="*/ 260213 h 520362"/>
                <a:gd name="connsiteX34" fmla="*/ 2117178 w 2376055"/>
                <a:gd name="connsiteY34" fmla="*/ 64 h 52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76055" h="520362">
                  <a:moveTo>
                    <a:pt x="2117115" y="64"/>
                  </a:moveTo>
                  <a:cubicBezTo>
                    <a:pt x="2022960" y="-381"/>
                    <a:pt x="1940439" y="49143"/>
                    <a:pt x="1894347" y="123654"/>
                  </a:cubicBezTo>
                  <a:cubicBezTo>
                    <a:pt x="1875466" y="154233"/>
                    <a:pt x="1842534" y="173242"/>
                    <a:pt x="1806614" y="173242"/>
                  </a:cubicBezTo>
                  <a:lnTo>
                    <a:pt x="1806360" y="173242"/>
                  </a:lnTo>
                  <a:cubicBezTo>
                    <a:pt x="1770757" y="173242"/>
                    <a:pt x="1737698" y="154678"/>
                    <a:pt x="1719071" y="124289"/>
                  </a:cubicBezTo>
                  <a:cubicBezTo>
                    <a:pt x="1673297" y="49779"/>
                    <a:pt x="1591094" y="0"/>
                    <a:pt x="1497194" y="0"/>
                  </a:cubicBezTo>
                  <a:cubicBezTo>
                    <a:pt x="1403293" y="0"/>
                    <a:pt x="1321091" y="49716"/>
                    <a:pt x="1275317" y="124289"/>
                  </a:cubicBezTo>
                  <a:cubicBezTo>
                    <a:pt x="1256689" y="154678"/>
                    <a:pt x="1223630" y="173242"/>
                    <a:pt x="1188028" y="173242"/>
                  </a:cubicBezTo>
                  <a:lnTo>
                    <a:pt x="1187774" y="173242"/>
                  </a:lnTo>
                  <a:cubicBezTo>
                    <a:pt x="1152172" y="173242"/>
                    <a:pt x="1119113" y="154678"/>
                    <a:pt x="1100485" y="124289"/>
                  </a:cubicBezTo>
                  <a:cubicBezTo>
                    <a:pt x="1054711" y="49779"/>
                    <a:pt x="972508" y="0"/>
                    <a:pt x="878608" y="0"/>
                  </a:cubicBezTo>
                  <a:cubicBezTo>
                    <a:pt x="784708" y="0"/>
                    <a:pt x="702505" y="49716"/>
                    <a:pt x="656731" y="124289"/>
                  </a:cubicBezTo>
                  <a:cubicBezTo>
                    <a:pt x="638103" y="154678"/>
                    <a:pt x="605044" y="173242"/>
                    <a:pt x="569442" y="173242"/>
                  </a:cubicBezTo>
                  <a:lnTo>
                    <a:pt x="569188" y="173242"/>
                  </a:lnTo>
                  <a:cubicBezTo>
                    <a:pt x="533268" y="173242"/>
                    <a:pt x="500336" y="154233"/>
                    <a:pt x="481454" y="123654"/>
                  </a:cubicBezTo>
                  <a:cubicBezTo>
                    <a:pt x="435426" y="49143"/>
                    <a:pt x="352842" y="-381"/>
                    <a:pt x="258687" y="64"/>
                  </a:cubicBezTo>
                  <a:cubicBezTo>
                    <a:pt x="115516" y="763"/>
                    <a:pt x="0" y="116851"/>
                    <a:pt x="0" y="260213"/>
                  </a:cubicBezTo>
                  <a:cubicBezTo>
                    <a:pt x="0" y="403892"/>
                    <a:pt x="116470" y="520362"/>
                    <a:pt x="260149" y="520362"/>
                  </a:cubicBezTo>
                  <a:cubicBezTo>
                    <a:pt x="354050" y="520362"/>
                    <a:pt x="436252" y="470646"/>
                    <a:pt x="482026" y="396073"/>
                  </a:cubicBezTo>
                  <a:cubicBezTo>
                    <a:pt x="500654" y="365684"/>
                    <a:pt x="533713" y="347120"/>
                    <a:pt x="569315" y="347120"/>
                  </a:cubicBezTo>
                  <a:lnTo>
                    <a:pt x="569569" y="347120"/>
                  </a:lnTo>
                  <a:cubicBezTo>
                    <a:pt x="605171" y="347120"/>
                    <a:pt x="638230" y="365684"/>
                    <a:pt x="656858" y="396073"/>
                  </a:cubicBezTo>
                  <a:cubicBezTo>
                    <a:pt x="702632" y="470583"/>
                    <a:pt x="784835" y="520362"/>
                    <a:pt x="878735" y="520362"/>
                  </a:cubicBezTo>
                  <a:cubicBezTo>
                    <a:pt x="972636" y="520362"/>
                    <a:pt x="1054838" y="470646"/>
                    <a:pt x="1100612" y="396073"/>
                  </a:cubicBezTo>
                  <a:cubicBezTo>
                    <a:pt x="1119240" y="365684"/>
                    <a:pt x="1152299" y="347120"/>
                    <a:pt x="1187901" y="347120"/>
                  </a:cubicBezTo>
                  <a:lnTo>
                    <a:pt x="1188155" y="347120"/>
                  </a:lnTo>
                  <a:cubicBezTo>
                    <a:pt x="1223757" y="347120"/>
                    <a:pt x="1256816" y="365684"/>
                    <a:pt x="1275444" y="396073"/>
                  </a:cubicBezTo>
                  <a:cubicBezTo>
                    <a:pt x="1321218" y="470583"/>
                    <a:pt x="1403420" y="520362"/>
                    <a:pt x="1497321" y="520362"/>
                  </a:cubicBezTo>
                  <a:cubicBezTo>
                    <a:pt x="1591221" y="520362"/>
                    <a:pt x="1673424" y="470646"/>
                    <a:pt x="1719198" y="396073"/>
                  </a:cubicBezTo>
                  <a:cubicBezTo>
                    <a:pt x="1737826" y="365684"/>
                    <a:pt x="1770884" y="347120"/>
                    <a:pt x="1806487" y="347120"/>
                  </a:cubicBezTo>
                  <a:lnTo>
                    <a:pt x="1806741" y="347120"/>
                  </a:lnTo>
                  <a:cubicBezTo>
                    <a:pt x="1842343" y="347120"/>
                    <a:pt x="1875402" y="365684"/>
                    <a:pt x="1894030" y="396073"/>
                  </a:cubicBezTo>
                  <a:cubicBezTo>
                    <a:pt x="1939804" y="470583"/>
                    <a:pt x="2022006" y="520362"/>
                    <a:pt x="2115907" y="520362"/>
                  </a:cubicBezTo>
                  <a:cubicBezTo>
                    <a:pt x="2259587" y="520362"/>
                    <a:pt x="2376056" y="403892"/>
                    <a:pt x="2376056" y="260213"/>
                  </a:cubicBezTo>
                  <a:cubicBezTo>
                    <a:pt x="2376056" y="116851"/>
                    <a:pt x="2260540" y="763"/>
                    <a:pt x="2117178" y="64"/>
                  </a:cubicBez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1777502A-0596-D9C3-8E9D-46E1397F2D2F}"/>
                </a:ext>
              </a:extLst>
            </p:cNvPr>
            <p:cNvSpPr/>
            <p:nvPr/>
          </p:nvSpPr>
          <p:spPr>
            <a:xfrm>
              <a:off x="10862561" y="5594164"/>
              <a:ext cx="540388" cy="540388"/>
            </a:xfrm>
            <a:custGeom>
              <a:avLst/>
              <a:gdLst>
                <a:gd name="connsiteX0" fmla="*/ 270194 w 540388"/>
                <a:gd name="connsiteY0" fmla="*/ 540388 h 540388"/>
                <a:gd name="connsiteX1" fmla="*/ 0 w 540388"/>
                <a:gd name="connsiteY1" fmla="*/ 270194 h 540388"/>
                <a:gd name="connsiteX2" fmla="*/ 270194 w 540388"/>
                <a:gd name="connsiteY2" fmla="*/ 0 h 540388"/>
                <a:gd name="connsiteX3" fmla="*/ 540388 w 540388"/>
                <a:gd name="connsiteY3" fmla="*/ 270194 h 540388"/>
                <a:gd name="connsiteX4" fmla="*/ 270194 w 540388"/>
                <a:gd name="connsiteY4" fmla="*/ 540388 h 540388"/>
                <a:gd name="connsiteX5" fmla="*/ 270194 w 540388"/>
                <a:gd name="connsiteY5" fmla="*/ 20090 h 540388"/>
                <a:gd name="connsiteX6" fmla="*/ 20090 w 540388"/>
                <a:gd name="connsiteY6" fmla="*/ 270194 h 540388"/>
                <a:gd name="connsiteX7" fmla="*/ 270194 w 540388"/>
                <a:gd name="connsiteY7" fmla="*/ 520299 h 540388"/>
                <a:gd name="connsiteX8" fmla="*/ 520299 w 540388"/>
                <a:gd name="connsiteY8" fmla="*/ 270194 h 540388"/>
                <a:gd name="connsiteX9" fmla="*/ 270194 w 540388"/>
                <a:gd name="connsiteY9" fmla="*/ 20090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388" h="540388">
                  <a:moveTo>
                    <a:pt x="270194" y="540388"/>
                  </a:moveTo>
                  <a:cubicBezTo>
                    <a:pt x="121238" y="540388"/>
                    <a:pt x="0" y="419151"/>
                    <a:pt x="0" y="270194"/>
                  </a:cubicBezTo>
                  <a:cubicBezTo>
                    <a:pt x="0" y="121238"/>
                    <a:pt x="121238" y="0"/>
                    <a:pt x="270194" y="0"/>
                  </a:cubicBezTo>
                  <a:cubicBezTo>
                    <a:pt x="419151" y="0"/>
                    <a:pt x="540388" y="121238"/>
                    <a:pt x="540388" y="270194"/>
                  </a:cubicBezTo>
                  <a:cubicBezTo>
                    <a:pt x="540388" y="419151"/>
                    <a:pt x="419151" y="540388"/>
                    <a:pt x="270194" y="540388"/>
                  </a:cubicBezTo>
                  <a:close/>
                  <a:moveTo>
                    <a:pt x="270194" y="20090"/>
                  </a:moveTo>
                  <a:cubicBezTo>
                    <a:pt x="132300" y="20090"/>
                    <a:pt x="20090" y="132300"/>
                    <a:pt x="20090" y="270194"/>
                  </a:cubicBezTo>
                  <a:cubicBezTo>
                    <a:pt x="20090" y="408089"/>
                    <a:pt x="132300" y="520299"/>
                    <a:pt x="270194" y="520299"/>
                  </a:cubicBezTo>
                  <a:cubicBezTo>
                    <a:pt x="408089" y="520299"/>
                    <a:pt x="520299" y="408089"/>
                    <a:pt x="520299" y="270194"/>
                  </a:cubicBezTo>
                  <a:cubicBezTo>
                    <a:pt x="520299" y="132300"/>
                    <a:pt x="408089" y="20090"/>
                    <a:pt x="270194" y="20090"/>
                  </a:cubicBez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7B17A098-18F0-090D-EB40-CA296634E324}"/>
                </a:ext>
              </a:extLst>
            </p:cNvPr>
            <p:cNvSpPr/>
            <p:nvPr/>
          </p:nvSpPr>
          <p:spPr>
            <a:xfrm>
              <a:off x="9024541" y="1897015"/>
              <a:ext cx="1138820" cy="520301"/>
            </a:xfrm>
            <a:custGeom>
              <a:avLst/>
              <a:gdLst>
                <a:gd name="connsiteX0" fmla="*/ 879943 w 1138820"/>
                <a:gd name="connsiteY0" fmla="*/ 3 h 520301"/>
                <a:gd name="connsiteX1" fmla="*/ 656032 w 1138820"/>
                <a:gd name="connsiteY1" fmla="*/ 125500 h 520301"/>
                <a:gd name="connsiteX2" fmla="*/ 571731 w 1138820"/>
                <a:gd name="connsiteY2" fmla="*/ 173181 h 520301"/>
                <a:gd name="connsiteX3" fmla="*/ 567090 w 1138820"/>
                <a:gd name="connsiteY3" fmla="*/ 173181 h 520301"/>
                <a:gd name="connsiteX4" fmla="*/ 482789 w 1138820"/>
                <a:gd name="connsiteY4" fmla="*/ 125500 h 520301"/>
                <a:gd name="connsiteX5" fmla="*/ 258878 w 1138820"/>
                <a:gd name="connsiteY5" fmla="*/ 3 h 520301"/>
                <a:gd name="connsiteX6" fmla="*/ 0 w 1138820"/>
                <a:gd name="connsiteY6" fmla="*/ 260152 h 520301"/>
                <a:gd name="connsiteX7" fmla="*/ 260149 w 1138820"/>
                <a:gd name="connsiteY7" fmla="*/ 520302 h 520301"/>
                <a:gd name="connsiteX8" fmla="*/ 483171 w 1138820"/>
                <a:gd name="connsiteY8" fmla="*/ 394169 h 520301"/>
                <a:gd name="connsiteX9" fmla="*/ 567090 w 1138820"/>
                <a:gd name="connsiteY9" fmla="*/ 347123 h 520301"/>
                <a:gd name="connsiteX10" fmla="*/ 571731 w 1138820"/>
                <a:gd name="connsiteY10" fmla="*/ 347123 h 520301"/>
                <a:gd name="connsiteX11" fmla="*/ 655650 w 1138820"/>
                <a:gd name="connsiteY11" fmla="*/ 394169 h 520301"/>
                <a:gd name="connsiteX12" fmla="*/ 878672 w 1138820"/>
                <a:gd name="connsiteY12" fmla="*/ 520302 h 520301"/>
                <a:gd name="connsiteX13" fmla="*/ 1138821 w 1138820"/>
                <a:gd name="connsiteY13" fmla="*/ 260152 h 520301"/>
                <a:gd name="connsiteX14" fmla="*/ 879943 w 1138820"/>
                <a:gd name="connsiteY14" fmla="*/ 3 h 52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8820" h="520301">
                  <a:moveTo>
                    <a:pt x="879943" y="3"/>
                  </a:moveTo>
                  <a:cubicBezTo>
                    <a:pt x="785025" y="-442"/>
                    <a:pt x="701869" y="49909"/>
                    <a:pt x="656032" y="125500"/>
                  </a:cubicBezTo>
                  <a:cubicBezTo>
                    <a:pt x="638167" y="154999"/>
                    <a:pt x="606252" y="173181"/>
                    <a:pt x="571731" y="173181"/>
                  </a:cubicBezTo>
                  <a:lnTo>
                    <a:pt x="567090" y="173181"/>
                  </a:lnTo>
                  <a:cubicBezTo>
                    <a:pt x="532569" y="173181"/>
                    <a:pt x="500654" y="154999"/>
                    <a:pt x="482789" y="125500"/>
                  </a:cubicBezTo>
                  <a:cubicBezTo>
                    <a:pt x="437015" y="49909"/>
                    <a:pt x="353796" y="-442"/>
                    <a:pt x="258878" y="3"/>
                  </a:cubicBezTo>
                  <a:cubicBezTo>
                    <a:pt x="115516" y="702"/>
                    <a:pt x="0" y="116790"/>
                    <a:pt x="0" y="260152"/>
                  </a:cubicBezTo>
                  <a:cubicBezTo>
                    <a:pt x="0" y="403832"/>
                    <a:pt x="116470" y="520302"/>
                    <a:pt x="260149" y="520302"/>
                  </a:cubicBezTo>
                  <a:cubicBezTo>
                    <a:pt x="354813" y="520302"/>
                    <a:pt x="437651" y="469759"/>
                    <a:pt x="483171" y="394169"/>
                  </a:cubicBezTo>
                  <a:cubicBezTo>
                    <a:pt x="500845" y="364797"/>
                    <a:pt x="532823" y="347123"/>
                    <a:pt x="567090" y="347123"/>
                  </a:cubicBezTo>
                  <a:lnTo>
                    <a:pt x="571731" y="347123"/>
                  </a:lnTo>
                  <a:cubicBezTo>
                    <a:pt x="605998" y="347123"/>
                    <a:pt x="637976" y="364797"/>
                    <a:pt x="655650" y="394169"/>
                  </a:cubicBezTo>
                  <a:cubicBezTo>
                    <a:pt x="701170" y="469759"/>
                    <a:pt x="784008" y="520302"/>
                    <a:pt x="878672" y="520302"/>
                  </a:cubicBezTo>
                  <a:cubicBezTo>
                    <a:pt x="1022351" y="520302"/>
                    <a:pt x="1138821" y="403832"/>
                    <a:pt x="1138821" y="260152"/>
                  </a:cubicBezTo>
                  <a:cubicBezTo>
                    <a:pt x="1138821" y="116790"/>
                    <a:pt x="1023305" y="702"/>
                    <a:pt x="879943" y="3"/>
                  </a:cubicBez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00850CB6-6251-9998-372E-88098AC4A2B8}"/>
                </a:ext>
              </a:extLst>
            </p:cNvPr>
            <p:cNvSpPr/>
            <p:nvPr/>
          </p:nvSpPr>
          <p:spPr>
            <a:xfrm>
              <a:off x="9633019" y="3122809"/>
              <a:ext cx="540391" cy="1777496"/>
            </a:xfrm>
            <a:custGeom>
              <a:avLst/>
              <a:gdLst>
                <a:gd name="connsiteX0" fmla="*/ 270194 w 540391"/>
                <a:gd name="connsiteY0" fmla="*/ 1777433 h 1777496"/>
                <a:gd name="connsiteX1" fmla="*/ 270194 w 540391"/>
                <a:gd name="connsiteY1" fmla="*/ 1777433 h 1777496"/>
                <a:gd name="connsiteX2" fmla="*/ 0 w 540391"/>
                <a:gd name="connsiteY2" fmla="*/ 1507238 h 1777496"/>
                <a:gd name="connsiteX3" fmla="*/ 129057 w 540391"/>
                <a:gd name="connsiteY3" fmla="*/ 1276842 h 1777496"/>
                <a:gd name="connsiteX4" fmla="*/ 173179 w 540391"/>
                <a:gd name="connsiteY4" fmla="*/ 1198073 h 1777496"/>
                <a:gd name="connsiteX5" fmla="*/ 129057 w 540391"/>
                <a:gd name="connsiteY5" fmla="*/ 1119113 h 1777496"/>
                <a:gd name="connsiteX6" fmla="*/ 0 w 540391"/>
                <a:gd name="connsiteY6" fmla="*/ 888716 h 1777496"/>
                <a:gd name="connsiteX7" fmla="*/ 129057 w 540391"/>
                <a:gd name="connsiteY7" fmla="*/ 658320 h 1777496"/>
                <a:gd name="connsiteX8" fmla="*/ 173179 w 540391"/>
                <a:gd name="connsiteY8" fmla="*/ 579551 h 1777496"/>
                <a:gd name="connsiteX9" fmla="*/ 129057 w 540391"/>
                <a:gd name="connsiteY9" fmla="*/ 500590 h 1777496"/>
                <a:gd name="connsiteX10" fmla="*/ 0 w 540391"/>
                <a:gd name="connsiteY10" fmla="*/ 270194 h 1777496"/>
                <a:gd name="connsiteX11" fmla="*/ 270194 w 540391"/>
                <a:gd name="connsiteY11" fmla="*/ 0 h 1777496"/>
                <a:gd name="connsiteX12" fmla="*/ 540388 w 540391"/>
                <a:gd name="connsiteY12" fmla="*/ 268859 h 1777496"/>
                <a:gd name="connsiteX13" fmla="*/ 412030 w 540391"/>
                <a:gd name="connsiteY13" fmla="*/ 500209 h 1777496"/>
                <a:gd name="connsiteX14" fmla="*/ 367210 w 540391"/>
                <a:gd name="connsiteY14" fmla="*/ 579360 h 1777496"/>
                <a:gd name="connsiteX15" fmla="*/ 411331 w 540391"/>
                <a:gd name="connsiteY15" fmla="*/ 658320 h 1777496"/>
                <a:gd name="connsiteX16" fmla="*/ 540388 w 540391"/>
                <a:gd name="connsiteY16" fmla="*/ 888716 h 1777496"/>
                <a:gd name="connsiteX17" fmla="*/ 411331 w 540391"/>
                <a:gd name="connsiteY17" fmla="*/ 1119113 h 1777496"/>
                <a:gd name="connsiteX18" fmla="*/ 367210 w 540391"/>
                <a:gd name="connsiteY18" fmla="*/ 1197882 h 1777496"/>
                <a:gd name="connsiteX19" fmla="*/ 412030 w 540391"/>
                <a:gd name="connsiteY19" fmla="*/ 1277287 h 1777496"/>
                <a:gd name="connsiteX20" fmla="*/ 540388 w 540391"/>
                <a:gd name="connsiteY20" fmla="*/ 1508637 h 1777496"/>
                <a:gd name="connsiteX21" fmla="*/ 270194 w 540391"/>
                <a:gd name="connsiteY21" fmla="*/ 1777496 h 1777496"/>
                <a:gd name="connsiteX22" fmla="*/ 270194 w 540391"/>
                <a:gd name="connsiteY22" fmla="*/ 20026 h 1777496"/>
                <a:gd name="connsiteX23" fmla="*/ 20090 w 540391"/>
                <a:gd name="connsiteY23" fmla="*/ 270131 h 1777496"/>
                <a:gd name="connsiteX24" fmla="*/ 139547 w 540391"/>
                <a:gd name="connsiteY24" fmla="*/ 483425 h 1777496"/>
                <a:gd name="connsiteX25" fmla="*/ 193268 w 540391"/>
                <a:gd name="connsiteY25" fmla="*/ 579296 h 1777496"/>
                <a:gd name="connsiteX26" fmla="*/ 139547 w 540391"/>
                <a:gd name="connsiteY26" fmla="*/ 675358 h 1777496"/>
                <a:gd name="connsiteX27" fmla="*/ 20090 w 540391"/>
                <a:gd name="connsiteY27" fmla="*/ 888653 h 1777496"/>
                <a:gd name="connsiteX28" fmla="*/ 139547 w 540391"/>
                <a:gd name="connsiteY28" fmla="*/ 1101947 h 1777496"/>
                <a:gd name="connsiteX29" fmla="*/ 193268 w 540391"/>
                <a:gd name="connsiteY29" fmla="*/ 1197819 h 1777496"/>
                <a:gd name="connsiteX30" fmla="*/ 139547 w 540391"/>
                <a:gd name="connsiteY30" fmla="*/ 1293881 h 1777496"/>
                <a:gd name="connsiteX31" fmla="*/ 20090 w 540391"/>
                <a:gd name="connsiteY31" fmla="*/ 1507175 h 1777496"/>
                <a:gd name="connsiteX32" fmla="*/ 270194 w 540391"/>
                <a:gd name="connsiteY32" fmla="*/ 1757279 h 1777496"/>
                <a:gd name="connsiteX33" fmla="*/ 520299 w 540391"/>
                <a:gd name="connsiteY33" fmla="*/ 1508383 h 1777496"/>
                <a:gd name="connsiteX34" fmla="*/ 530343 w 540391"/>
                <a:gd name="connsiteY34" fmla="*/ 1508383 h 1777496"/>
                <a:gd name="connsiteX35" fmla="*/ 520299 w 540391"/>
                <a:gd name="connsiteY35" fmla="*/ 1508383 h 1777496"/>
                <a:gd name="connsiteX36" fmla="*/ 401477 w 540391"/>
                <a:gd name="connsiteY36" fmla="*/ 1294262 h 1777496"/>
                <a:gd name="connsiteX37" fmla="*/ 347120 w 540391"/>
                <a:gd name="connsiteY37" fmla="*/ 1198009 h 1777496"/>
                <a:gd name="connsiteX38" fmla="*/ 400841 w 540391"/>
                <a:gd name="connsiteY38" fmla="*/ 1101947 h 1777496"/>
                <a:gd name="connsiteX39" fmla="*/ 520299 w 540391"/>
                <a:gd name="connsiteY39" fmla="*/ 888653 h 1777496"/>
                <a:gd name="connsiteX40" fmla="*/ 400841 w 540391"/>
                <a:gd name="connsiteY40" fmla="*/ 675358 h 1777496"/>
                <a:gd name="connsiteX41" fmla="*/ 347120 w 540391"/>
                <a:gd name="connsiteY41" fmla="*/ 579487 h 1777496"/>
                <a:gd name="connsiteX42" fmla="*/ 401477 w 540391"/>
                <a:gd name="connsiteY42" fmla="*/ 483044 h 1777496"/>
                <a:gd name="connsiteX43" fmla="*/ 520299 w 540391"/>
                <a:gd name="connsiteY43" fmla="*/ 268923 h 1777496"/>
                <a:gd name="connsiteX44" fmla="*/ 270194 w 540391"/>
                <a:gd name="connsiteY44" fmla="*/ 20026 h 177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40391" h="1777496">
                  <a:moveTo>
                    <a:pt x="270194" y="1777433"/>
                  </a:moveTo>
                  <a:cubicBezTo>
                    <a:pt x="270194" y="1777433"/>
                    <a:pt x="270194" y="1777433"/>
                    <a:pt x="270194" y="1777433"/>
                  </a:cubicBezTo>
                  <a:cubicBezTo>
                    <a:pt x="121238" y="1777433"/>
                    <a:pt x="0" y="1656195"/>
                    <a:pt x="0" y="1507238"/>
                  </a:cubicBezTo>
                  <a:cubicBezTo>
                    <a:pt x="0" y="1412575"/>
                    <a:pt x="48253" y="1326431"/>
                    <a:pt x="129057" y="1276842"/>
                  </a:cubicBezTo>
                  <a:cubicBezTo>
                    <a:pt x="156268" y="1260122"/>
                    <a:pt x="173179" y="1229987"/>
                    <a:pt x="173179" y="1198073"/>
                  </a:cubicBezTo>
                  <a:cubicBezTo>
                    <a:pt x="173179" y="1166158"/>
                    <a:pt x="156268" y="1135833"/>
                    <a:pt x="129057" y="1119113"/>
                  </a:cubicBezTo>
                  <a:cubicBezTo>
                    <a:pt x="48253" y="1069524"/>
                    <a:pt x="0" y="983380"/>
                    <a:pt x="0" y="888716"/>
                  </a:cubicBezTo>
                  <a:cubicBezTo>
                    <a:pt x="0" y="794053"/>
                    <a:pt x="48253" y="707909"/>
                    <a:pt x="129057" y="658320"/>
                  </a:cubicBezTo>
                  <a:cubicBezTo>
                    <a:pt x="156268" y="641600"/>
                    <a:pt x="173179" y="611465"/>
                    <a:pt x="173179" y="579551"/>
                  </a:cubicBezTo>
                  <a:cubicBezTo>
                    <a:pt x="173179" y="547636"/>
                    <a:pt x="156268" y="517311"/>
                    <a:pt x="129057" y="500590"/>
                  </a:cubicBezTo>
                  <a:cubicBezTo>
                    <a:pt x="48253" y="451002"/>
                    <a:pt x="0" y="364858"/>
                    <a:pt x="0" y="270194"/>
                  </a:cubicBezTo>
                  <a:cubicBezTo>
                    <a:pt x="0" y="121238"/>
                    <a:pt x="121238" y="0"/>
                    <a:pt x="270194" y="0"/>
                  </a:cubicBezTo>
                  <a:cubicBezTo>
                    <a:pt x="418451" y="0"/>
                    <a:pt x="539689" y="120602"/>
                    <a:pt x="540388" y="268859"/>
                  </a:cubicBezTo>
                  <a:cubicBezTo>
                    <a:pt x="540833" y="363777"/>
                    <a:pt x="492834" y="450239"/>
                    <a:pt x="412030" y="500209"/>
                  </a:cubicBezTo>
                  <a:cubicBezTo>
                    <a:pt x="383994" y="517565"/>
                    <a:pt x="367210" y="547127"/>
                    <a:pt x="367210" y="579360"/>
                  </a:cubicBezTo>
                  <a:cubicBezTo>
                    <a:pt x="367210" y="611593"/>
                    <a:pt x="384121" y="641600"/>
                    <a:pt x="411331" y="658320"/>
                  </a:cubicBezTo>
                  <a:cubicBezTo>
                    <a:pt x="492135" y="707909"/>
                    <a:pt x="540388" y="794053"/>
                    <a:pt x="540388" y="888716"/>
                  </a:cubicBezTo>
                  <a:cubicBezTo>
                    <a:pt x="540388" y="983380"/>
                    <a:pt x="492135" y="1069524"/>
                    <a:pt x="411331" y="1119113"/>
                  </a:cubicBezTo>
                  <a:cubicBezTo>
                    <a:pt x="384121" y="1135833"/>
                    <a:pt x="367210" y="1165967"/>
                    <a:pt x="367210" y="1197882"/>
                  </a:cubicBezTo>
                  <a:cubicBezTo>
                    <a:pt x="367210" y="1229797"/>
                    <a:pt x="383994" y="1259932"/>
                    <a:pt x="412030" y="1277287"/>
                  </a:cubicBezTo>
                  <a:cubicBezTo>
                    <a:pt x="492834" y="1327258"/>
                    <a:pt x="540833" y="1413720"/>
                    <a:pt x="540388" y="1508637"/>
                  </a:cubicBezTo>
                  <a:cubicBezTo>
                    <a:pt x="539689" y="1656894"/>
                    <a:pt x="418451" y="1777496"/>
                    <a:pt x="270194" y="1777496"/>
                  </a:cubicBezTo>
                  <a:close/>
                  <a:moveTo>
                    <a:pt x="270194" y="20026"/>
                  </a:moveTo>
                  <a:cubicBezTo>
                    <a:pt x="132300" y="20026"/>
                    <a:pt x="20090" y="132236"/>
                    <a:pt x="20090" y="270131"/>
                  </a:cubicBezTo>
                  <a:cubicBezTo>
                    <a:pt x="20090" y="357801"/>
                    <a:pt x="64783" y="437524"/>
                    <a:pt x="139547" y="483425"/>
                  </a:cubicBezTo>
                  <a:cubicBezTo>
                    <a:pt x="172670" y="503769"/>
                    <a:pt x="193268" y="540516"/>
                    <a:pt x="193268" y="579296"/>
                  </a:cubicBezTo>
                  <a:cubicBezTo>
                    <a:pt x="193268" y="618077"/>
                    <a:pt x="172670" y="655078"/>
                    <a:pt x="139547" y="675358"/>
                  </a:cubicBezTo>
                  <a:cubicBezTo>
                    <a:pt x="64719" y="721260"/>
                    <a:pt x="20090" y="801046"/>
                    <a:pt x="20090" y="888653"/>
                  </a:cubicBezTo>
                  <a:cubicBezTo>
                    <a:pt x="20090" y="976259"/>
                    <a:pt x="64783" y="1056046"/>
                    <a:pt x="139547" y="1101947"/>
                  </a:cubicBezTo>
                  <a:cubicBezTo>
                    <a:pt x="172670" y="1122291"/>
                    <a:pt x="193268" y="1159038"/>
                    <a:pt x="193268" y="1197819"/>
                  </a:cubicBezTo>
                  <a:cubicBezTo>
                    <a:pt x="193268" y="1236599"/>
                    <a:pt x="172670" y="1273600"/>
                    <a:pt x="139547" y="1293881"/>
                  </a:cubicBezTo>
                  <a:cubicBezTo>
                    <a:pt x="64719" y="1339782"/>
                    <a:pt x="20090" y="1419568"/>
                    <a:pt x="20090" y="1507175"/>
                  </a:cubicBezTo>
                  <a:cubicBezTo>
                    <a:pt x="20090" y="1645069"/>
                    <a:pt x="132300" y="1757279"/>
                    <a:pt x="270194" y="1757279"/>
                  </a:cubicBezTo>
                  <a:cubicBezTo>
                    <a:pt x="407453" y="1757279"/>
                    <a:pt x="519663" y="1645642"/>
                    <a:pt x="520299" y="1508383"/>
                  </a:cubicBezTo>
                  <a:lnTo>
                    <a:pt x="530343" y="1508383"/>
                  </a:lnTo>
                  <a:cubicBezTo>
                    <a:pt x="530343" y="1508383"/>
                    <a:pt x="520299" y="1508383"/>
                    <a:pt x="520299" y="1508383"/>
                  </a:cubicBezTo>
                  <a:cubicBezTo>
                    <a:pt x="520744" y="1420522"/>
                    <a:pt x="476305" y="1340481"/>
                    <a:pt x="401477" y="1294262"/>
                  </a:cubicBezTo>
                  <a:cubicBezTo>
                    <a:pt x="367464" y="1273219"/>
                    <a:pt x="347120" y="1237235"/>
                    <a:pt x="347120" y="1198009"/>
                  </a:cubicBezTo>
                  <a:cubicBezTo>
                    <a:pt x="347120" y="1158784"/>
                    <a:pt x="367718" y="1122291"/>
                    <a:pt x="400841" y="1101947"/>
                  </a:cubicBezTo>
                  <a:cubicBezTo>
                    <a:pt x="475669" y="1056046"/>
                    <a:pt x="520299" y="976259"/>
                    <a:pt x="520299" y="888653"/>
                  </a:cubicBezTo>
                  <a:cubicBezTo>
                    <a:pt x="520299" y="801046"/>
                    <a:pt x="475605" y="721260"/>
                    <a:pt x="400841" y="675358"/>
                  </a:cubicBezTo>
                  <a:cubicBezTo>
                    <a:pt x="367718" y="655014"/>
                    <a:pt x="347120" y="618268"/>
                    <a:pt x="347120" y="579487"/>
                  </a:cubicBezTo>
                  <a:cubicBezTo>
                    <a:pt x="347120" y="540706"/>
                    <a:pt x="367464" y="504023"/>
                    <a:pt x="401477" y="483044"/>
                  </a:cubicBezTo>
                  <a:cubicBezTo>
                    <a:pt x="476305" y="436825"/>
                    <a:pt x="520744" y="356720"/>
                    <a:pt x="520299" y="268923"/>
                  </a:cubicBezTo>
                  <a:cubicBezTo>
                    <a:pt x="519663" y="131664"/>
                    <a:pt x="407453" y="20026"/>
                    <a:pt x="270194" y="20026"/>
                  </a:cubicBez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36FE3837-FAED-37CD-32A1-00AE1989CCE9}"/>
                </a:ext>
              </a:extLst>
            </p:cNvPr>
            <p:cNvSpPr/>
            <p:nvPr/>
          </p:nvSpPr>
          <p:spPr>
            <a:xfrm>
              <a:off x="10894094" y="3133681"/>
              <a:ext cx="289012" cy="139801"/>
            </a:xfrm>
            <a:custGeom>
              <a:avLst/>
              <a:gdLst>
                <a:gd name="connsiteX0" fmla="*/ 253283 w 289012"/>
                <a:gd name="connsiteY0" fmla="*/ 63 h 139801"/>
                <a:gd name="connsiteX1" fmla="*/ 18818 w 289012"/>
                <a:gd name="connsiteY1" fmla="*/ 108968 h 139801"/>
                <a:gd name="connsiteX2" fmla="*/ 0 w 289012"/>
                <a:gd name="connsiteY2" fmla="*/ 139802 h 139801"/>
                <a:gd name="connsiteX3" fmla="*/ 289013 w 289012"/>
                <a:gd name="connsiteY3" fmla="*/ 5531 h 139801"/>
                <a:gd name="connsiteX4" fmla="*/ 253283 w 289012"/>
                <a:gd name="connsiteY4" fmla="*/ 0 h 139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12" h="139801">
                  <a:moveTo>
                    <a:pt x="253283" y="63"/>
                  </a:moveTo>
                  <a:lnTo>
                    <a:pt x="18818" y="108968"/>
                  </a:lnTo>
                  <a:cubicBezTo>
                    <a:pt x="11889" y="118758"/>
                    <a:pt x="5595" y="129057"/>
                    <a:pt x="0" y="139802"/>
                  </a:cubicBezTo>
                  <a:lnTo>
                    <a:pt x="289013" y="5531"/>
                  </a:lnTo>
                  <a:cubicBezTo>
                    <a:pt x="277378" y="2861"/>
                    <a:pt x="265490" y="1017"/>
                    <a:pt x="253283" y="0"/>
                  </a:cubicBez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C6992EDC-4BED-CF31-F06E-52CA348B0D4B}"/>
                </a:ext>
              </a:extLst>
            </p:cNvPr>
            <p:cNvSpPr/>
            <p:nvPr/>
          </p:nvSpPr>
          <p:spPr>
            <a:xfrm>
              <a:off x="10865613" y="3170999"/>
              <a:ext cx="414827" cy="205856"/>
            </a:xfrm>
            <a:custGeom>
              <a:avLst/>
              <a:gdLst>
                <a:gd name="connsiteX0" fmla="*/ 395437 w 414827"/>
                <a:gd name="connsiteY0" fmla="*/ 0 h 205856"/>
                <a:gd name="connsiteX1" fmla="*/ 2416 w 414827"/>
                <a:gd name="connsiteY1" fmla="*/ 182588 h 205856"/>
                <a:gd name="connsiteX2" fmla="*/ 0 w 414827"/>
                <a:gd name="connsiteY2" fmla="*/ 205856 h 205856"/>
                <a:gd name="connsiteX3" fmla="*/ 414828 w 414827"/>
                <a:gd name="connsiteY3" fmla="*/ 13160 h 205856"/>
                <a:gd name="connsiteX4" fmla="*/ 395437 w 414827"/>
                <a:gd name="connsiteY4" fmla="*/ 63 h 20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7" h="205856">
                  <a:moveTo>
                    <a:pt x="395437" y="0"/>
                  </a:moveTo>
                  <a:lnTo>
                    <a:pt x="2416" y="182588"/>
                  </a:lnTo>
                  <a:cubicBezTo>
                    <a:pt x="1271" y="190217"/>
                    <a:pt x="445" y="197973"/>
                    <a:pt x="0" y="205856"/>
                  </a:cubicBezTo>
                  <a:lnTo>
                    <a:pt x="414828" y="13160"/>
                  </a:lnTo>
                  <a:cubicBezTo>
                    <a:pt x="408597" y="8519"/>
                    <a:pt x="402113" y="4132"/>
                    <a:pt x="395437" y="63"/>
                  </a:cubicBez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528A7984-5EC8-931A-0E71-13D2EAE88677}"/>
                </a:ext>
              </a:extLst>
            </p:cNvPr>
            <p:cNvSpPr/>
            <p:nvPr/>
          </p:nvSpPr>
          <p:spPr>
            <a:xfrm>
              <a:off x="10869872" y="3229997"/>
              <a:ext cx="470328" cy="232748"/>
            </a:xfrm>
            <a:custGeom>
              <a:avLst/>
              <a:gdLst>
                <a:gd name="connsiteX0" fmla="*/ 458122 w 470328"/>
                <a:gd name="connsiteY0" fmla="*/ 0 h 232748"/>
                <a:gd name="connsiteX1" fmla="*/ 0 w 470328"/>
                <a:gd name="connsiteY1" fmla="*/ 212786 h 232748"/>
                <a:gd name="connsiteX2" fmla="*/ 4705 w 470328"/>
                <a:gd name="connsiteY2" fmla="*/ 232748 h 232748"/>
                <a:gd name="connsiteX3" fmla="*/ 470329 w 470328"/>
                <a:gd name="connsiteY3" fmla="*/ 16466 h 232748"/>
                <a:gd name="connsiteX4" fmla="*/ 458122 w 470328"/>
                <a:gd name="connsiteY4" fmla="*/ 0 h 23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28" h="232748">
                  <a:moveTo>
                    <a:pt x="458122" y="0"/>
                  </a:moveTo>
                  <a:lnTo>
                    <a:pt x="0" y="212786"/>
                  </a:lnTo>
                  <a:cubicBezTo>
                    <a:pt x="1335" y="219525"/>
                    <a:pt x="2925" y="226200"/>
                    <a:pt x="4705" y="232748"/>
                  </a:cubicBezTo>
                  <a:lnTo>
                    <a:pt x="470329" y="16466"/>
                  </a:lnTo>
                  <a:cubicBezTo>
                    <a:pt x="466451" y="10808"/>
                    <a:pt x="462382" y="5340"/>
                    <a:pt x="458122" y="0"/>
                  </a:cubicBez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D21E4910-1CFE-61D2-9FC2-6BAD11F9F17A}"/>
                </a:ext>
              </a:extLst>
            </p:cNvPr>
            <p:cNvSpPr/>
            <p:nvPr/>
          </p:nvSpPr>
          <p:spPr>
            <a:xfrm>
              <a:off x="10898100" y="3301074"/>
              <a:ext cx="476940" cy="235863"/>
            </a:xfrm>
            <a:custGeom>
              <a:avLst/>
              <a:gdLst>
                <a:gd name="connsiteX0" fmla="*/ 470583 w 476940"/>
                <a:gd name="connsiteY0" fmla="*/ 64 h 235863"/>
                <a:gd name="connsiteX1" fmla="*/ 0 w 476940"/>
                <a:gd name="connsiteY1" fmla="*/ 218635 h 235863"/>
                <a:gd name="connsiteX2" fmla="*/ 10490 w 476940"/>
                <a:gd name="connsiteY2" fmla="*/ 235864 h 235863"/>
                <a:gd name="connsiteX3" fmla="*/ 476941 w 476940"/>
                <a:gd name="connsiteY3" fmla="*/ 19200 h 235863"/>
                <a:gd name="connsiteX4" fmla="*/ 470583 w 476940"/>
                <a:gd name="connsiteY4" fmla="*/ 0 h 23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40" h="235863">
                  <a:moveTo>
                    <a:pt x="470583" y="64"/>
                  </a:moveTo>
                  <a:lnTo>
                    <a:pt x="0" y="218635"/>
                  </a:lnTo>
                  <a:cubicBezTo>
                    <a:pt x="3306" y="224547"/>
                    <a:pt x="6803" y="230269"/>
                    <a:pt x="10490" y="235864"/>
                  </a:cubicBezTo>
                  <a:lnTo>
                    <a:pt x="476941" y="19200"/>
                  </a:lnTo>
                  <a:cubicBezTo>
                    <a:pt x="475033" y="12715"/>
                    <a:pt x="472935" y="6294"/>
                    <a:pt x="470583" y="0"/>
                  </a:cubicBez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1656FD25-CC8A-21FC-3FC4-B2563CD42BA3}"/>
                </a:ext>
              </a:extLst>
            </p:cNvPr>
            <p:cNvSpPr/>
            <p:nvPr/>
          </p:nvSpPr>
          <p:spPr>
            <a:xfrm>
              <a:off x="10950358" y="3383595"/>
              <a:ext cx="435044" cy="216155"/>
            </a:xfrm>
            <a:custGeom>
              <a:avLst/>
              <a:gdLst>
                <a:gd name="connsiteX0" fmla="*/ 435044 w 435044"/>
                <a:gd name="connsiteY0" fmla="*/ 9346 h 216155"/>
                <a:gd name="connsiteX1" fmla="*/ 434790 w 435044"/>
                <a:gd name="connsiteY1" fmla="*/ 0 h 216155"/>
                <a:gd name="connsiteX2" fmla="*/ 0 w 435044"/>
                <a:gd name="connsiteY2" fmla="*/ 201978 h 216155"/>
                <a:gd name="connsiteX3" fmla="*/ 17102 w 435044"/>
                <a:gd name="connsiteY3" fmla="*/ 216155 h 216155"/>
                <a:gd name="connsiteX4" fmla="*/ 434727 w 435044"/>
                <a:gd name="connsiteY4" fmla="*/ 22188 h 216155"/>
                <a:gd name="connsiteX5" fmla="*/ 435044 w 435044"/>
                <a:gd name="connsiteY5" fmla="*/ 9409 h 2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044" h="216155">
                  <a:moveTo>
                    <a:pt x="435044" y="9346"/>
                  </a:moveTo>
                  <a:cubicBezTo>
                    <a:pt x="435044" y="6230"/>
                    <a:pt x="434917" y="3115"/>
                    <a:pt x="434790" y="0"/>
                  </a:cubicBezTo>
                  <a:lnTo>
                    <a:pt x="0" y="201978"/>
                  </a:lnTo>
                  <a:cubicBezTo>
                    <a:pt x="5468" y="206937"/>
                    <a:pt x="11189" y="211641"/>
                    <a:pt x="17102" y="216155"/>
                  </a:cubicBezTo>
                  <a:lnTo>
                    <a:pt x="434727" y="22188"/>
                  </a:lnTo>
                  <a:cubicBezTo>
                    <a:pt x="434917" y="17928"/>
                    <a:pt x="435044" y="13669"/>
                    <a:pt x="435044" y="9409"/>
                  </a:cubicBez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557D32EF-CD2A-5946-3FFA-E6236D5CFD11}"/>
                </a:ext>
              </a:extLst>
            </p:cNvPr>
            <p:cNvSpPr/>
            <p:nvPr/>
          </p:nvSpPr>
          <p:spPr>
            <a:xfrm>
              <a:off x="11034150" y="3480547"/>
              <a:ext cx="336058" cy="164913"/>
            </a:xfrm>
            <a:custGeom>
              <a:avLst/>
              <a:gdLst>
                <a:gd name="connsiteX0" fmla="*/ 324360 w 336058"/>
                <a:gd name="connsiteY0" fmla="*/ 27592 h 164913"/>
                <a:gd name="connsiteX1" fmla="*/ 336058 w 336058"/>
                <a:gd name="connsiteY1" fmla="*/ 0 h 164913"/>
                <a:gd name="connsiteX2" fmla="*/ 0 w 336058"/>
                <a:gd name="connsiteY2" fmla="*/ 156077 h 164913"/>
                <a:gd name="connsiteX3" fmla="*/ 28609 w 336058"/>
                <a:gd name="connsiteY3" fmla="*/ 164914 h 164913"/>
                <a:gd name="connsiteX4" fmla="*/ 324360 w 336058"/>
                <a:gd name="connsiteY4" fmla="*/ 27528 h 16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058" h="164913">
                  <a:moveTo>
                    <a:pt x="324360" y="27592"/>
                  </a:moveTo>
                  <a:cubicBezTo>
                    <a:pt x="328747" y="18691"/>
                    <a:pt x="332689" y="9473"/>
                    <a:pt x="336058" y="0"/>
                  </a:cubicBezTo>
                  <a:lnTo>
                    <a:pt x="0" y="156077"/>
                  </a:lnTo>
                  <a:cubicBezTo>
                    <a:pt x="9282" y="159573"/>
                    <a:pt x="18882" y="162498"/>
                    <a:pt x="28609" y="164914"/>
                  </a:cubicBezTo>
                  <a:lnTo>
                    <a:pt x="324360" y="27528"/>
                  </a:ln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1A85D708-A6B4-6958-2EBF-33A927B4489C}"/>
                </a:ext>
              </a:extLst>
            </p:cNvPr>
            <p:cNvSpPr/>
            <p:nvPr/>
          </p:nvSpPr>
          <p:spPr>
            <a:xfrm>
              <a:off x="9048509" y="3751567"/>
              <a:ext cx="289012" cy="139801"/>
            </a:xfrm>
            <a:custGeom>
              <a:avLst/>
              <a:gdLst>
                <a:gd name="connsiteX0" fmla="*/ 253283 w 289012"/>
                <a:gd name="connsiteY0" fmla="*/ 64 h 139801"/>
                <a:gd name="connsiteX1" fmla="*/ 18818 w 289012"/>
                <a:gd name="connsiteY1" fmla="*/ 108968 h 139801"/>
                <a:gd name="connsiteX2" fmla="*/ 0 w 289012"/>
                <a:gd name="connsiteY2" fmla="*/ 139802 h 139801"/>
                <a:gd name="connsiteX3" fmla="*/ 289012 w 289012"/>
                <a:gd name="connsiteY3" fmla="*/ 5531 h 139801"/>
                <a:gd name="connsiteX4" fmla="*/ 253283 w 289012"/>
                <a:gd name="connsiteY4" fmla="*/ 0 h 139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12" h="139801">
                  <a:moveTo>
                    <a:pt x="253283" y="64"/>
                  </a:moveTo>
                  <a:lnTo>
                    <a:pt x="18818" y="108968"/>
                  </a:lnTo>
                  <a:cubicBezTo>
                    <a:pt x="11889" y="118758"/>
                    <a:pt x="5595" y="129058"/>
                    <a:pt x="0" y="139802"/>
                  </a:cubicBezTo>
                  <a:lnTo>
                    <a:pt x="289012" y="5531"/>
                  </a:lnTo>
                  <a:cubicBezTo>
                    <a:pt x="277378" y="2861"/>
                    <a:pt x="265490" y="1017"/>
                    <a:pt x="253283" y="0"/>
                  </a:cubicBez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0BF96F7C-3793-E250-4346-11438B87FEFD}"/>
                </a:ext>
              </a:extLst>
            </p:cNvPr>
            <p:cNvSpPr/>
            <p:nvPr/>
          </p:nvSpPr>
          <p:spPr>
            <a:xfrm>
              <a:off x="9020027" y="3788886"/>
              <a:ext cx="414827" cy="205856"/>
            </a:xfrm>
            <a:custGeom>
              <a:avLst/>
              <a:gdLst>
                <a:gd name="connsiteX0" fmla="*/ 395437 w 414827"/>
                <a:gd name="connsiteY0" fmla="*/ 0 h 205856"/>
                <a:gd name="connsiteX1" fmla="*/ 2416 w 414827"/>
                <a:gd name="connsiteY1" fmla="*/ 182588 h 205856"/>
                <a:gd name="connsiteX2" fmla="*/ 0 w 414827"/>
                <a:gd name="connsiteY2" fmla="*/ 205856 h 205856"/>
                <a:gd name="connsiteX3" fmla="*/ 414828 w 414827"/>
                <a:gd name="connsiteY3" fmla="*/ 13160 h 205856"/>
                <a:gd name="connsiteX4" fmla="*/ 395437 w 414827"/>
                <a:gd name="connsiteY4" fmla="*/ 63 h 20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7" h="205856">
                  <a:moveTo>
                    <a:pt x="395437" y="0"/>
                  </a:moveTo>
                  <a:lnTo>
                    <a:pt x="2416" y="182588"/>
                  </a:lnTo>
                  <a:cubicBezTo>
                    <a:pt x="1272" y="190217"/>
                    <a:pt x="445" y="197973"/>
                    <a:pt x="0" y="205856"/>
                  </a:cubicBezTo>
                  <a:lnTo>
                    <a:pt x="414828" y="13160"/>
                  </a:lnTo>
                  <a:cubicBezTo>
                    <a:pt x="408597" y="8519"/>
                    <a:pt x="402113" y="4132"/>
                    <a:pt x="395437" y="63"/>
                  </a:cubicBez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9F6B06FE-6DB4-935E-6B86-05A9E2AA0A20}"/>
                </a:ext>
              </a:extLst>
            </p:cNvPr>
            <p:cNvSpPr/>
            <p:nvPr/>
          </p:nvSpPr>
          <p:spPr>
            <a:xfrm>
              <a:off x="9024223" y="3847883"/>
              <a:ext cx="470328" cy="232748"/>
            </a:xfrm>
            <a:custGeom>
              <a:avLst/>
              <a:gdLst>
                <a:gd name="connsiteX0" fmla="*/ 458122 w 470328"/>
                <a:gd name="connsiteY0" fmla="*/ 0 h 232748"/>
                <a:gd name="connsiteX1" fmla="*/ 0 w 470328"/>
                <a:gd name="connsiteY1" fmla="*/ 212786 h 232748"/>
                <a:gd name="connsiteX2" fmla="*/ 4705 w 470328"/>
                <a:gd name="connsiteY2" fmla="*/ 232748 h 232748"/>
                <a:gd name="connsiteX3" fmla="*/ 470329 w 470328"/>
                <a:gd name="connsiteY3" fmla="*/ 16466 h 232748"/>
                <a:gd name="connsiteX4" fmla="*/ 458122 w 470328"/>
                <a:gd name="connsiteY4" fmla="*/ 0 h 23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28" h="232748">
                  <a:moveTo>
                    <a:pt x="458122" y="0"/>
                  </a:moveTo>
                  <a:lnTo>
                    <a:pt x="0" y="212786"/>
                  </a:lnTo>
                  <a:cubicBezTo>
                    <a:pt x="1335" y="219525"/>
                    <a:pt x="2924" y="226200"/>
                    <a:pt x="4705" y="232748"/>
                  </a:cubicBezTo>
                  <a:lnTo>
                    <a:pt x="470329" y="16466"/>
                  </a:lnTo>
                  <a:cubicBezTo>
                    <a:pt x="466451" y="10808"/>
                    <a:pt x="462382" y="5340"/>
                    <a:pt x="458122" y="0"/>
                  </a:cubicBez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C3D7AE85-4C6B-75C9-CC65-AB6BE4FFFB16}"/>
                </a:ext>
              </a:extLst>
            </p:cNvPr>
            <p:cNvSpPr/>
            <p:nvPr/>
          </p:nvSpPr>
          <p:spPr>
            <a:xfrm>
              <a:off x="9052514" y="3918960"/>
              <a:ext cx="476940" cy="235863"/>
            </a:xfrm>
            <a:custGeom>
              <a:avLst/>
              <a:gdLst>
                <a:gd name="connsiteX0" fmla="*/ 470583 w 476940"/>
                <a:gd name="connsiteY0" fmla="*/ 64 h 235863"/>
                <a:gd name="connsiteX1" fmla="*/ 0 w 476940"/>
                <a:gd name="connsiteY1" fmla="*/ 218635 h 235863"/>
                <a:gd name="connsiteX2" fmla="*/ 10490 w 476940"/>
                <a:gd name="connsiteY2" fmla="*/ 235864 h 235863"/>
                <a:gd name="connsiteX3" fmla="*/ 476940 w 476940"/>
                <a:gd name="connsiteY3" fmla="*/ 19200 h 235863"/>
                <a:gd name="connsiteX4" fmla="*/ 470583 w 476940"/>
                <a:gd name="connsiteY4" fmla="*/ 0 h 23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40" h="235863">
                  <a:moveTo>
                    <a:pt x="470583" y="64"/>
                  </a:moveTo>
                  <a:lnTo>
                    <a:pt x="0" y="218635"/>
                  </a:lnTo>
                  <a:cubicBezTo>
                    <a:pt x="3306" y="224547"/>
                    <a:pt x="6803" y="230269"/>
                    <a:pt x="10490" y="235864"/>
                  </a:cubicBezTo>
                  <a:lnTo>
                    <a:pt x="476940" y="19200"/>
                  </a:lnTo>
                  <a:cubicBezTo>
                    <a:pt x="475033" y="12715"/>
                    <a:pt x="472935" y="6294"/>
                    <a:pt x="470583" y="0"/>
                  </a:cubicBez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8992C29A-127A-5BE2-9129-0E5B6DE03D51}"/>
                </a:ext>
              </a:extLst>
            </p:cNvPr>
            <p:cNvSpPr/>
            <p:nvPr/>
          </p:nvSpPr>
          <p:spPr>
            <a:xfrm>
              <a:off x="9104709" y="4001417"/>
              <a:ext cx="435044" cy="216155"/>
            </a:xfrm>
            <a:custGeom>
              <a:avLst/>
              <a:gdLst>
                <a:gd name="connsiteX0" fmla="*/ 435044 w 435044"/>
                <a:gd name="connsiteY0" fmla="*/ 9346 h 216155"/>
                <a:gd name="connsiteX1" fmla="*/ 434790 w 435044"/>
                <a:gd name="connsiteY1" fmla="*/ 0 h 216155"/>
                <a:gd name="connsiteX2" fmla="*/ 0 w 435044"/>
                <a:gd name="connsiteY2" fmla="*/ 201978 h 216155"/>
                <a:gd name="connsiteX3" fmla="*/ 17102 w 435044"/>
                <a:gd name="connsiteY3" fmla="*/ 216155 h 216155"/>
                <a:gd name="connsiteX4" fmla="*/ 434727 w 435044"/>
                <a:gd name="connsiteY4" fmla="*/ 22188 h 216155"/>
                <a:gd name="connsiteX5" fmla="*/ 435044 w 435044"/>
                <a:gd name="connsiteY5" fmla="*/ 9409 h 2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044" h="216155">
                  <a:moveTo>
                    <a:pt x="435044" y="9346"/>
                  </a:moveTo>
                  <a:cubicBezTo>
                    <a:pt x="435044" y="6230"/>
                    <a:pt x="434917" y="3115"/>
                    <a:pt x="434790" y="0"/>
                  </a:cubicBezTo>
                  <a:lnTo>
                    <a:pt x="0" y="201978"/>
                  </a:lnTo>
                  <a:cubicBezTo>
                    <a:pt x="5467" y="206937"/>
                    <a:pt x="11189" y="211642"/>
                    <a:pt x="17102" y="216155"/>
                  </a:cubicBezTo>
                  <a:lnTo>
                    <a:pt x="434727" y="22188"/>
                  </a:lnTo>
                  <a:cubicBezTo>
                    <a:pt x="434917" y="17928"/>
                    <a:pt x="435044" y="13669"/>
                    <a:pt x="435044" y="9409"/>
                  </a:cubicBez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BCDBBE3D-AA36-686C-4B39-1C24F8B00D7B}"/>
                </a:ext>
              </a:extLst>
            </p:cNvPr>
            <p:cNvSpPr/>
            <p:nvPr/>
          </p:nvSpPr>
          <p:spPr>
            <a:xfrm>
              <a:off x="9188501" y="4098369"/>
              <a:ext cx="336058" cy="164913"/>
            </a:xfrm>
            <a:custGeom>
              <a:avLst/>
              <a:gdLst>
                <a:gd name="connsiteX0" fmla="*/ 324360 w 336058"/>
                <a:gd name="connsiteY0" fmla="*/ 27592 h 164913"/>
                <a:gd name="connsiteX1" fmla="*/ 336058 w 336058"/>
                <a:gd name="connsiteY1" fmla="*/ 0 h 164913"/>
                <a:gd name="connsiteX2" fmla="*/ 0 w 336058"/>
                <a:gd name="connsiteY2" fmla="*/ 156077 h 164913"/>
                <a:gd name="connsiteX3" fmla="*/ 28609 w 336058"/>
                <a:gd name="connsiteY3" fmla="*/ 164914 h 164913"/>
                <a:gd name="connsiteX4" fmla="*/ 324360 w 336058"/>
                <a:gd name="connsiteY4" fmla="*/ 27528 h 16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058" h="164913">
                  <a:moveTo>
                    <a:pt x="324360" y="27592"/>
                  </a:moveTo>
                  <a:cubicBezTo>
                    <a:pt x="328747" y="18691"/>
                    <a:pt x="332689" y="9473"/>
                    <a:pt x="336058" y="0"/>
                  </a:cubicBezTo>
                  <a:lnTo>
                    <a:pt x="0" y="156077"/>
                  </a:lnTo>
                  <a:cubicBezTo>
                    <a:pt x="9282" y="159574"/>
                    <a:pt x="18882" y="162498"/>
                    <a:pt x="28609" y="164914"/>
                  </a:cubicBezTo>
                  <a:lnTo>
                    <a:pt x="324360" y="27528"/>
                  </a:ln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C9018619-2632-24C5-B2EF-DC4A0A295C79}"/>
                </a:ext>
              </a:extLst>
            </p:cNvPr>
            <p:cNvSpPr/>
            <p:nvPr/>
          </p:nvSpPr>
          <p:spPr>
            <a:xfrm>
              <a:off x="9048509" y="4369453"/>
              <a:ext cx="289012" cy="139801"/>
            </a:xfrm>
            <a:custGeom>
              <a:avLst/>
              <a:gdLst>
                <a:gd name="connsiteX0" fmla="*/ 253283 w 289012"/>
                <a:gd name="connsiteY0" fmla="*/ 64 h 139801"/>
                <a:gd name="connsiteX1" fmla="*/ 18818 w 289012"/>
                <a:gd name="connsiteY1" fmla="*/ 108968 h 139801"/>
                <a:gd name="connsiteX2" fmla="*/ 0 w 289012"/>
                <a:gd name="connsiteY2" fmla="*/ 139802 h 139801"/>
                <a:gd name="connsiteX3" fmla="*/ 289012 w 289012"/>
                <a:gd name="connsiteY3" fmla="*/ 5531 h 139801"/>
                <a:gd name="connsiteX4" fmla="*/ 253283 w 289012"/>
                <a:gd name="connsiteY4" fmla="*/ 0 h 139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12" h="139801">
                  <a:moveTo>
                    <a:pt x="253283" y="64"/>
                  </a:moveTo>
                  <a:lnTo>
                    <a:pt x="18818" y="108968"/>
                  </a:lnTo>
                  <a:cubicBezTo>
                    <a:pt x="11889" y="118758"/>
                    <a:pt x="5595" y="129058"/>
                    <a:pt x="0" y="139802"/>
                  </a:cubicBezTo>
                  <a:lnTo>
                    <a:pt x="289012" y="5531"/>
                  </a:lnTo>
                  <a:cubicBezTo>
                    <a:pt x="277378" y="2861"/>
                    <a:pt x="265490" y="1017"/>
                    <a:pt x="253283" y="0"/>
                  </a:cubicBez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3D4162F8-46E5-42D9-7FF2-D1C2AD22CFFB}"/>
                </a:ext>
              </a:extLst>
            </p:cNvPr>
            <p:cNvSpPr/>
            <p:nvPr/>
          </p:nvSpPr>
          <p:spPr>
            <a:xfrm>
              <a:off x="9020027" y="4406772"/>
              <a:ext cx="414827" cy="205856"/>
            </a:xfrm>
            <a:custGeom>
              <a:avLst/>
              <a:gdLst>
                <a:gd name="connsiteX0" fmla="*/ 395437 w 414827"/>
                <a:gd name="connsiteY0" fmla="*/ 0 h 205856"/>
                <a:gd name="connsiteX1" fmla="*/ 2416 w 414827"/>
                <a:gd name="connsiteY1" fmla="*/ 182588 h 205856"/>
                <a:gd name="connsiteX2" fmla="*/ 0 w 414827"/>
                <a:gd name="connsiteY2" fmla="*/ 205856 h 205856"/>
                <a:gd name="connsiteX3" fmla="*/ 414828 w 414827"/>
                <a:gd name="connsiteY3" fmla="*/ 13160 h 205856"/>
                <a:gd name="connsiteX4" fmla="*/ 395437 w 414827"/>
                <a:gd name="connsiteY4" fmla="*/ 63 h 20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7" h="205856">
                  <a:moveTo>
                    <a:pt x="395437" y="0"/>
                  </a:moveTo>
                  <a:lnTo>
                    <a:pt x="2416" y="182588"/>
                  </a:lnTo>
                  <a:cubicBezTo>
                    <a:pt x="1272" y="190217"/>
                    <a:pt x="445" y="197973"/>
                    <a:pt x="0" y="205856"/>
                  </a:cubicBezTo>
                  <a:lnTo>
                    <a:pt x="414828" y="13160"/>
                  </a:lnTo>
                  <a:cubicBezTo>
                    <a:pt x="408597" y="8519"/>
                    <a:pt x="402113" y="4132"/>
                    <a:pt x="395437" y="63"/>
                  </a:cubicBezTo>
                  <a:close/>
                </a:path>
              </a:pathLst>
            </a:custGeom>
            <a:grpFill/>
            <a:ln w="0" cap="flat">
              <a:noFill/>
              <a:prstDash val="solid"/>
              <a:miter/>
            </a:ln>
          </p:spPr>
          <p:txBody>
            <a:bodyPr rtlCol="0" anchor="ctr"/>
            <a:lstStyle/>
            <a:p>
              <a:endParaRPr lang="sv-SE"/>
            </a:p>
          </p:txBody>
        </p:sp>
        <p:sp>
          <p:nvSpPr>
            <p:cNvPr id="39" name="Frihandsfigur: Form 38">
              <a:extLst>
                <a:ext uri="{FF2B5EF4-FFF2-40B4-BE49-F238E27FC236}">
                  <a16:creationId xmlns:a16="http://schemas.microsoft.com/office/drawing/2014/main" id="{D3EADBCC-C120-1D84-F3A1-FF471A9F7E7F}"/>
                </a:ext>
              </a:extLst>
            </p:cNvPr>
            <p:cNvSpPr/>
            <p:nvPr/>
          </p:nvSpPr>
          <p:spPr>
            <a:xfrm>
              <a:off x="9024223" y="4465706"/>
              <a:ext cx="470328" cy="232748"/>
            </a:xfrm>
            <a:custGeom>
              <a:avLst/>
              <a:gdLst>
                <a:gd name="connsiteX0" fmla="*/ 458122 w 470328"/>
                <a:gd name="connsiteY0" fmla="*/ 0 h 232748"/>
                <a:gd name="connsiteX1" fmla="*/ 0 w 470328"/>
                <a:gd name="connsiteY1" fmla="*/ 212786 h 232748"/>
                <a:gd name="connsiteX2" fmla="*/ 4705 w 470328"/>
                <a:gd name="connsiteY2" fmla="*/ 232748 h 232748"/>
                <a:gd name="connsiteX3" fmla="*/ 470329 w 470328"/>
                <a:gd name="connsiteY3" fmla="*/ 16466 h 232748"/>
                <a:gd name="connsiteX4" fmla="*/ 458122 w 470328"/>
                <a:gd name="connsiteY4" fmla="*/ 0 h 23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28" h="232748">
                  <a:moveTo>
                    <a:pt x="458122" y="0"/>
                  </a:moveTo>
                  <a:lnTo>
                    <a:pt x="0" y="212786"/>
                  </a:lnTo>
                  <a:cubicBezTo>
                    <a:pt x="1335" y="219525"/>
                    <a:pt x="2924" y="226200"/>
                    <a:pt x="4705" y="232748"/>
                  </a:cubicBezTo>
                  <a:lnTo>
                    <a:pt x="470329" y="16466"/>
                  </a:lnTo>
                  <a:cubicBezTo>
                    <a:pt x="466451" y="10808"/>
                    <a:pt x="462382" y="5340"/>
                    <a:pt x="458122" y="0"/>
                  </a:cubicBezTo>
                  <a:close/>
                </a:path>
              </a:pathLst>
            </a:custGeom>
            <a:grpFill/>
            <a:ln w="0" cap="flat">
              <a:noFill/>
              <a:prstDash val="solid"/>
              <a:miter/>
            </a:ln>
          </p:spPr>
          <p:txBody>
            <a:bodyPr rtlCol="0" anchor="ctr"/>
            <a:lstStyle/>
            <a:p>
              <a:endParaRPr lang="sv-SE"/>
            </a:p>
          </p:txBody>
        </p:sp>
        <p:sp>
          <p:nvSpPr>
            <p:cNvPr id="40" name="Frihandsfigur: Form 39">
              <a:extLst>
                <a:ext uri="{FF2B5EF4-FFF2-40B4-BE49-F238E27FC236}">
                  <a16:creationId xmlns:a16="http://schemas.microsoft.com/office/drawing/2014/main" id="{A7CC1D01-67FB-809C-74C4-98110780ECF7}"/>
                </a:ext>
              </a:extLst>
            </p:cNvPr>
            <p:cNvSpPr/>
            <p:nvPr/>
          </p:nvSpPr>
          <p:spPr>
            <a:xfrm>
              <a:off x="9052514" y="4536783"/>
              <a:ext cx="476940" cy="235863"/>
            </a:xfrm>
            <a:custGeom>
              <a:avLst/>
              <a:gdLst>
                <a:gd name="connsiteX0" fmla="*/ 470583 w 476940"/>
                <a:gd name="connsiteY0" fmla="*/ 64 h 235863"/>
                <a:gd name="connsiteX1" fmla="*/ 0 w 476940"/>
                <a:gd name="connsiteY1" fmla="*/ 218635 h 235863"/>
                <a:gd name="connsiteX2" fmla="*/ 10490 w 476940"/>
                <a:gd name="connsiteY2" fmla="*/ 235863 h 235863"/>
                <a:gd name="connsiteX3" fmla="*/ 476940 w 476940"/>
                <a:gd name="connsiteY3" fmla="*/ 19200 h 235863"/>
                <a:gd name="connsiteX4" fmla="*/ 470583 w 476940"/>
                <a:gd name="connsiteY4" fmla="*/ 0 h 23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40" h="235863">
                  <a:moveTo>
                    <a:pt x="470583" y="64"/>
                  </a:moveTo>
                  <a:lnTo>
                    <a:pt x="0" y="218635"/>
                  </a:lnTo>
                  <a:cubicBezTo>
                    <a:pt x="3306" y="224547"/>
                    <a:pt x="6803" y="230269"/>
                    <a:pt x="10490" y="235863"/>
                  </a:cubicBezTo>
                  <a:lnTo>
                    <a:pt x="476940" y="19200"/>
                  </a:lnTo>
                  <a:cubicBezTo>
                    <a:pt x="475033" y="12715"/>
                    <a:pt x="472935" y="6294"/>
                    <a:pt x="470583" y="0"/>
                  </a:cubicBezTo>
                  <a:close/>
                </a:path>
              </a:pathLst>
            </a:custGeom>
            <a:grpFill/>
            <a:ln w="0" cap="flat">
              <a:noFill/>
              <a:prstDash val="solid"/>
              <a:miter/>
            </a:ln>
          </p:spPr>
          <p:txBody>
            <a:bodyPr rtlCol="0" anchor="ctr"/>
            <a:lstStyle/>
            <a:p>
              <a:endParaRPr lang="sv-SE"/>
            </a:p>
          </p:txBody>
        </p:sp>
        <p:sp>
          <p:nvSpPr>
            <p:cNvPr id="41" name="Frihandsfigur: Form 40">
              <a:extLst>
                <a:ext uri="{FF2B5EF4-FFF2-40B4-BE49-F238E27FC236}">
                  <a16:creationId xmlns:a16="http://schemas.microsoft.com/office/drawing/2014/main" id="{0C47E402-BB1A-C91B-0AD3-C7F9382BBD77}"/>
                </a:ext>
              </a:extLst>
            </p:cNvPr>
            <p:cNvSpPr/>
            <p:nvPr/>
          </p:nvSpPr>
          <p:spPr>
            <a:xfrm>
              <a:off x="9104709" y="4619304"/>
              <a:ext cx="435044" cy="216155"/>
            </a:xfrm>
            <a:custGeom>
              <a:avLst/>
              <a:gdLst>
                <a:gd name="connsiteX0" fmla="*/ 435044 w 435044"/>
                <a:gd name="connsiteY0" fmla="*/ 9346 h 216155"/>
                <a:gd name="connsiteX1" fmla="*/ 434790 w 435044"/>
                <a:gd name="connsiteY1" fmla="*/ 0 h 216155"/>
                <a:gd name="connsiteX2" fmla="*/ 0 w 435044"/>
                <a:gd name="connsiteY2" fmla="*/ 201978 h 216155"/>
                <a:gd name="connsiteX3" fmla="*/ 17102 w 435044"/>
                <a:gd name="connsiteY3" fmla="*/ 216155 h 216155"/>
                <a:gd name="connsiteX4" fmla="*/ 434727 w 435044"/>
                <a:gd name="connsiteY4" fmla="*/ 22188 h 216155"/>
                <a:gd name="connsiteX5" fmla="*/ 435044 w 435044"/>
                <a:gd name="connsiteY5" fmla="*/ 9409 h 2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044" h="216155">
                  <a:moveTo>
                    <a:pt x="435044" y="9346"/>
                  </a:moveTo>
                  <a:cubicBezTo>
                    <a:pt x="435044" y="6231"/>
                    <a:pt x="434917" y="3116"/>
                    <a:pt x="434790" y="0"/>
                  </a:cubicBezTo>
                  <a:lnTo>
                    <a:pt x="0" y="201978"/>
                  </a:lnTo>
                  <a:cubicBezTo>
                    <a:pt x="5467" y="206937"/>
                    <a:pt x="11189" y="211642"/>
                    <a:pt x="17102" y="216155"/>
                  </a:cubicBezTo>
                  <a:lnTo>
                    <a:pt x="434727" y="22188"/>
                  </a:lnTo>
                  <a:cubicBezTo>
                    <a:pt x="434917" y="17928"/>
                    <a:pt x="435044" y="13669"/>
                    <a:pt x="435044" y="9409"/>
                  </a:cubicBezTo>
                  <a:close/>
                </a:path>
              </a:pathLst>
            </a:custGeom>
            <a:grpFill/>
            <a:ln w="0" cap="flat">
              <a:noFill/>
              <a:prstDash val="solid"/>
              <a:miter/>
            </a:ln>
          </p:spPr>
          <p:txBody>
            <a:bodyPr rtlCol="0" anchor="ctr"/>
            <a:lstStyle/>
            <a:p>
              <a:endParaRPr lang="sv-SE"/>
            </a:p>
          </p:txBody>
        </p:sp>
        <p:sp>
          <p:nvSpPr>
            <p:cNvPr id="42" name="Frihandsfigur: Form 41">
              <a:extLst>
                <a:ext uri="{FF2B5EF4-FFF2-40B4-BE49-F238E27FC236}">
                  <a16:creationId xmlns:a16="http://schemas.microsoft.com/office/drawing/2014/main" id="{9D35265E-E0CD-D500-6DDF-B0515799230B}"/>
                </a:ext>
              </a:extLst>
            </p:cNvPr>
            <p:cNvSpPr/>
            <p:nvPr/>
          </p:nvSpPr>
          <p:spPr>
            <a:xfrm>
              <a:off x="9188501" y="4716256"/>
              <a:ext cx="336058" cy="164913"/>
            </a:xfrm>
            <a:custGeom>
              <a:avLst/>
              <a:gdLst>
                <a:gd name="connsiteX0" fmla="*/ 324360 w 336058"/>
                <a:gd name="connsiteY0" fmla="*/ 27592 h 164913"/>
                <a:gd name="connsiteX1" fmla="*/ 336058 w 336058"/>
                <a:gd name="connsiteY1" fmla="*/ 0 h 164913"/>
                <a:gd name="connsiteX2" fmla="*/ 0 w 336058"/>
                <a:gd name="connsiteY2" fmla="*/ 156077 h 164913"/>
                <a:gd name="connsiteX3" fmla="*/ 28609 w 336058"/>
                <a:gd name="connsiteY3" fmla="*/ 164914 h 164913"/>
                <a:gd name="connsiteX4" fmla="*/ 324360 w 336058"/>
                <a:gd name="connsiteY4" fmla="*/ 27528 h 16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058" h="164913">
                  <a:moveTo>
                    <a:pt x="324360" y="27592"/>
                  </a:moveTo>
                  <a:cubicBezTo>
                    <a:pt x="328747" y="18691"/>
                    <a:pt x="332689" y="9473"/>
                    <a:pt x="336058" y="0"/>
                  </a:cubicBezTo>
                  <a:lnTo>
                    <a:pt x="0" y="156077"/>
                  </a:lnTo>
                  <a:cubicBezTo>
                    <a:pt x="9282" y="159574"/>
                    <a:pt x="18882" y="162498"/>
                    <a:pt x="28609" y="164914"/>
                  </a:cubicBezTo>
                  <a:lnTo>
                    <a:pt x="324360" y="27528"/>
                  </a:lnTo>
                  <a:close/>
                </a:path>
              </a:pathLst>
            </a:custGeom>
            <a:grpFill/>
            <a:ln w="0" cap="flat">
              <a:noFill/>
              <a:prstDash val="solid"/>
              <a:miter/>
            </a:ln>
          </p:spPr>
          <p:txBody>
            <a:bodyPr rtlCol="0" anchor="ctr"/>
            <a:lstStyle/>
            <a:p>
              <a:endParaRPr lang="sv-SE"/>
            </a:p>
          </p:txBody>
        </p:sp>
        <p:sp>
          <p:nvSpPr>
            <p:cNvPr id="43" name="Frihandsfigur: Form 42">
              <a:extLst>
                <a:ext uri="{FF2B5EF4-FFF2-40B4-BE49-F238E27FC236}">
                  <a16:creationId xmlns:a16="http://schemas.microsoft.com/office/drawing/2014/main" id="{55F2E9BD-5190-324E-88A3-7D0929DFA957}"/>
                </a:ext>
              </a:extLst>
            </p:cNvPr>
            <p:cNvSpPr/>
            <p:nvPr/>
          </p:nvSpPr>
          <p:spPr>
            <a:xfrm>
              <a:off x="9048509" y="4987276"/>
              <a:ext cx="289012" cy="139801"/>
            </a:xfrm>
            <a:custGeom>
              <a:avLst/>
              <a:gdLst>
                <a:gd name="connsiteX0" fmla="*/ 253283 w 289012"/>
                <a:gd name="connsiteY0" fmla="*/ 64 h 139801"/>
                <a:gd name="connsiteX1" fmla="*/ 18818 w 289012"/>
                <a:gd name="connsiteY1" fmla="*/ 108968 h 139801"/>
                <a:gd name="connsiteX2" fmla="*/ 0 w 289012"/>
                <a:gd name="connsiteY2" fmla="*/ 139802 h 139801"/>
                <a:gd name="connsiteX3" fmla="*/ 289012 w 289012"/>
                <a:gd name="connsiteY3" fmla="*/ 5531 h 139801"/>
                <a:gd name="connsiteX4" fmla="*/ 253283 w 289012"/>
                <a:gd name="connsiteY4" fmla="*/ 0 h 139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12" h="139801">
                  <a:moveTo>
                    <a:pt x="253283" y="64"/>
                  </a:moveTo>
                  <a:lnTo>
                    <a:pt x="18818" y="108968"/>
                  </a:lnTo>
                  <a:cubicBezTo>
                    <a:pt x="11889" y="118758"/>
                    <a:pt x="5595" y="129058"/>
                    <a:pt x="0" y="139802"/>
                  </a:cubicBezTo>
                  <a:lnTo>
                    <a:pt x="289012" y="5531"/>
                  </a:lnTo>
                  <a:cubicBezTo>
                    <a:pt x="277378" y="2861"/>
                    <a:pt x="265490" y="1017"/>
                    <a:pt x="253283" y="0"/>
                  </a:cubicBezTo>
                  <a:close/>
                </a:path>
              </a:pathLst>
            </a:custGeom>
            <a:grpFill/>
            <a:ln w="0" cap="flat">
              <a:noFill/>
              <a:prstDash val="solid"/>
              <a:miter/>
            </a:ln>
          </p:spPr>
          <p:txBody>
            <a:bodyPr rtlCol="0" anchor="ctr"/>
            <a:lstStyle/>
            <a:p>
              <a:endParaRPr lang="sv-SE"/>
            </a:p>
          </p:txBody>
        </p:sp>
        <p:sp>
          <p:nvSpPr>
            <p:cNvPr id="44" name="Frihandsfigur: Form 43">
              <a:extLst>
                <a:ext uri="{FF2B5EF4-FFF2-40B4-BE49-F238E27FC236}">
                  <a16:creationId xmlns:a16="http://schemas.microsoft.com/office/drawing/2014/main" id="{615CFD0A-EE86-4551-0A83-2363FF408671}"/>
                </a:ext>
              </a:extLst>
            </p:cNvPr>
            <p:cNvSpPr/>
            <p:nvPr/>
          </p:nvSpPr>
          <p:spPr>
            <a:xfrm>
              <a:off x="9020027" y="5024595"/>
              <a:ext cx="414827" cy="205856"/>
            </a:xfrm>
            <a:custGeom>
              <a:avLst/>
              <a:gdLst>
                <a:gd name="connsiteX0" fmla="*/ 395437 w 414827"/>
                <a:gd name="connsiteY0" fmla="*/ 0 h 205856"/>
                <a:gd name="connsiteX1" fmla="*/ 2416 w 414827"/>
                <a:gd name="connsiteY1" fmla="*/ 182588 h 205856"/>
                <a:gd name="connsiteX2" fmla="*/ 0 w 414827"/>
                <a:gd name="connsiteY2" fmla="*/ 205856 h 205856"/>
                <a:gd name="connsiteX3" fmla="*/ 414828 w 414827"/>
                <a:gd name="connsiteY3" fmla="*/ 13160 h 205856"/>
                <a:gd name="connsiteX4" fmla="*/ 395437 w 414827"/>
                <a:gd name="connsiteY4" fmla="*/ 64 h 20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827" h="205856">
                  <a:moveTo>
                    <a:pt x="395437" y="0"/>
                  </a:moveTo>
                  <a:lnTo>
                    <a:pt x="2416" y="182588"/>
                  </a:lnTo>
                  <a:cubicBezTo>
                    <a:pt x="1272" y="190217"/>
                    <a:pt x="445" y="197973"/>
                    <a:pt x="0" y="205856"/>
                  </a:cubicBezTo>
                  <a:lnTo>
                    <a:pt x="414828" y="13160"/>
                  </a:lnTo>
                  <a:cubicBezTo>
                    <a:pt x="408597" y="8519"/>
                    <a:pt x="402113" y="4133"/>
                    <a:pt x="395437" y="64"/>
                  </a:cubicBezTo>
                  <a:close/>
                </a:path>
              </a:pathLst>
            </a:custGeom>
            <a:grpFill/>
            <a:ln w="0" cap="flat">
              <a:noFill/>
              <a:prstDash val="solid"/>
              <a:miter/>
            </a:ln>
          </p:spPr>
          <p:txBody>
            <a:bodyPr rtlCol="0" anchor="ctr"/>
            <a:lstStyle/>
            <a:p>
              <a:endParaRPr lang="sv-SE"/>
            </a:p>
          </p:txBody>
        </p:sp>
        <p:sp>
          <p:nvSpPr>
            <p:cNvPr id="45" name="Frihandsfigur: Form 44">
              <a:extLst>
                <a:ext uri="{FF2B5EF4-FFF2-40B4-BE49-F238E27FC236}">
                  <a16:creationId xmlns:a16="http://schemas.microsoft.com/office/drawing/2014/main" id="{DEA2363A-F6F5-63CF-1AC7-356536AE38C8}"/>
                </a:ext>
              </a:extLst>
            </p:cNvPr>
            <p:cNvSpPr/>
            <p:nvPr/>
          </p:nvSpPr>
          <p:spPr>
            <a:xfrm>
              <a:off x="9024223" y="5083593"/>
              <a:ext cx="470328" cy="232748"/>
            </a:xfrm>
            <a:custGeom>
              <a:avLst/>
              <a:gdLst>
                <a:gd name="connsiteX0" fmla="*/ 458122 w 470328"/>
                <a:gd name="connsiteY0" fmla="*/ 0 h 232748"/>
                <a:gd name="connsiteX1" fmla="*/ 0 w 470328"/>
                <a:gd name="connsiteY1" fmla="*/ 212786 h 232748"/>
                <a:gd name="connsiteX2" fmla="*/ 4705 w 470328"/>
                <a:gd name="connsiteY2" fmla="*/ 232748 h 232748"/>
                <a:gd name="connsiteX3" fmla="*/ 470329 w 470328"/>
                <a:gd name="connsiteY3" fmla="*/ 16466 h 232748"/>
                <a:gd name="connsiteX4" fmla="*/ 458122 w 470328"/>
                <a:gd name="connsiteY4" fmla="*/ 0 h 23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28" h="232748">
                  <a:moveTo>
                    <a:pt x="458122" y="0"/>
                  </a:moveTo>
                  <a:lnTo>
                    <a:pt x="0" y="212786"/>
                  </a:lnTo>
                  <a:cubicBezTo>
                    <a:pt x="1335" y="219525"/>
                    <a:pt x="2924" y="226200"/>
                    <a:pt x="4705" y="232748"/>
                  </a:cubicBezTo>
                  <a:lnTo>
                    <a:pt x="470329" y="16466"/>
                  </a:lnTo>
                  <a:cubicBezTo>
                    <a:pt x="466451" y="10808"/>
                    <a:pt x="462382" y="5340"/>
                    <a:pt x="458122" y="0"/>
                  </a:cubicBezTo>
                  <a:close/>
                </a:path>
              </a:pathLst>
            </a:custGeom>
            <a:grpFill/>
            <a:ln w="0" cap="flat">
              <a:noFill/>
              <a:prstDash val="solid"/>
              <a:miter/>
            </a:ln>
          </p:spPr>
          <p:txBody>
            <a:bodyPr rtlCol="0" anchor="ctr"/>
            <a:lstStyle/>
            <a:p>
              <a:endParaRPr lang="sv-SE"/>
            </a:p>
          </p:txBody>
        </p:sp>
        <p:sp>
          <p:nvSpPr>
            <p:cNvPr id="46" name="Frihandsfigur: Form 45">
              <a:extLst>
                <a:ext uri="{FF2B5EF4-FFF2-40B4-BE49-F238E27FC236}">
                  <a16:creationId xmlns:a16="http://schemas.microsoft.com/office/drawing/2014/main" id="{0617F9AB-EFC8-4616-6B0F-8F1C8A964547}"/>
                </a:ext>
              </a:extLst>
            </p:cNvPr>
            <p:cNvSpPr/>
            <p:nvPr/>
          </p:nvSpPr>
          <p:spPr>
            <a:xfrm>
              <a:off x="9052514" y="5154670"/>
              <a:ext cx="476940" cy="235863"/>
            </a:xfrm>
            <a:custGeom>
              <a:avLst/>
              <a:gdLst>
                <a:gd name="connsiteX0" fmla="*/ 470583 w 476940"/>
                <a:gd name="connsiteY0" fmla="*/ 64 h 235863"/>
                <a:gd name="connsiteX1" fmla="*/ 0 w 476940"/>
                <a:gd name="connsiteY1" fmla="*/ 218635 h 235863"/>
                <a:gd name="connsiteX2" fmla="*/ 10490 w 476940"/>
                <a:gd name="connsiteY2" fmla="*/ 235863 h 235863"/>
                <a:gd name="connsiteX3" fmla="*/ 476940 w 476940"/>
                <a:gd name="connsiteY3" fmla="*/ 19200 h 235863"/>
                <a:gd name="connsiteX4" fmla="*/ 470583 w 476940"/>
                <a:gd name="connsiteY4" fmla="*/ 0 h 23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40" h="235863">
                  <a:moveTo>
                    <a:pt x="470583" y="64"/>
                  </a:moveTo>
                  <a:lnTo>
                    <a:pt x="0" y="218635"/>
                  </a:lnTo>
                  <a:cubicBezTo>
                    <a:pt x="3306" y="224547"/>
                    <a:pt x="6803" y="230269"/>
                    <a:pt x="10490" y="235863"/>
                  </a:cubicBezTo>
                  <a:lnTo>
                    <a:pt x="476940" y="19200"/>
                  </a:lnTo>
                  <a:cubicBezTo>
                    <a:pt x="475033" y="12715"/>
                    <a:pt x="472935" y="6294"/>
                    <a:pt x="470583" y="0"/>
                  </a:cubicBezTo>
                  <a:close/>
                </a:path>
              </a:pathLst>
            </a:custGeom>
            <a:grpFill/>
            <a:ln w="0" cap="flat">
              <a:noFill/>
              <a:prstDash val="solid"/>
              <a:miter/>
            </a:ln>
          </p:spPr>
          <p:txBody>
            <a:bodyPr rtlCol="0" anchor="ctr"/>
            <a:lstStyle/>
            <a:p>
              <a:endParaRPr lang="sv-SE"/>
            </a:p>
          </p:txBody>
        </p:sp>
        <p:sp>
          <p:nvSpPr>
            <p:cNvPr id="47" name="Frihandsfigur: Form 46">
              <a:extLst>
                <a:ext uri="{FF2B5EF4-FFF2-40B4-BE49-F238E27FC236}">
                  <a16:creationId xmlns:a16="http://schemas.microsoft.com/office/drawing/2014/main" id="{DCD3BBE3-C133-0F13-EE97-509177D4DDE8}"/>
                </a:ext>
              </a:extLst>
            </p:cNvPr>
            <p:cNvSpPr/>
            <p:nvPr/>
          </p:nvSpPr>
          <p:spPr>
            <a:xfrm>
              <a:off x="9104709" y="5237190"/>
              <a:ext cx="435044" cy="216155"/>
            </a:xfrm>
            <a:custGeom>
              <a:avLst/>
              <a:gdLst>
                <a:gd name="connsiteX0" fmla="*/ 435044 w 435044"/>
                <a:gd name="connsiteY0" fmla="*/ 9346 h 216155"/>
                <a:gd name="connsiteX1" fmla="*/ 434790 w 435044"/>
                <a:gd name="connsiteY1" fmla="*/ 0 h 216155"/>
                <a:gd name="connsiteX2" fmla="*/ 0 w 435044"/>
                <a:gd name="connsiteY2" fmla="*/ 201978 h 216155"/>
                <a:gd name="connsiteX3" fmla="*/ 17102 w 435044"/>
                <a:gd name="connsiteY3" fmla="*/ 216155 h 216155"/>
                <a:gd name="connsiteX4" fmla="*/ 434727 w 435044"/>
                <a:gd name="connsiteY4" fmla="*/ 22188 h 216155"/>
                <a:gd name="connsiteX5" fmla="*/ 435044 w 435044"/>
                <a:gd name="connsiteY5" fmla="*/ 9409 h 2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044" h="216155">
                  <a:moveTo>
                    <a:pt x="435044" y="9346"/>
                  </a:moveTo>
                  <a:cubicBezTo>
                    <a:pt x="435044" y="6231"/>
                    <a:pt x="434917" y="3116"/>
                    <a:pt x="434790" y="0"/>
                  </a:cubicBezTo>
                  <a:lnTo>
                    <a:pt x="0" y="201978"/>
                  </a:lnTo>
                  <a:cubicBezTo>
                    <a:pt x="5467" y="206937"/>
                    <a:pt x="11189" y="211642"/>
                    <a:pt x="17102" y="216155"/>
                  </a:cubicBezTo>
                  <a:lnTo>
                    <a:pt x="434727" y="22188"/>
                  </a:lnTo>
                  <a:cubicBezTo>
                    <a:pt x="434917" y="17928"/>
                    <a:pt x="435044" y="13669"/>
                    <a:pt x="435044" y="9409"/>
                  </a:cubicBezTo>
                  <a:close/>
                </a:path>
              </a:pathLst>
            </a:custGeom>
            <a:grpFill/>
            <a:ln w="0" cap="flat">
              <a:noFill/>
              <a:prstDash val="solid"/>
              <a:miter/>
            </a:ln>
          </p:spPr>
          <p:txBody>
            <a:bodyPr rtlCol="0" anchor="ctr"/>
            <a:lstStyle/>
            <a:p>
              <a:endParaRPr lang="sv-SE"/>
            </a:p>
          </p:txBody>
        </p:sp>
        <p:sp>
          <p:nvSpPr>
            <p:cNvPr id="48" name="Frihandsfigur: Form 47">
              <a:extLst>
                <a:ext uri="{FF2B5EF4-FFF2-40B4-BE49-F238E27FC236}">
                  <a16:creationId xmlns:a16="http://schemas.microsoft.com/office/drawing/2014/main" id="{99C327C1-F86F-1F25-DADB-0F52ED2A070F}"/>
                </a:ext>
              </a:extLst>
            </p:cNvPr>
            <p:cNvSpPr/>
            <p:nvPr/>
          </p:nvSpPr>
          <p:spPr>
            <a:xfrm>
              <a:off x="9188501" y="5334142"/>
              <a:ext cx="336058" cy="164913"/>
            </a:xfrm>
            <a:custGeom>
              <a:avLst/>
              <a:gdLst>
                <a:gd name="connsiteX0" fmla="*/ 324360 w 336058"/>
                <a:gd name="connsiteY0" fmla="*/ 27592 h 164913"/>
                <a:gd name="connsiteX1" fmla="*/ 336058 w 336058"/>
                <a:gd name="connsiteY1" fmla="*/ 0 h 164913"/>
                <a:gd name="connsiteX2" fmla="*/ 0 w 336058"/>
                <a:gd name="connsiteY2" fmla="*/ 156077 h 164913"/>
                <a:gd name="connsiteX3" fmla="*/ 28609 w 336058"/>
                <a:gd name="connsiteY3" fmla="*/ 164914 h 164913"/>
                <a:gd name="connsiteX4" fmla="*/ 324360 w 336058"/>
                <a:gd name="connsiteY4" fmla="*/ 27528 h 16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058" h="164913">
                  <a:moveTo>
                    <a:pt x="324360" y="27592"/>
                  </a:moveTo>
                  <a:cubicBezTo>
                    <a:pt x="328747" y="18691"/>
                    <a:pt x="332689" y="9473"/>
                    <a:pt x="336058" y="0"/>
                  </a:cubicBezTo>
                  <a:lnTo>
                    <a:pt x="0" y="156077"/>
                  </a:lnTo>
                  <a:cubicBezTo>
                    <a:pt x="9282" y="159574"/>
                    <a:pt x="18882" y="162498"/>
                    <a:pt x="28609" y="164914"/>
                  </a:cubicBezTo>
                  <a:lnTo>
                    <a:pt x="324360" y="27528"/>
                  </a:lnTo>
                  <a:close/>
                </a:path>
              </a:pathLst>
            </a:custGeom>
            <a:grpFill/>
            <a:ln w="0" cap="flat">
              <a:noFill/>
              <a:prstDash val="solid"/>
              <a:miter/>
            </a:ln>
          </p:spPr>
          <p:txBody>
            <a:bodyPr rtlCol="0" anchor="ctr"/>
            <a:lstStyle/>
            <a:p>
              <a:endParaRPr lang="sv-SE"/>
            </a:p>
          </p:txBody>
        </p:sp>
        <p:sp>
          <p:nvSpPr>
            <p:cNvPr id="49" name="Frihandsfigur: Form 48">
              <a:extLst>
                <a:ext uri="{FF2B5EF4-FFF2-40B4-BE49-F238E27FC236}">
                  <a16:creationId xmlns:a16="http://schemas.microsoft.com/office/drawing/2014/main" id="{F618858A-4FCB-566F-5323-5E61DBE4EC6A}"/>
                </a:ext>
              </a:extLst>
            </p:cNvPr>
            <p:cNvSpPr/>
            <p:nvPr/>
          </p:nvSpPr>
          <p:spPr>
            <a:xfrm>
              <a:off x="11514079" y="5623091"/>
              <a:ext cx="267778" cy="146540"/>
            </a:xfrm>
            <a:custGeom>
              <a:avLst/>
              <a:gdLst>
                <a:gd name="connsiteX0" fmla="*/ 267778 w 267778"/>
                <a:gd name="connsiteY0" fmla="*/ 0 h 146540"/>
                <a:gd name="connsiteX1" fmla="*/ 12969 w 267778"/>
                <a:gd name="connsiteY1" fmla="*/ 118377 h 146540"/>
                <a:gd name="connsiteX2" fmla="*/ 0 w 267778"/>
                <a:gd name="connsiteY2" fmla="*/ 146541 h 146540"/>
                <a:gd name="connsiteX3" fmla="*/ 267778 w 267778"/>
                <a:gd name="connsiteY3" fmla="*/ 22124 h 146540"/>
                <a:gd name="connsiteX4" fmla="*/ 267778 w 267778"/>
                <a:gd name="connsiteY4" fmla="*/ 0 h 14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78" h="146540">
                  <a:moveTo>
                    <a:pt x="267778" y="0"/>
                  </a:moveTo>
                  <a:lnTo>
                    <a:pt x="12969" y="118377"/>
                  </a:lnTo>
                  <a:cubicBezTo>
                    <a:pt x="8074" y="127468"/>
                    <a:pt x="3815" y="136877"/>
                    <a:pt x="0" y="146541"/>
                  </a:cubicBezTo>
                  <a:lnTo>
                    <a:pt x="267778" y="22124"/>
                  </a:lnTo>
                  <a:lnTo>
                    <a:pt x="267778" y="0"/>
                  </a:lnTo>
                  <a:close/>
                </a:path>
              </a:pathLst>
            </a:custGeom>
            <a:grpFill/>
            <a:ln w="0" cap="flat">
              <a:noFill/>
              <a:prstDash val="solid"/>
              <a:miter/>
            </a:ln>
          </p:spPr>
          <p:txBody>
            <a:bodyPr rtlCol="0" anchor="ctr"/>
            <a:lstStyle/>
            <a:p>
              <a:endParaRPr lang="sv-SE"/>
            </a:p>
          </p:txBody>
        </p:sp>
        <p:sp>
          <p:nvSpPr>
            <p:cNvPr id="50" name="Frihandsfigur: Form 49">
              <a:extLst>
                <a:ext uri="{FF2B5EF4-FFF2-40B4-BE49-F238E27FC236}">
                  <a16:creationId xmlns:a16="http://schemas.microsoft.com/office/drawing/2014/main" id="{4FA683F0-B6C7-E7BE-31E3-D064F8587FC6}"/>
                </a:ext>
              </a:extLst>
            </p:cNvPr>
            <p:cNvSpPr/>
            <p:nvPr/>
          </p:nvSpPr>
          <p:spPr>
            <a:xfrm>
              <a:off x="10877692" y="4986384"/>
              <a:ext cx="904164" cy="520301"/>
            </a:xfrm>
            <a:custGeom>
              <a:avLst/>
              <a:gdLst>
                <a:gd name="connsiteX0" fmla="*/ 904165 w 904164"/>
                <a:gd name="connsiteY0" fmla="*/ 1274 h 520301"/>
                <a:gd name="connsiteX1" fmla="*/ 879943 w 904164"/>
                <a:gd name="connsiteY1" fmla="*/ 3 h 520301"/>
                <a:gd name="connsiteX2" fmla="*/ 656032 w 904164"/>
                <a:gd name="connsiteY2" fmla="*/ 125500 h 520301"/>
                <a:gd name="connsiteX3" fmla="*/ 571731 w 904164"/>
                <a:gd name="connsiteY3" fmla="*/ 173181 h 520301"/>
                <a:gd name="connsiteX4" fmla="*/ 567090 w 904164"/>
                <a:gd name="connsiteY4" fmla="*/ 173181 h 520301"/>
                <a:gd name="connsiteX5" fmla="*/ 482789 w 904164"/>
                <a:gd name="connsiteY5" fmla="*/ 125500 h 520301"/>
                <a:gd name="connsiteX6" fmla="*/ 258878 w 904164"/>
                <a:gd name="connsiteY6" fmla="*/ 3 h 520301"/>
                <a:gd name="connsiteX7" fmla="*/ 0 w 904164"/>
                <a:gd name="connsiteY7" fmla="*/ 260152 h 520301"/>
                <a:gd name="connsiteX8" fmla="*/ 260149 w 904164"/>
                <a:gd name="connsiteY8" fmla="*/ 520301 h 520301"/>
                <a:gd name="connsiteX9" fmla="*/ 483171 w 904164"/>
                <a:gd name="connsiteY9" fmla="*/ 394169 h 520301"/>
                <a:gd name="connsiteX10" fmla="*/ 567090 w 904164"/>
                <a:gd name="connsiteY10" fmla="*/ 347123 h 520301"/>
                <a:gd name="connsiteX11" fmla="*/ 571731 w 904164"/>
                <a:gd name="connsiteY11" fmla="*/ 347123 h 520301"/>
                <a:gd name="connsiteX12" fmla="*/ 655650 w 904164"/>
                <a:gd name="connsiteY12" fmla="*/ 394169 h 520301"/>
                <a:gd name="connsiteX13" fmla="*/ 878672 w 904164"/>
                <a:gd name="connsiteY13" fmla="*/ 520301 h 520301"/>
                <a:gd name="connsiteX14" fmla="*/ 904165 w 904164"/>
                <a:gd name="connsiteY14" fmla="*/ 519030 h 520301"/>
                <a:gd name="connsiteX15" fmla="*/ 904165 w 904164"/>
                <a:gd name="connsiteY15" fmla="*/ 1274 h 52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4164" h="520301">
                  <a:moveTo>
                    <a:pt x="904165" y="1274"/>
                  </a:moveTo>
                  <a:cubicBezTo>
                    <a:pt x="896155" y="511"/>
                    <a:pt x="888144" y="66"/>
                    <a:pt x="879943" y="3"/>
                  </a:cubicBezTo>
                  <a:cubicBezTo>
                    <a:pt x="785025" y="-442"/>
                    <a:pt x="701869" y="49909"/>
                    <a:pt x="656032" y="125500"/>
                  </a:cubicBezTo>
                  <a:cubicBezTo>
                    <a:pt x="638167" y="154999"/>
                    <a:pt x="606252" y="173181"/>
                    <a:pt x="571731" y="173181"/>
                  </a:cubicBezTo>
                  <a:lnTo>
                    <a:pt x="567090" y="173181"/>
                  </a:lnTo>
                  <a:cubicBezTo>
                    <a:pt x="532569" y="173181"/>
                    <a:pt x="500654" y="154999"/>
                    <a:pt x="482789" y="125500"/>
                  </a:cubicBezTo>
                  <a:cubicBezTo>
                    <a:pt x="437015" y="49909"/>
                    <a:pt x="353795" y="-442"/>
                    <a:pt x="258878" y="3"/>
                  </a:cubicBezTo>
                  <a:cubicBezTo>
                    <a:pt x="115516" y="702"/>
                    <a:pt x="0" y="116790"/>
                    <a:pt x="0" y="260152"/>
                  </a:cubicBezTo>
                  <a:cubicBezTo>
                    <a:pt x="0" y="403832"/>
                    <a:pt x="116470" y="520301"/>
                    <a:pt x="260149" y="520301"/>
                  </a:cubicBezTo>
                  <a:cubicBezTo>
                    <a:pt x="354813" y="520301"/>
                    <a:pt x="437651" y="469759"/>
                    <a:pt x="483171" y="394169"/>
                  </a:cubicBezTo>
                  <a:cubicBezTo>
                    <a:pt x="500845" y="364796"/>
                    <a:pt x="532823" y="347123"/>
                    <a:pt x="567090" y="347123"/>
                  </a:cubicBezTo>
                  <a:lnTo>
                    <a:pt x="571731" y="347123"/>
                  </a:lnTo>
                  <a:cubicBezTo>
                    <a:pt x="605998" y="347123"/>
                    <a:pt x="637976" y="364796"/>
                    <a:pt x="655650" y="394169"/>
                  </a:cubicBezTo>
                  <a:cubicBezTo>
                    <a:pt x="701170" y="469759"/>
                    <a:pt x="784008" y="520301"/>
                    <a:pt x="878672" y="520301"/>
                  </a:cubicBezTo>
                  <a:cubicBezTo>
                    <a:pt x="887254" y="520301"/>
                    <a:pt x="895773" y="519856"/>
                    <a:pt x="904165" y="519030"/>
                  </a:cubicBezTo>
                  <a:lnTo>
                    <a:pt x="904165" y="1274"/>
                  </a:lnTo>
                  <a:close/>
                </a:path>
              </a:pathLst>
            </a:custGeom>
            <a:grpFill/>
            <a:ln w="0" cap="flat">
              <a:noFill/>
              <a:prstDash val="solid"/>
              <a:miter/>
            </a:ln>
          </p:spPr>
          <p:txBody>
            <a:bodyPr rtlCol="0" anchor="ctr"/>
            <a:lstStyle/>
            <a:p>
              <a:endParaRPr lang="sv-SE"/>
            </a:p>
          </p:txBody>
        </p:sp>
        <p:sp>
          <p:nvSpPr>
            <p:cNvPr id="51" name="Frihandsfigur: Form 50">
              <a:extLst>
                <a:ext uri="{FF2B5EF4-FFF2-40B4-BE49-F238E27FC236}">
                  <a16:creationId xmlns:a16="http://schemas.microsoft.com/office/drawing/2014/main" id="{871B53AE-ABC7-555D-C895-A80AB2EB8164}"/>
                </a:ext>
              </a:extLst>
            </p:cNvPr>
            <p:cNvSpPr/>
            <p:nvPr/>
          </p:nvSpPr>
          <p:spPr>
            <a:xfrm>
              <a:off x="11486169" y="4358455"/>
              <a:ext cx="295687" cy="540388"/>
            </a:xfrm>
            <a:custGeom>
              <a:avLst/>
              <a:gdLst>
                <a:gd name="connsiteX0" fmla="*/ 295688 w 295687"/>
                <a:gd name="connsiteY0" fmla="*/ 519027 h 540388"/>
                <a:gd name="connsiteX1" fmla="*/ 270194 w 295687"/>
                <a:gd name="connsiteY1" fmla="*/ 520298 h 540388"/>
                <a:gd name="connsiteX2" fmla="*/ 20090 w 295687"/>
                <a:gd name="connsiteY2" fmla="*/ 270194 h 540388"/>
                <a:gd name="connsiteX3" fmla="*/ 270194 w 295687"/>
                <a:gd name="connsiteY3" fmla="*/ 20090 h 540388"/>
                <a:gd name="connsiteX4" fmla="*/ 295688 w 295687"/>
                <a:gd name="connsiteY4" fmla="*/ 21361 h 540388"/>
                <a:gd name="connsiteX5" fmla="*/ 295688 w 295687"/>
                <a:gd name="connsiteY5" fmla="*/ 1208 h 540388"/>
                <a:gd name="connsiteX6" fmla="*/ 270194 w 295687"/>
                <a:gd name="connsiteY6" fmla="*/ 0 h 540388"/>
                <a:gd name="connsiteX7" fmla="*/ 0 w 295687"/>
                <a:gd name="connsiteY7" fmla="*/ 270194 h 540388"/>
                <a:gd name="connsiteX8" fmla="*/ 270194 w 295687"/>
                <a:gd name="connsiteY8" fmla="*/ 540388 h 540388"/>
                <a:gd name="connsiteX9" fmla="*/ 295688 w 295687"/>
                <a:gd name="connsiteY9" fmla="*/ 539180 h 540388"/>
                <a:gd name="connsiteX10" fmla="*/ 295688 w 295687"/>
                <a:gd name="connsiteY10" fmla="*/ 519090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687" h="540388">
                  <a:moveTo>
                    <a:pt x="295688" y="519027"/>
                  </a:moveTo>
                  <a:cubicBezTo>
                    <a:pt x="287296" y="519854"/>
                    <a:pt x="278777" y="520298"/>
                    <a:pt x="270194" y="520298"/>
                  </a:cubicBezTo>
                  <a:cubicBezTo>
                    <a:pt x="132300" y="520298"/>
                    <a:pt x="20090" y="408089"/>
                    <a:pt x="20090" y="270194"/>
                  </a:cubicBezTo>
                  <a:cubicBezTo>
                    <a:pt x="20090" y="132300"/>
                    <a:pt x="132300" y="20090"/>
                    <a:pt x="270194" y="20090"/>
                  </a:cubicBezTo>
                  <a:cubicBezTo>
                    <a:pt x="278777" y="20090"/>
                    <a:pt x="287296" y="20535"/>
                    <a:pt x="295688" y="21361"/>
                  </a:cubicBezTo>
                  <a:lnTo>
                    <a:pt x="295688" y="1208"/>
                  </a:lnTo>
                  <a:cubicBezTo>
                    <a:pt x="287296" y="445"/>
                    <a:pt x="278777" y="0"/>
                    <a:pt x="270194" y="0"/>
                  </a:cubicBezTo>
                  <a:cubicBezTo>
                    <a:pt x="121238" y="0"/>
                    <a:pt x="0" y="121238"/>
                    <a:pt x="0" y="270194"/>
                  </a:cubicBezTo>
                  <a:cubicBezTo>
                    <a:pt x="0" y="419151"/>
                    <a:pt x="121238" y="540388"/>
                    <a:pt x="270194" y="540388"/>
                  </a:cubicBezTo>
                  <a:cubicBezTo>
                    <a:pt x="278777" y="540388"/>
                    <a:pt x="287296" y="539943"/>
                    <a:pt x="295688" y="539180"/>
                  </a:cubicBezTo>
                  <a:lnTo>
                    <a:pt x="295688" y="519090"/>
                  </a:lnTo>
                  <a:close/>
                </a:path>
              </a:pathLst>
            </a:custGeom>
            <a:grpFill/>
            <a:ln w="0" cap="flat">
              <a:noFill/>
              <a:prstDash val="solid"/>
              <a:miter/>
            </a:ln>
          </p:spPr>
          <p:txBody>
            <a:bodyPr rtlCol="0" anchor="ctr"/>
            <a:lstStyle/>
            <a:p>
              <a:endParaRPr lang="sv-SE"/>
            </a:p>
          </p:txBody>
        </p:sp>
        <p:sp>
          <p:nvSpPr>
            <p:cNvPr id="52" name="Frihandsfigur: Form 51">
              <a:extLst>
                <a:ext uri="{FF2B5EF4-FFF2-40B4-BE49-F238E27FC236}">
                  <a16:creationId xmlns:a16="http://schemas.microsoft.com/office/drawing/2014/main" id="{8E7C0D5F-FFA3-5919-06ED-F988A8781CE7}"/>
                </a:ext>
              </a:extLst>
            </p:cNvPr>
            <p:cNvSpPr/>
            <p:nvPr/>
          </p:nvSpPr>
          <p:spPr>
            <a:xfrm>
              <a:off x="11483626" y="3740696"/>
              <a:ext cx="298230" cy="540388"/>
            </a:xfrm>
            <a:custGeom>
              <a:avLst/>
              <a:gdLst>
                <a:gd name="connsiteX0" fmla="*/ 298231 w 298230"/>
                <a:gd name="connsiteY0" fmla="*/ 518582 h 540388"/>
                <a:gd name="connsiteX1" fmla="*/ 270194 w 298230"/>
                <a:gd name="connsiteY1" fmla="*/ 520235 h 540388"/>
                <a:gd name="connsiteX2" fmla="*/ 20090 w 298230"/>
                <a:gd name="connsiteY2" fmla="*/ 270131 h 540388"/>
                <a:gd name="connsiteX3" fmla="*/ 268986 w 298230"/>
                <a:gd name="connsiteY3" fmla="*/ 20026 h 540388"/>
                <a:gd name="connsiteX4" fmla="*/ 270194 w 298230"/>
                <a:gd name="connsiteY4" fmla="*/ 20026 h 540388"/>
                <a:gd name="connsiteX5" fmla="*/ 298167 w 298230"/>
                <a:gd name="connsiteY5" fmla="*/ 21679 h 540388"/>
                <a:gd name="connsiteX6" fmla="*/ 298167 w 298230"/>
                <a:gd name="connsiteY6" fmla="*/ 1526 h 540388"/>
                <a:gd name="connsiteX7" fmla="*/ 270194 w 298230"/>
                <a:gd name="connsiteY7" fmla="*/ 0 h 540388"/>
                <a:gd name="connsiteX8" fmla="*/ 268859 w 298230"/>
                <a:gd name="connsiteY8" fmla="*/ 0 h 540388"/>
                <a:gd name="connsiteX9" fmla="*/ 0 w 298230"/>
                <a:gd name="connsiteY9" fmla="*/ 270194 h 540388"/>
                <a:gd name="connsiteX10" fmla="*/ 270194 w 298230"/>
                <a:gd name="connsiteY10" fmla="*/ 540388 h 540388"/>
                <a:gd name="connsiteX11" fmla="*/ 298231 w 298230"/>
                <a:gd name="connsiteY11" fmla="*/ 538863 h 540388"/>
                <a:gd name="connsiteX12" fmla="*/ 298231 w 298230"/>
                <a:gd name="connsiteY12" fmla="*/ 518709 h 5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230" h="540388">
                  <a:moveTo>
                    <a:pt x="298231" y="518582"/>
                  </a:moveTo>
                  <a:cubicBezTo>
                    <a:pt x="289013" y="519599"/>
                    <a:pt x="279667" y="520235"/>
                    <a:pt x="270194" y="520235"/>
                  </a:cubicBezTo>
                  <a:cubicBezTo>
                    <a:pt x="132300" y="520235"/>
                    <a:pt x="20090" y="408025"/>
                    <a:pt x="20090" y="270131"/>
                  </a:cubicBezTo>
                  <a:cubicBezTo>
                    <a:pt x="20090" y="132872"/>
                    <a:pt x="131728" y="20662"/>
                    <a:pt x="268986" y="20026"/>
                  </a:cubicBezTo>
                  <a:cubicBezTo>
                    <a:pt x="269368" y="20026"/>
                    <a:pt x="269813" y="20026"/>
                    <a:pt x="270194" y="20026"/>
                  </a:cubicBezTo>
                  <a:cubicBezTo>
                    <a:pt x="279667" y="20026"/>
                    <a:pt x="288949" y="20662"/>
                    <a:pt x="298167" y="21679"/>
                  </a:cubicBezTo>
                  <a:lnTo>
                    <a:pt x="298167" y="1526"/>
                  </a:lnTo>
                  <a:cubicBezTo>
                    <a:pt x="288949" y="572"/>
                    <a:pt x="279603" y="0"/>
                    <a:pt x="270194" y="0"/>
                  </a:cubicBezTo>
                  <a:cubicBezTo>
                    <a:pt x="269749" y="0"/>
                    <a:pt x="269304" y="0"/>
                    <a:pt x="268859" y="0"/>
                  </a:cubicBezTo>
                  <a:cubicBezTo>
                    <a:pt x="120602" y="699"/>
                    <a:pt x="0" y="121937"/>
                    <a:pt x="0" y="270194"/>
                  </a:cubicBezTo>
                  <a:cubicBezTo>
                    <a:pt x="0" y="419151"/>
                    <a:pt x="121238" y="540388"/>
                    <a:pt x="270194" y="540388"/>
                  </a:cubicBezTo>
                  <a:cubicBezTo>
                    <a:pt x="279667" y="540388"/>
                    <a:pt x="288949" y="539753"/>
                    <a:pt x="298231" y="538863"/>
                  </a:cubicBezTo>
                  <a:lnTo>
                    <a:pt x="298231" y="518709"/>
                  </a:lnTo>
                  <a:close/>
                </a:path>
              </a:pathLst>
            </a:custGeom>
            <a:grpFill/>
            <a:ln w="0" cap="flat">
              <a:noFill/>
              <a:prstDash val="solid"/>
              <a:miter/>
            </a:ln>
          </p:spPr>
          <p:txBody>
            <a:bodyPr rtlCol="0" anchor="ctr"/>
            <a:lstStyle/>
            <a:p>
              <a:endParaRPr lang="sv-SE"/>
            </a:p>
          </p:txBody>
        </p:sp>
        <p:sp>
          <p:nvSpPr>
            <p:cNvPr id="53" name="Frihandsfigur: Form 52">
              <a:extLst>
                <a:ext uri="{FF2B5EF4-FFF2-40B4-BE49-F238E27FC236}">
                  <a16:creationId xmlns:a16="http://schemas.microsoft.com/office/drawing/2014/main" id="{E60C936A-4113-6D63-1555-C32B384D0FCA}"/>
                </a:ext>
              </a:extLst>
            </p:cNvPr>
            <p:cNvSpPr/>
            <p:nvPr/>
          </p:nvSpPr>
          <p:spPr>
            <a:xfrm>
              <a:off x="11662781" y="3581313"/>
              <a:ext cx="119076" cy="64147"/>
            </a:xfrm>
            <a:custGeom>
              <a:avLst/>
              <a:gdLst>
                <a:gd name="connsiteX0" fmla="*/ 119076 w 119076"/>
                <a:gd name="connsiteY0" fmla="*/ 0 h 64147"/>
                <a:gd name="connsiteX1" fmla="*/ 0 w 119076"/>
                <a:gd name="connsiteY1" fmla="*/ 55310 h 64147"/>
                <a:gd name="connsiteX2" fmla="*/ 28609 w 119076"/>
                <a:gd name="connsiteY2" fmla="*/ 64147 h 64147"/>
                <a:gd name="connsiteX3" fmla="*/ 119076 w 119076"/>
                <a:gd name="connsiteY3" fmla="*/ 22124 h 64147"/>
                <a:gd name="connsiteX4" fmla="*/ 119076 w 119076"/>
                <a:gd name="connsiteY4" fmla="*/ 0 h 64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6" h="64147">
                  <a:moveTo>
                    <a:pt x="119076" y="0"/>
                  </a:moveTo>
                  <a:lnTo>
                    <a:pt x="0" y="55310"/>
                  </a:lnTo>
                  <a:cubicBezTo>
                    <a:pt x="9282" y="58807"/>
                    <a:pt x="18882" y="61732"/>
                    <a:pt x="28609" y="64147"/>
                  </a:cubicBezTo>
                  <a:lnTo>
                    <a:pt x="119076" y="22124"/>
                  </a:lnTo>
                  <a:lnTo>
                    <a:pt x="119076" y="0"/>
                  </a:lnTo>
                  <a:close/>
                </a:path>
              </a:pathLst>
            </a:custGeom>
            <a:grpFill/>
            <a:ln w="0" cap="flat">
              <a:noFill/>
              <a:prstDash val="solid"/>
              <a:miter/>
            </a:ln>
          </p:spPr>
          <p:txBody>
            <a:bodyPr rtlCol="0" anchor="ctr"/>
            <a:lstStyle/>
            <a:p>
              <a:endParaRPr lang="sv-SE"/>
            </a:p>
          </p:txBody>
        </p:sp>
        <p:sp>
          <p:nvSpPr>
            <p:cNvPr id="54" name="Frihandsfigur: Form 53">
              <a:extLst>
                <a:ext uri="{FF2B5EF4-FFF2-40B4-BE49-F238E27FC236}">
                  <a16:creationId xmlns:a16="http://schemas.microsoft.com/office/drawing/2014/main" id="{DA96145C-6279-F964-8148-D1FF0721B554}"/>
                </a:ext>
              </a:extLst>
            </p:cNvPr>
            <p:cNvSpPr/>
            <p:nvPr/>
          </p:nvSpPr>
          <p:spPr>
            <a:xfrm>
              <a:off x="11578925" y="3491291"/>
              <a:ext cx="202931" cy="108459"/>
            </a:xfrm>
            <a:custGeom>
              <a:avLst/>
              <a:gdLst>
                <a:gd name="connsiteX0" fmla="*/ 202932 w 202931"/>
                <a:gd name="connsiteY0" fmla="*/ 0 h 108459"/>
                <a:gd name="connsiteX1" fmla="*/ 0 w 202931"/>
                <a:gd name="connsiteY1" fmla="*/ 94282 h 108459"/>
                <a:gd name="connsiteX2" fmla="*/ 17102 w 202931"/>
                <a:gd name="connsiteY2" fmla="*/ 108459 h 108459"/>
                <a:gd name="connsiteX3" fmla="*/ 202932 w 202931"/>
                <a:gd name="connsiteY3" fmla="*/ 22124 h 108459"/>
                <a:gd name="connsiteX4" fmla="*/ 202932 w 202931"/>
                <a:gd name="connsiteY4" fmla="*/ 0 h 108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931" h="108459">
                  <a:moveTo>
                    <a:pt x="202932" y="0"/>
                  </a:moveTo>
                  <a:lnTo>
                    <a:pt x="0" y="94282"/>
                  </a:lnTo>
                  <a:cubicBezTo>
                    <a:pt x="5468" y="99241"/>
                    <a:pt x="11189" y="103945"/>
                    <a:pt x="17102" y="108459"/>
                  </a:cubicBezTo>
                  <a:lnTo>
                    <a:pt x="202932" y="22124"/>
                  </a:lnTo>
                  <a:lnTo>
                    <a:pt x="202932" y="0"/>
                  </a:lnTo>
                  <a:close/>
                </a:path>
              </a:pathLst>
            </a:custGeom>
            <a:grpFill/>
            <a:ln w="0" cap="flat">
              <a:noFill/>
              <a:prstDash val="solid"/>
              <a:miter/>
            </a:ln>
          </p:spPr>
          <p:txBody>
            <a:bodyPr rtlCol="0" anchor="ctr"/>
            <a:lstStyle/>
            <a:p>
              <a:endParaRPr lang="sv-SE"/>
            </a:p>
          </p:txBody>
        </p:sp>
        <p:sp>
          <p:nvSpPr>
            <p:cNvPr id="55" name="Frihandsfigur: Form 54">
              <a:extLst>
                <a:ext uri="{FF2B5EF4-FFF2-40B4-BE49-F238E27FC236}">
                  <a16:creationId xmlns:a16="http://schemas.microsoft.com/office/drawing/2014/main" id="{A84BD677-D3E9-45EE-7D2C-6734DE95F113}"/>
                </a:ext>
              </a:extLst>
            </p:cNvPr>
            <p:cNvSpPr/>
            <p:nvPr/>
          </p:nvSpPr>
          <p:spPr>
            <a:xfrm>
              <a:off x="11526730" y="3401205"/>
              <a:ext cx="255126" cy="135732"/>
            </a:xfrm>
            <a:custGeom>
              <a:avLst/>
              <a:gdLst>
                <a:gd name="connsiteX0" fmla="*/ 255127 w 255126"/>
                <a:gd name="connsiteY0" fmla="*/ 0 h 135732"/>
                <a:gd name="connsiteX1" fmla="*/ 0 w 255126"/>
                <a:gd name="connsiteY1" fmla="*/ 118504 h 135732"/>
                <a:gd name="connsiteX2" fmla="*/ 10490 w 255126"/>
                <a:gd name="connsiteY2" fmla="*/ 135733 h 135732"/>
                <a:gd name="connsiteX3" fmla="*/ 255127 w 255126"/>
                <a:gd name="connsiteY3" fmla="*/ 22124 h 135732"/>
                <a:gd name="connsiteX4" fmla="*/ 255127 w 255126"/>
                <a:gd name="connsiteY4" fmla="*/ 0 h 135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26" h="135732">
                  <a:moveTo>
                    <a:pt x="255127" y="0"/>
                  </a:moveTo>
                  <a:lnTo>
                    <a:pt x="0" y="118504"/>
                  </a:lnTo>
                  <a:cubicBezTo>
                    <a:pt x="3306" y="124417"/>
                    <a:pt x="6803" y="130138"/>
                    <a:pt x="10490" y="135733"/>
                  </a:cubicBezTo>
                  <a:lnTo>
                    <a:pt x="255127" y="22124"/>
                  </a:lnTo>
                  <a:lnTo>
                    <a:pt x="255127" y="0"/>
                  </a:lnTo>
                  <a:close/>
                </a:path>
              </a:pathLst>
            </a:custGeom>
            <a:grpFill/>
            <a:ln w="0" cap="flat">
              <a:noFill/>
              <a:prstDash val="solid"/>
              <a:miter/>
            </a:ln>
          </p:spPr>
          <p:txBody>
            <a:bodyPr rtlCol="0" anchor="ctr"/>
            <a:lstStyle/>
            <a:p>
              <a:endParaRPr lang="sv-SE"/>
            </a:p>
          </p:txBody>
        </p:sp>
        <p:sp>
          <p:nvSpPr>
            <p:cNvPr id="56" name="Frihandsfigur: Form 55">
              <a:extLst>
                <a:ext uri="{FF2B5EF4-FFF2-40B4-BE49-F238E27FC236}">
                  <a16:creationId xmlns:a16="http://schemas.microsoft.com/office/drawing/2014/main" id="{43ECB42D-3A25-896D-672C-50C139082BBE}"/>
                </a:ext>
              </a:extLst>
            </p:cNvPr>
            <p:cNvSpPr/>
            <p:nvPr/>
          </p:nvSpPr>
          <p:spPr>
            <a:xfrm>
              <a:off x="11498503" y="3311182"/>
              <a:ext cx="283354" cy="151563"/>
            </a:xfrm>
            <a:custGeom>
              <a:avLst/>
              <a:gdLst>
                <a:gd name="connsiteX0" fmla="*/ 283354 w 283354"/>
                <a:gd name="connsiteY0" fmla="*/ 0 h 151563"/>
                <a:gd name="connsiteX1" fmla="*/ 0 w 283354"/>
                <a:gd name="connsiteY1" fmla="*/ 131601 h 151563"/>
                <a:gd name="connsiteX2" fmla="*/ 4704 w 283354"/>
                <a:gd name="connsiteY2" fmla="*/ 151563 h 151563"/>
                <a:gd name="connsiteX3" fmla="*/ 283354 w 283354"/>
                <a:gd name="connsiteY3" fmla="*/ 22124 h 151563"/>
                <a:gd name="connsiteX4" fmla="*/ 283354 w 283354"/>
                <a:gd name="connsiteY4" fmla="*/ 0 h 151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354" h="151563">
                  <a:moveTo>
                    <a:pt x="283354" y="0"/>
                  </a:moveTo>
                  <a:lnTo>
                    <a:pt x="0" y="131601"/>
                  </a:lnTo>
                  <a:cubicBezTo>
                    <a:pt x="1335" y="138339"/>
                    <a:pt x="2924" y="145015"/>
                    <a:pt x="4704" y="151563"/>
                  </a:cubicBezTo>
                  <a:lnTo>
                    <a:pt x="283354" y="22124"/>
                  </a:lnTo>
                  <a:lnTo>
                    <a:pt x="283354" y="0"/>
                  </a:lnTo>
                  <a:close/>
                </a:path>
              </a:pathLst>
            </a:custGeom>
            <a:grpFill/>
            <a:ln w="0" cap="flat">
              <a:noFill/>
              <a:prstDash val="solid"/>
              <a:miter/>
            </a:ln>
          </p:spPr>
          <p:txBody>
            <a:bodyPr rtlCol="0" anchor="ctr"/>
            <a:lstStyle/>
            <a:p>
              <a:endParaRPr lang="sv-SE"/>
            </a:p>
          </p:txBody>
        </p:sp>
        <p:sp>
          <p:nvSpPr>
            <p:cNvPr id="57" name="Frihandsfigur: Form 56">
              <a:extLst>
                <a:ext uri="{FF2B5EF4-FFF2-40B4-BE49-F238E27FC236}">
                  <a16:creationId xmlns:a16="http://schemas.microsoft.com/office/drawing/2014/main" id="{BDD0CB14-77F3-E75E-41AC-E9A321BFD155}"/>
                </a:ext>
              </a:extLst>
            </p:cNvPr>
            <p:cNvSpPr/>
            <p:nvPr/>
          </p:nvSpPr>
          <p:spPr>
            <a:xfrm>
              <a:off x="11494243" y="3221097"/>
              <a:ext cx="287613" cy="155758"/>
            </a:xfrm>
            <a:custGeom>
              <a:avLst/>
              <a:gdLst>
                <a:gd name="connsiteX0" fmla="*/ 287614 w 287613"/>
                <a:gd name="connsiteY0" fmla="*/ 0 h 155758"/>
                <a:gd name="connsiteX1" fmla="*/ 2416 w 287613"/>
                <a:gd name="connsiteY1" fmla="*/ 132490 h 155758"/>
                <a:gd name="connsiteX2" fmla="*/ 0 w 287613"/>
                <a:gd name="connsiteY2" fmla="*/ 155759 h 155758"/>
                <a:gd name="connsiteX3" fmla="*/ 287614 w 287613"/>
                <a:gd name="connsiteY3" fmla="*/ 22124 h 155758"/>
                <a:gd name="connsiteX4" fmla="*/ 287614 w 287613"/>
                <a:gd name="connsiteY4" fmla="*/ 0 h 15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13" h="155758">
                  <a:moveTo>
                    <a:pt x="287614" y="0"/>
                  </a:moveTo>
                  <a:lnTo>
                    <a:pt x="2416" y="132490"/>
                  </a:lnTo>
                  <a:cubicBezTo>
                    <a:pt x="1271" y="140119"/>
                    <a:pt x="445" y="147876"/>
                    <a:pt x="0" y="155759"/>
                  </a:cubicBezTo>
                  <a:lnTo>
                    <a:pt x="287614" y="22124"/>
                  </a:lnTo>
                  <a:lnTo>
                    <a:pt x="287614" y="0"/>
                  </a:lnTo>
                  <a:close/>
                </a:path>
              </a:pathLst>
            </a:custGeom>
            <a:grpFill/>
            <a:ln w="0" cap="flat">
              <a:noFill/>
              <a:prstDash val="solid"/>
              <a:miter/>
            </a:ln>
          </p:spPr>
          <p:txBody>
            <a:bodyPr rtlCol="0" anchor="ctr"/>
            <a:lstStyle/>
            <a:p>
              <a:endParaRPr lang="sv-SE"/>
            </a:p>
          </p:txBody>
        </p:sp>
        <p:sp>
          <p:nvSpPr>
            <p:cNvPr id="58" name="Frihandsfigur: Form 57">
              <a:extLst>
                <a:ext uri="{FF2B5EF4-FFF2-40B4-BE49-F238E27FC236}">
                  <a16:creationId xmlns:a16="http://schemas.microsoft.com/office/drawing/2014/main" id="{B6A135D0-82B6-B932-5FB8-493461B3FA52}"/>
                </a:ext>
              </a:extLst>
            </p:cNvPr>
            <p:cNvSpPr/>
            <p:nvPr/>
          </p:nvSpPr>
          <p:spPr>
            <a:xfrm>
              <a:off x="11522725" y="3133808"/>
              <a:ext cx="259131" cy="139738"/>
            </a:xfrm>
            <a:custGeom>
              <a:avLst/>
              <a:gdLst>
                <a:gd name="connsiteX0" fmla="*/ 259132 w 259131"/>
                <a:gd name="connsiteY0" fmla="*/ 699 h 139738"/>
                <a:gd name="connsiteX1" fmla="*/ 253283 w 259131"/>
                <a:gd name="connsiteY1" fmla="*/ 0 h 139738"/>
                <a:gd name="connsiteX2" fmla="*/ 18818 w 259131"/>
                <a:gd name="connsiteY2" fmla="*/ 108904 h 139738"/>
                <a:gd name="connsiteX3" fmla="*/ 0 w 259131"/>
                <a:gd name="connsiteY3" fmla="*/ 139738 h 139738"/>
                <a:gd name="connsiteX4" fmla="*/ 259132 w 259131"/>
                <a:gd name="connsiteY4" fmla="*/ 19390 h 139738"/>
                <a:gd name="connsiteX5" fmla="*/ 259132 w 259131"/>
                <a:gd name="connsiteY5" fmla="*/ 699 h 139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131" h="139738">
                  <a:moveTo>
                    <a:pt x="259132" y="699"/>
                  </a:moveTo>
                  <a:cubicBezTo>
                    <a:pt x="257161" y="509"/>
                    <a:pt x="255254" y="191"/>
                    <a:pt x="253283" y="0"/>
                  </a:cubicBezTo>
                  <a:lnTo>
                    <a:pt x="18818" y="108904"/>
                  </a:lnTo>
                  <a:cubicBezTo>
                    <a:pt x="11889" y="118695"/>
                    <a:pt x="5595" y="128994"/>
                    <a:pt x="0" y="139738"/>
                  </a:cubicBezTo>
                  <a:lnTo>
                    <a:pt x="259132" y="19390"/>
                  </a:lnTo>
                  <a:lnTo>
                    <a:pt x="259132" y="699"/>
                  </a:lnTo>
                  <a:close/>
                </a:path>
              </a:pathLst>
            </a:custGeom>
            <a:grpFill/>
            <a:ln w="0" cap="flat">
              <a:noFill/>
              <a:prstDash val="solid"/>
              <a:miter/>
            </a:ln>
          </p:spPr>
          <p:txBody>
            <a:bodyPr rtlCol="0" anchor="ctr"/>
            <a:lstStyle/>
            <a:p>
              <a:endParaRPr lang="sv-SE"/>
            </a:p>
          </p:txBody>
        </p:sp>
        <p:sp>
          <p:nvSpPr>
            <p:cNvPr id="59" name="Frihandsfigur: Form 58">
              <a:extLst>
                <a:ext uri="{FF2B5EF4-FFF2-40B4-BE49-F238E27FC236}">
                  <a16:creationId xmlns:a16="http://schemas.microsoft.com/office/drawing/2014/main" id="{DC4C565B-0953-D2E8-534E-A80C5822730E}"/>
                </a:ext>
              </a:extLst>
            </p:cNvPr>
            <p:cNvSpPr/>
            <p:nvPr/>
          </p:nvSpPr>
          <p:spPr>
            <a:xfrm>
              <a:off x="10261522" y="1277797"/>
              <a:ext cx="1520334" cy="1757470"/>
            </a:xfrm>
            <a:custGeom>
              <a:avLst/>
              <a:gdLst>
                <a:gd name="connsiteX0" fmla="*/ 1520335 w 1520334"/>
                <a:gd name="connsiteY0" fmla="*/ 1081 h 1757470"/>
                <a:gd name="connsiteX1" fmla="*/ 1496876 w 1520334"/>
                <a:gd name="connsiteY1" fmla="*/ 0 h 1757470"/>
                <a:gd name="connsiteX2" fmla="*/ 1236727 w 1520334"/>
                <a:gd name="connsiteY2" fmla="*/ 260149 h 1757470"/>
                <a:gd name="connsiteX3" fmla="*/ 1361016 w 1520334"/>
                <a:gd name="connsiteY3" fmla="*/ 482026 h 1757470"/>
                <a:gd name="connsiteX4" fmla="*/ 1409969 w 1520334"/>
                <a:gd name="connsiteY4" fmla="*/ 569315 h 1757470"/>
                <a:gd name="connsiteX5" fmla="*/ 1409969 w 1520334"/>
                <a:gd name="connsiteY5" fmla="*/ 569569 h 1757470"/>
                <a:gd name="connsiteX6" fmla="*/ 1361016 w 1520334"/>
                <a:gd name="connsiteY6" fmla="*/ 656858 h 1757470"/>
                <a:gd name="connsiteX7" fmla="*/ 1236727 w 1520334"/>
                <a:gd name="connsiteY7" fmla="*/ 878735 h 1757470"/>
                <a:gd name="connsiteX8" fmla="*/ 1361016 w 1520334"/>
                <a:gd name="connsiteY8" fmla="*/ 1100612 h 1757470"/>
                <a:gd name="connsiteX9" fmla="*/ 1409969 w 1520334"/>
                <a:gd name="connsiteY9" fmla="*/ 1187901 h 1757470"/>
                <a:gd name="connsiteX10" fmla="*/ 1409969 w 1520334"/>
                <a:gd name="connsiteY10" fmla="*/ 1188155 h 1757470"/>
                <a:gd name="connsiteX11" fmla="*/ 1361016 w 1520334"/>
                <a:gd name="connsiteY11" fmla="*/ 1275444 h 1757470"/>
                <a:gd name="connsiteX12" fmla="*/ 1271820 w 1520334"/>
                <a:gd name="connsiteY12" fmla="*/ 1366865 h 1757470"/>
                <a:gd name="connsiteX13" fmla="*/ 1188219 w 1520334"/>
                <a:gd name="connsiteY13" fmla="*/ 1410350 h 1757470"/>
                <a:gd name="connsiteX14" fmla="*/ 1187965 w 1520334"/>
                <a:gd name="connsiteY14" fmla="*/ 1410350 h 1757470"/>
                <a:gd name="connsiteX15" fmla="*/ 1100676 w 1520334"/>
                <a:gd name="connsiteY15" fmla="*/ 1361397 h 1757470"/>
                <a:gd name="connsiteX16" fmla="*/ 878799 w 1520334"/>
                <a:gd name="connsiteY16" fmla="*/ 1237108 h 1757470"/>
                <a:gd name="connsiteX17" fmla="*/ 656922 w 1520334"/>
                <a:gd name="connsiteY17" fmla="*/ 1361397 h 1757470"/>
                <a:gd name="connsiteX18" fmla="*/ 569633 w 1520334"/>
                <a:gd name="connsiteY18" fmla="*/ 1410350 h 1757470"/>
                <a:gd name="connsiteX19" fmla="*/ 569379 w 1520334"/>
                <a:gd name="connsiteY19" fmla="*/ 1410350 h 1757470"/>
                <a:gd name="connsiteX20" fmla="*/ 481645 w 1520334"/>
                <a:gd name="connsiteY20" fmla="*/ 1360761 h 1757470"/>
                <a:gd name="connsiteX21" fmla="*/ 258878 w 1520334"/>
                <a:gd name="connsiteY21" fmla="*/ 1237172 h 1757470"/>
                <a:gd name="connsiteX22" fmla="*/ 0 w 1520334"/>
                <a:gd name="connsiteY22" fmla="*/ 1497321 h 1757470"/>
                <a:gd name="connsiteX23" fmla="*/ 260149 w 1520334"/>
                <a:gd name="connsiteY23" fmla="*/ 1757470 h 1757470"/>
                <a:gd name="connsiteX24" fmla="*/ 482026 w 1520334"/>
                <a:gd name="connsiteY24" fmla="*/ 1633181 h 1757470"/>
                <a:gd name="connsiteX25" fmla="*/ 569315 w 1520334"/>
                <a:gd name="connsiteY25" fmla="*/ 1584228 h 1757470"/>
                <a:gd name="connsiteX26" fmla="*/ 569569 w 1520334"/>
                <a:gd name="connsiteY26" fmla="*/ 1584228 h 1757470"/>
                <a:gd name="connsiteX27" fmla="*/ 656858 w 1520334"/>
                <a:gd name="connsiteY27" fmla="*/ 1633181 h 1757470"/>
                <a:gd name="connsiteX28" fmla="*/ 878735 w 1520334"/>
                <a:gd name="connsiteY28" fmla="*/ 1757470 h 1757470"/>
                <a:gd name="connsiteX29" fmla="*/ 1100612 w 1520334"/>
                <a:gd name="connsiteY29" fmla="*/ 1633181 h 1757470"/>
                <a:gd name="connsiteX30" fmla="*/ 1187901 w 1520334"/>
                <a:gd name="connsiteY30" fmla="*/ 1584228 h 1757470"/>
                <a:gd name="connsiteX31" fmla="*/ 1188155 w 1520334"/>
                <a:gd name="connsiteY31" fmla="*/ 1584228 h 1757470"/>
                <a:gd name="connsiteX32" fmla="*/ 1271311 w 1520334"/>
                <a:gd name="connsiteY32" fmla="*/ 1626950 h 1757470"/>
                <a:gd name="connsiteX33" fmla="*/ 1488484 w 1520334"/>
                <a:gd name="connsiteY33" fmla="*/ 1757279 h 1757470"/>
                <a:gd name="connsiteX34" fmla="*/ 1488611 w 1520334"/>
                <a:gd name="connsiteY34" fmla="*/ 1757279 h 1757470"/>
                <a:gd name="connsiteX35" fmla="*/ 1496876 w 1520334"/>
                <a:gd name="connsiteY35" fmla="*/ 1757406 h 1757470"/>
                <a:gd name="connsiteX36" fmla="*/ 1497130 w 1520334"/>
                <a:gd name="connsiteY36" fmla="*/ 1757406 h 1757470"/>
                <a:gd name="connsiteX37" fmla="*/ 1497321 w 1520334"/>
                <a:gd name="connsiteY37" fmla="*/ 1757406 h 1757470"/>
                <a:gd name="connsiteX38" fmla="*/ 1520335 w 1520334"/>
                <a:gd name="connsiteY38" fmla="*/ 1756326 h 1757470"/>
                <a:gd name="connsiteX39" fmla="*/ 1520335 w 1520334"/>
                <a:gd name="connsiteY39" fmla="*/ 1081 h 175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20334" h="1757470">
                  <a:moveTo>
                    <a:pt x="1520335" y="1081"/>
                  </a:moveTo>
                  <a:cubicBezTo>
                    <a:pt x="1512579" y="381"/>
                    <a:pt x="1504823" y="0"/>
                    <a:pt x="1496876" y="0"/>
                  </a:cubicBezTo>
                  <a:cubicBezTo>
                    <a:pt x="1353196" y="0"/>
                    <a:pt x="1236727" y="116470"/>
                    <a:pt x="1236727" y="260149"/>
                  </a:cubicBezTo>
                  <a:cubicBezTo>
                    <a:pt x="1236727" y="354050"/>
                    <a:pt x="1286442" y="436252"/>
                    <a:pt x="1361016" y="482026"/>
                  </a:cubicBezTo>
                  <a:cubicBezTo>
                    <a:pt x="1391405" y="500654"/>
                    <a:pt x="1409969" y="533713"/>
                    <a:pt x="1409969" y="569315"/>
                  </a:cubicBezTo>
                  <a:lnTo>
                    <a:pt x="1409969" y="569569"/>
                  </a:lnTo>
                  <a:cubicBezTo>
                    <a:pt x="1409969" y="605171"/>
                    <a:pt x="1391405" y="638230"/>
                    <a:pt x="1361016" y="656858"/>
                  </a:cubicBezTo>
                  <a:cubicBezTo>
                    <a:pt x="1286506" y="702632"/>
                    <a:pt x="1236727" y="784835"/>
                    <a:pt x="1236727" y="878735"/>
                  </a:cubicBezTo>
                  <a:cubicBezTo>
                    <a:pt x="1236727" y="972635"/>
                    <a:pt x="1286442" y="1054838"/>
                    <a:pt x="1361016" y="1100612"/>
                  </a:cubicBezTo>
                  <a:cubicBezTo>
                    <a:pt x="1391405" y="1119240"/>
                    <a:pt x="1409969" y="1152299"/>
                    <a:pt x="1409969" y="1187901"/>
                  </a:cubicBezTo>
                  <a:lnTo>
                    <a:pt x="1409969" y="1188155"/>
                  </a:lnTo>
                  <a:cubicBezTo>
                    <a:pt x="1409969" y="1223757"/>
                    <a:pt x="1391405" y="1256816"/>
                    <a:pt x="1361016" y="1275444"/>
                  </a:cubicBezTo>
                  <a:cubicBezTo>
                    <a:pt x="1324206" y="1298013"/>
                    <a:pt x="1293499" y="1329482"/>
                    <a:pt x="1271820" y="1366865"/>
                  </a:cubicBezTo>
                  <a:cubicBezTo>
                    <a:pt x="1252493" y="1393821"/>
                    <a:pt x="1221659" y="1410350"/>
                    <a:pt x="1188219" y="1410350"/>
                  </a:cubicBezTo>
                  <a:lnTo>
                    <a:pt x="1187965" y="1410350"/>
                  </a:lnTo>
                  <a:cubicBezTo>
                    <a:pt x="1152362" y="1410350"/>
                    <a:pt x="1119303" y="1391786"/>
                    <a:pt x="1100676" y="1361397"/>
                  </a:cubicBezTo>
                  <a:cubicBezTo>
                    <a:pt x="1054902" y="1286887"/>
                    <a:pt x="972699" y="1237108"/>
                    <a:pt x="878799" y="1237108"/>
                  </a:cubicBezTo>
                  <a:cubicBezTo>
                    <a:pt x="784898" y="1237108"/>
                    <a:pt x="702696" y="1286824"/>
                    <a:pt x="656922" y="1361397"/>
                  </a:cubicBezTo>
                  <a:cubicBezTo>
                    <a:pt x="638294" y="1391786"/>
                    <a:pt x="605235" y="1410350"/>
                    <a:pt x="569633" y="1410350"/>
                  </a:cubicBezTo>
                  <a:lnTo>
                    <a:pt x="569379" y="1410350"/>
                  </a:lnTo>
                  <a:cubicBezTo>
                    <a:pt x="533459" y="1410350"/>
                    <a:pt x="500527" y="1391341"/>
                    <a:pt x="481645" y="1360761"/>
                  </a:cubicBezTo>
                  <a:cubicBezTo>
                    <a:pt x="435617" y="1286251"/>
                    <a:pt x="353033" y="1236726"/>
                    <a:pt x="258878" y="1237172"/>
                  </a:cubicBezTo>
                  <a:cubicBezTo>
                    <a:pt x="115516" y="1237871"/>
                    <a:pt x="0" y="1353959"/>
                    <a:pt x="0" y="1497321"/>
                  </a:cubicBezTo>
                  <a:cubicBezTo>
                    <a:pt x="0" y="1641000"/>
                    <a:pt x="116470" y="1757470"/>
                    <a:pt x="260149" y="1757470"/>
                  </a:cubicBezTo>
                  <a:cubicBezTo>
                    <a:pt x="354050" y="1757470"/>
                    <a:pt x="436253" y="1707754"/>
                    <a:pt x="482026" y="1633181"/>
                  </a:cubicBezTo>
                  <a:cubicBezTo>
                    <a:pt x="500654" y="1602792"/>
                    <a:pt x="533713" y="1584228"/>
                    <a:pt x="569315" y="1584228"/>
                  </a:cubicBezTo>
                  <a:lnTo>
                    <a:pt x="569569" y="1584228"/>
                  </a:lnTo>
                  <a:cubicBezTo>
                    <a:pt x="605171" y="1584228"/>
                    <a:pt x="638231" y="1602792"/>
                    <a:pt x="656858" y="1633181"/>
                  </a:cubicBezTo>
                  <a:cubicBezTo>
                    <a:pt x="702632" y="1707691"/>
                    <a:pt x="784835" y="1757470"/>
                    <a:pt x="878735" y="1757470"/>
                  </a:cubicBezTo>
                  <a:cubicBezTo>
                    <a:pt x="972636" y="1757470"/>
                    <a:pt x="1054838" y="1707754"/>
                    <a:pt x="1100612" y="1633181"/>
                  </a:cubicBezTo>
                  <a:cubicBezTo>
                    <a:pt x="1119240" y="1602792"/>
                    <a:pt x="1152299" y="1584228"/>
                    <a:pt x="1187901" y="1584228"/>
                  </a:cubicBezTo>
                  <a:lnTo>
                    <a:pt x="1188155" y="1584228"/>
                  </a:lnTo>
                  <a:cubicBezTo>
                    <a:pt x="1221278" y="1584228"/>
                    <a:pt x="1252112" y="1600312"/>
                    <a:pt x="1271311" y="1626950"/>
                  </a:cubicBezTo>
                  <a:cubicBezTo>
                    <a:pt x="1314924" y="1702668"/>
                    <a:pt x="1395537" y="1754355"/>
                    <a:pt x="1488484" y="1757279"/>
                  </a:cubicBezTo>
                  <a:cubicBezTo>
                    <a:pt x="1488484" y="1757279"/>
                    <a:pt x="1488547" y="1757279"/>
                    <a:pt x="1488611" y="1757279"/>
                  </a:cubicBezTo>
                  <a:cubicBezTo>
                    <a:pt x="1491345" y="1757343"/>
                    <a:pt x="1494142" y="1757406"/>
                    <a:pt x="1496876" y="1757406"/>
                  </a:cubicBezTo>
                  <a:cubicBezTo>
                    <a:pt x="1496939" y="1757406"/>
                    <a:pt x="1497067" y="1757406"/>
                    <a:pt x="1497130" y="1757406"/>
                  </a:cubicBezTo>
                  <a:cubicBezTo>
                    <a:pt x="1497194" y="1757406"/>
                    <a:pt x="1497258" y="1757406"/>
                    <a:pt x="1497321" y="1757406"/>
                  </a:cubicBezTo>
                  <a:cubicBezTo>
                    <a:pt x="1505077" y="1757406"/>
                    <a:pt x="1512706" y="1757025"/>
                    <a:pt x="1520335" y="1756326"/>
                  </a:cubicBezTo>
                  <a:lnTo>
                    <a:pt x="1520335" y="1081"/>
                  </a:lnTo>
                  <a:close/>
                </a:path>
              </a:pathLst>
            </a:custGeom>
            <a:grpFill/>
            <a:ln w="0" cap="flat">
              <a:noFill/>
              <a:prstDash val="solid"/>
              <a:miter/>
            </a:ln>
          </p:spPr>
          <p:txBody>
            <a:bodyPr rtlCol="0" anchor="ctr"/>
            <a:lstStyle/>
            <a:p>
              <a:endParaRPr lang="sv-SE"/>
            </a:p>
          </p:txBody>
        </p:sp>
        <p:sp>
          <p:nvSpPr>
            <p:cNvPr id="60" name="Frihandsfigur: Form 59">
              <a:extLst>
                <a:ext uri="{FF2B5EF4-FFF2-40B4-BE49-F238E27FC236}">
                  <a16:creationId xmlns:a16="http://schemas.microsoft.com/office/drawing/2014/main" id="{1AD72CCE-1955-B464-1E9A-17627F08DBFA}"/>
                </a:ext>
              </a:extLst>
            </p:cNvPr>
            <p:cNvSpPr/>
            <p:nvPr/>
          </p:nvSpPr>
          <p:spPr>
            <a:xfrm>
              <a:off x="11508929" y="6253502"/>
              <a:ext cx="272927" cy="148956"/>
            </a:xfrm>
            <a:custGeom>
              <a:avLst/>
              <a:gdLst>
                <a:gd name="connsiteX0" fmla="*/ 272928 w 272927"/>
                <a:gd name="connsiteY0" fmla="*/ 0 h 148956"/>
                <a:gd name="connsiteX1" fmla="*/ 10490 w 272927"/>
                <a:gd name="connsiteY1" fmla="*/ 121937 h 148956"/>
                <a:gd name="connsiteX2" fmla="*/ 0 w 272927"/>
                <a:gd name="connsiteY2" fmla="*/ 148956 h 148956"/>
                <a:gd name="connsiteX3" fmla="*/ 272928 w 272927"/>
                <a:gd name="connsiteY3" fmla="*/ 22188 h 148956"/>
                <a:gd name="connsiteX4" fmla="*/ 272928 w 272927"/>
                <a:gd name="connsiteY4" fmla="*/ 63 h 148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7" h="148956">
                  <a:moveTo>
                    <a:pt x="272928" y="0"/>
                  </a:moveTo>
                  <a:lnTo>
                    <a:pt x="10490" y="121937"/>
                  </a:lnTo>
                  <a:cubicBezTo>
                    <a:pt x="6485" y="130710"/>
                    <a:pt x="3051" y="139674"/>
                    <a:pt x="0" y="148956"/>
                  </a:cubicBezTo>
                  <a:lnTo>
                    <a:pt x="272928" y="22188"/>
                  </a:lnTo>
                  <a:lnTo>
                    <a:pt x="272928" y="63"/>
                  </a:lnTo>
                  <a:close/>
                </a:path>
              </a:pathLst>
            </a:custGeom>
            <a:grpFill/>
            <a:ln w="0" cap="flat">
              <a:noFill/>
              <a:prstDash val="solid"/>
              <a:miter/>
            </a:ln>
          </p:spPr>
          <p:txBody>
            <a:bodyPr rtlCol="0" anchor="ctr"/>
            <a:lstStyle/>
            <a:p>
              <a:endParaRPr lang="sv-SE"/>
            </a:p>
          </p:txBody>
        </p:sp>
        <p:sp>
          <p:nvSpPr>
            <p:cNvPr id="61" name="Frihandsfigur: Form 60">
              <a:extLst>
                <a:ext uri="{FF2B5EF4-FFF2-40B4-BE49-F238E27FC236}">
                  <a16:creationId xmlns:a16="http://schemas.microsoft.com/office/drawing/2014/main" id="{CF75D178-CA2E-3CCD-F4B8-63C341C76C0E}"/>
                </a:ext>
              </a:extLst>
            </p:cNvPr>
            <p:cNvSpPr/>
            <p:nvPr/>
          </p:nvSpPr>
          <p:spPr>
            <a:xfrm>
              <a:off x="11623174" y="6163416"/>
              <a:ext cx="158683" cy="95807"/>
            </a:xfrm>
            <a:custGeom>
              <a:avLst/>
              <a:gdLst>
                <a:gd name="connsiteX0" fmla="*/ 158683 w 158683"/>
                <a:gd name="connsiteY0" fmla="*/ 0 h 95807"/>
                <a:gd name="connsiteX1" fmla="*/ 34521 w 158683"/>
                <a:gd name="connsiteY1" fmla="*/ 57663 h 95807"/>
                <a:gd name="connsiteX2" fmla="*/ 0 w 158683"/>
                <a:gd name="connsiteY2" fmla="*/ 95808 h 95807"/>
                <a:gd name="connsiteX3" fmla="*/ 158683 w 158683"/>
                <a:gd name="connsiteY3" fmla="*/ 22124 h 95807"/>
                <a:gd name="connsiteX4" fmla="*/ 158683 w 158683"/>
                <a:gd name="connsiteY4" fmla="*/ 0 h 95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83" h="95807">
                  <a:moveTo>
                    <a:pt x="158683" y="0"/>
                  </a:moveTo>
                  <a:lnTo>
                    <a:pt x="34521" y="57663"/>
                  </a:lnTo>
                  <a:cubicBezTo>
                    <a:pt x="26574" y="72921"/>
                    <a:pt x="14749" y="86081"/>
                    <a:pt x="0" y="95808"/>
                  </a:cubicBezTo>
                  <a:lnTo>
                    <a:pt x="158683" y="22124"/>
                  </a:lnTo>
                  <a:lnTo>
                    <a:pt x="158683" y="0"/>
                  </a:lnTo>
                  <a:close/>
                </a:path>
              </a:pathLst>
            </a:custGeom>
            <a:grpFill/>
            <a:ln w="0" cap="flat">
              <a:noFill/>
              <a:prstDash val="solid"/>
              <a:miter/>
            </a:ln>
          </p:spPr>
          <p:txBody>
            <a:bodyPr rtlCol="0" anchor="ctr"/>
            <a:lstStyle/>
            <a:p>
              <a:endParaRPr lang="sv-SE"/>
            </a:p>
          </p:txBody>
        </p:sp>
        <p:sp>
          <p:nvSpPr>
            <p:cNvPr id="62" name="Frihandsfigur: Form 61">
              <a:extLst>
                <a:ext uri="{FF2B5EF4-FFF2-40B4-BE49-F238E27FC236}">
                  <a16:creationId xmlns:a16="http://schemas.microsoft.com/office/drawing/2014/main" id="{B6539D99-7A57-C761-A473-90F2FAF14823}"/>
                </a:ext>
              </a:extLst>
            </p:cNvPr>
            <p:cNvSpPr/>
            <p:nvPr/>
          </p:nvSpPr>
          <p:spPr>
            <a:xfrm>
              <a:off x="11659666" y="6073393"/>
              <a:ext cx="122191" cy="75781"/>
            </a:xfrm>
            <a:custGeom>
              <a:avLst/>
              <a:gdLst>
                <a:gd name="connsiteX0" fmla="*/ 122191 w 122191"/>
                <a:gd name="connsiteY0" fmla="*/ 0 h 75781"/>
                <a:gd name="connsiteX1" fmla="*/ 0 w 122191"/>
                <a:gd name="connsiteY1" fmla="*/ 56773 h 75781"/>
                <a:gd name="connsiteX2" fmla="*/ 6739 w 122191"/>
                <a:gd name="connsiteY2" fmla="*/ 75781 h 75781"/>
                <a:gd name="connsiteX3" fmla="*/ 122191 w 122191"/>
                <a:gd name="connsiteY3" fmla="*/ 22124 h 75781"/>
                <a:gd name="connsiteX4" fmla="*/ 122191 w 122191"/>
                <a:gd name="connsiteY4" fmla="*/ 0 h 75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91" h="75781">
                  <a:moveTo>
                    <a:pt x="122191" y="0"/>
                  </a:moveTo>
                  <a:lnTo>
                    <a:pt x="0" y="56773"/>
                  </a:lnTo>
                  <a:cubicBezTo>
                    <a:pt x="2861" y="62876"/>
                    <a:pt x="5086" y="69233"/>
                    <a:pt x="6739" y="75781"/>
                  </a:cubicBezTo>
                  <a:lnTo>
                    <a:pt x="122191" y="22124"/>
                  </a:lnTo>
                  <a:lnTo>
                    <a:pt x="122191" y="0"/>
                  </a:lnTo>
                  <a:close/>
                </a:path>
              </a:pathLst>
            </a:custGeom>
            <a:grpFill/>
            <a:ln w="0" cap="flat">
              <a:noFill/>
              <a:prstDash val="solid"/>
              <a:miter/>
            </a:ln>
          </p:spPr>
          <p:txBody>
            <a:bodyPr rtlCol="0" anchor="ctr"/>
            <a:lstStyle/>
            <a:p>
              <a:endParaRPr lang="sv-SE"/>
            </a:p>
          </p:txBody>
        </p:sp>
        <p:sp>
          <p:nvSpPr>
            <p:cNvPr id="63" name="Frihandsfigur: Form 62">
              <a:extLst>
                <a:ext uri="{FF2B5EF4-FFF2-40B4-BE49-F238E27FC236}">
                  <a16:creationId xmlns:a16="http://schemas.microsoft.com/office/drawing/2014/main" id="{67D16469-D01C-9F67-1D6B-23DA6C78DB7F}"/>
                </a:ext>
              </a:extLst>
            </p:cNvPr>
            <p:cNvSpPr/>
            <p:nvPr/>
          </p:nvSpPr>
          <p:spPr>
            <a:xfrm>
              <a:off x="11596345" y="5983308"/>
              <a:ext cx="185511" cy="99558"/>
            </a:xfrm>
            <a:custGeom>
              <a:avLst/>
              <a:gdLst>
                <a:gd name="connsiteX0" fmla="*/ 185512 w 185511"/>
                <a:gd name="connsiteY0" fmla="*/ 0 h 99558"/>
                <a:gd name="connsiteX1" fmla="*/ 0 w 185511"/>
                <a:gd name="connsiteY1" fmla="*/ 86144 h 99558"/>
                <a:gd name="connsiteX2" fmla="*/ 18818 w 185511"/>
                <a:gd name="connsiteY2" fmla="*/ 99558 h 99558"/>
                <a:gd name="connsiteX3" fmla="*/ 185512 w 185511"/>
                <a:gd name="connsiteY3" fmla="*/ 22124 h 99558"/>
                <a:gd name="connsiteX4" fmla="*/ 185512 w 185511"/>
                <a:gd name="connsiteY4" fmla="*/ 0 h 99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11" h="99558">
                  <a:moveTo>
                    <a:pt x="185512" y="0"/>
                  </a:moveTo>
                  <a:lnTo>
                    <a:pt x="0" y="86144"/>
                  </a:lnTo>
                  <a:cubicBezTo>
                    <a:pt x="6040" y="90849"/>
                    <a:pt x="12334" y="95363"/>
                    <a:pt x="18818" y="99558"/>
                  </a:cubicBezTo>
                  <a:lnTo>
                    <a:pt x="185512" y="22124"/>
                  </a:lnTo>
                  <a:lnTo>
                    <a:pt x="185512" y="0"/>
                  </a:lnTo>
                  <a:close/>
                </a:path>
              </a:pathLst>
            </a:custGeom>
            <a:grpFill/>
            <a:ln w="0" cap="flat">
              <a:noFill/>
              <a:prstDash val="solid"/>
              <a:miter/>
            </a:ln>
          </p:spPr>
          <p:txBody>
            <a:bodyPr rtlCol="0" anchor="ctr"/>
            <a:lstStyle/>
            <a:p>
              <a:endParaRPr lang="sv-SE"/>
            </a:p>
          </p:txBody>
        </p:sp>
        <p:sp>
          <p:nvSpPr>
            <p:cNvPr id="64" name="Frihandsfigur: Form 63">
              <a:extLst>
                <a:ext uri="{FF2B5EF4-FFF2-40B4-BE49-F238E27FC236}">
                  <a16:creationId xmlns:a16="http://schemas.microsoft.com/office/drawing/2014/main" id="{8A5C8C1A-192B-515D-7127-8F9D896711D4}"/>
                </a:ext>
              </a:extLst>
            </p:cNvPr>
            <p:cNvSpPr/>
            <p:nvPr/>
          </p:nvSpPr>
          <p:spPr>
            <a:xfrm>
              <a:off x="11538364" y="5893285"/>
              <a:ext cx="243492" cy="129756"/>
            </a:xfrm>
            <a:custGeom>
              <a:avLst/>
              <a:gdLst>
                <a:gd name="connsiteX0" fmla="*/ 243493 w 243492"/>
                <a:gd name="connsiteY0" fmla="*/ 0 h 129756"/>
                <a:gd name="connsiteX1" fmla="*/ 0 w 243492"/>
                <a:gd name="connsiteY1" fmla="*/ 113100 h 129756"/>
                <a:gd name="connsiteX2" fmla="*/ 11825 w 243492"/>
                <a:gd name="connsiteY2" fmla="*/ 129757 h 129756"/>
                <a:gd name="connsiteX3" fmla="*/ 243493 w 243492"/>
                <a:gd name="connsiteY3" fmla="*/ 22124 h 129756"/>
                <a:gd name="connsiteX4" fmla="*/ 243493 w 243492"/>
                <a:gd name="connsiteY4" fmla="*/ 0 h 129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492" h="129756">
                  <a:moveTo>
                    <a:pt x="243493" y="0"/>
                  </a:moveTo>
                  <a:lnTo>
                    <a:pt x="0" y="113100"/>
                  </a:lnTo>
                  <a:cubicBezTo>
                    <a:pt x="3751" y="118822"/>
                    <a:pt x="7693" y="124353"/>
                    <a:pt x="11825" y="129757"/>
                  </a:cubicBezTo>
                  <a:lnTo>
                    <a:pt x="243493" y="22124"/>
                  </a:lnTo>
                  <a:lnTo>
                    <a:pt x="243493" y="0"/>
                  </a:lnTo>
                  <a:close/>
                </a:path>
              </a:pathLst>
            </a:custGeom>
            <a:grpFill/>
            <a:ln w="0" cap="flat">
              <a:noFill/>
              <a:prstDash val="solid"/>
              <a:miter/>
            </a:ln>
          </p:spPr>
          <p:txBody>
            <a:bodyPr rtlCol="0" anchor="ctr"/>
            <a:lstStyle/>
            <a:p>
              <a:endParaRPr lang="sv-SE"/>
            </a:p>
          </p:txBody>
        </p:sp>
        <p:sp>
          <p:nvSpPr>
            <p:cNvPr id="65" name="Frihandsfigur: Form 64">
              <a:extLst>
                <a:ext uri="{FF2B5EF4-FFF2-40B4-BE49-F238E27FC236}">
                  <a16:creationId xmlns:a16="http://schemas.microsoft.com/office/drawing/2014/main" id="{65D896BC-7DEB-F9D6-1CA4-80FCE85725DB}"/>
                </a:ext>
              </a:extLst>
            </p:cNvPr>
            <p:cNvSpPr/>
            <p:nvPr/>
          </p:nvSpPr>
          <p:spPr>
            <a:xfrm>
              <a:off x="11505051" y="5803199"/>
              <a:ext cx="276869" cy="147939"/>
            </a:xfrm>
            <a:custGeom>
              <a:avLst/>
              <a:gdLst>
                <a:gd name="connsiteX0" fmla="*/ 276806 w 276869"/>
                <a:gd name="connsiteY0" fmla="*/ 0 h 147939"/>
                <a:gd name="connsiteX1" fmla="*/ 0 w 276869"/>
                <a:gd name="connsiteY1" fmla="*/ 128612 h 147939"/>
                <a:gd name="connsiteX2" fmla="*/ 6040 w 276869"/>
                <a:gd name="connsiteY2" fmla="*/ 147939 h 147939"/>
                <a:gd name="connsiteX3" fmla="*/ 276870 w 276869"/>
                <a:gd name="connsiteY3" fmla="*/ 22124 h 147939"/>
                <a:gd name="connsiteX4" fmla="*/ 276870 w 276869"/>
                <a:gd name="connsiteY4" fmla="*/ 0 h 14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869" h="147939">
                  <a:moveTo>
                    <a:pt x="276806" y="0"/>
                  </a:moveTo>
                  <a:lnTo>
                    <a:pt x="0" y="128612"/>
                  </a:lnTo>
                  <a:cubicBezTo>
                    <a:pt x="1780" y="135161"/>
                    <a:pt x="3751" y="141582"/>
                    <a:pt x="6040" y="147939"/>
                  </a:cubicBezTo>
                  <a:lnTo>
                    <a:pt x="276870" y="22124"/>
                  </a:lnTo>
                  <a:lnTo>
                    <a:pt x="276870" y="0"/>
                  </a:lnTo>
                  <a:close/>
                </a:path>
              </a:pathLst>
            </a:custGeom>
            <a:grpFill/>
            <a:ln w="0" cap="flat">
              <a:noFill/>
              <a:prstDash val="solid"/>
              <a:miter/>
            </a:ln>
          </p:spPr>
          <p:txBody>
            <a:bodyPr rtlCol="0" anchor="ctr"/>
            <a:lstStyle/>
            <a:p>
              <a:endParaRPr lang="sv-SE"/>
            </a:p>
          </p:txBody>
        </p:sp>
        <p:sp>
          <p:nvSpPr>
            <p:cNvPr id="66" name="Frihandsfigur: Form 65">
              <a:extLst>
                <a:ext uri="{FF2B5EF4-FFF2-40B4-BE49-F238E27FC236}">
                  <a16:creationId xmlns:a16="http://schemas.microsoft.com/office/drawing/2014/main" id="{47377B64-5510-035C-CE09-6430E466486C}"/>
                </a:ext>
              </a:extLst>
            </p:cNvPr>
            <p:cNvSpPr/>
            <p:nvPr/>
          </p:nvSpPr>
          <p:spPr>
            <a:xfrm>
              <a:off x="11496214" y="5713177"/>
              <a:ext cx="285642" cy="154805"/>
            </a:xfrm>
            <a:custGeom>
              <a:avLst/>
              <a:gdLst>
                <a:gd name="connsiteX0" fmla="*/ 285643 w 285642"/>
                <a:gd name="connsiteY0" fmla="*/ 0 h 154805"/>
                <a:gd name="connsiteX1" fmla="*/ 763 w 285642"/>
                <a:gd name="connsiteY1" fmla="*/ 132363 h 154805"/>
                <a:gd name="connsiteX2" fmla="*/ 0 w 285642"/>
                <a:gd name="connsiteY2" fmla="*/ 151245 h 154805"/>
                <a:gd name="connsiteX3" fmla="*/ 0 w 285642"/>
                <a:gd name="connsiteY3" fmla="*/ 154806 h 154805"/>
                <a:gd name="connsiteX4" fmla="*/ 285579 w 285642"/>
                <a:gd name="connsiteY4" fmla="*/ 22124 h 154805"/>
                <a:gd name="connsiteX5" fmla="*/ 285579 w 285642"/>
                <a:gd name="connsiteY5" fmla="*/ 0 h 15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642" h="154805">
                  <a:moveTo>
                    <a:pt x="285643" y="0"/>
                  </a:moveTo>
                  <a:lnTo>
                    <a:pt x="763" y="132363"/>
                  </a:lnTo>
                  <a:cubicBezTo>
                    <a:pt x="318" y="138594"/>
                    <a:pt x="0" y="144888"/>
                    <a:pt x="0" y="151245"/>
                  </a:cubicBezTo>
                  <a:cubicBezTo>
                    <a:pt x="0" y="152453"/>
                    <a:pt x="0" y="153598"/>
                    <a:pt x="0" y="154806"/>
                  </a:cubicBezTo>
                  <a:lnTo>
                    <a:pt x="285579" y="22124"/>
                  </a:lnTo>
                  <a:lnTo>
                    <a:pt x="285579" y="0"/>
                  </a:lnTo>
                  <a:close/>
                </a:path>
              </a:pathLst>
            </a:custGeom>
            <a:grpFill/>
            <a:ln w="0" cap="flat">
              <a:noFill/>
              <a:prstDash val="solid"/>
              <a:miter/>
            </a:ln>
          </p:spPr>
          <p:txBody>
            <a:bodyPr rtlCol="0" anchor="ctr"/>
            <a:lstStyle/>
            <a:p>
              <a:endParaRPr lang="sv-SE"/>
            </a:p>
          </p:txBody>
        </p:sp>
        <p:sp>
          <p:nvSpPr>
            <p:cNvPr id="67" name="Frihandsfigur: Form 66">
              <a:extLst>
                <a:ext uri="{FF2B5EF4-FFF2-40B4-BE49-F238E27FC236}">
                  <a16:creationId xmlns:a16="http://schemas.microsoft.com/office/drawing/2014/main" id="{B813DAA0-5AD6-8234-3276-50B65583918C}"/>
                </a:ext>
              </a:extLst>
            </p:cNvPr>
            <p:cNvSpPr/>
            <p:nvPr/>
          </p:nvSpPr>
          <p:spPr>
            <a:xfrm>
              <a:off x="11735257" y="6433610"/>
              <a:ext cx="46600" cy="21615"/>
            </a:xfrm>
            <a:custGeom>
              <a:avLst/>
              <a:gdLst>
                <a:gd name="connsiteX0" fmla="*/ 46600 w 46600"/>
                <a:gd name="connsiteY0" fmla="*/ 21616 h 21615"/>
                <a:gd name="connsiteX1" fmla="*/ 46600 w 46600"/>
                <a:gd name="connsiteY1" fmla="*/ 0 h 21615"/>
                <a:gd name="connsiteX2" fmla="*/ 0 w 46600"/>
                <a:gd name="connsiteY2" fmla="*/ 21616 h 21615"/>
                <a:gd name="connsiteX3" fmla="*/ 46600 w 46600"/>
                <a:gd name="connsiteY3" fmla="*/ 21616 h 21615"/>
              </a:gdLst>
              <a:ahLst/>
              <a:cxnLst>
                <a:cxn ang="0">
                  <a:pos x="connsiteX0" y="connsiteY0"/>
                </a:cxn>
                <a:cxn ang="0">
                  <a:pos x="connsiteX1" y="connsiteY1"/>
                </a:cxn>
                <a:cxn ang="0">
                  <a:pos x="connsiteX2" y="connsiteY2"/>
                </a:cxn>
                <a:cxn ang="0">
                  <a:pos x="connsiteX3" y="connsiteY3"/>
                </a:cxn>
              </a:cxnLst>
              <a:rect l="l" t="t" r="r" b="b"/>
              <a:pathLst>
                <a:path w="46600" h="21615">
                  <a:moveTo>
                    <a:pt x="46600" y="21616"/>
                  </a:moveTo>
                  <a:lnTo>
                    <a:pt x="46600" y="0"/>
                  </a:lnTo>
                  <a:lnTo>
                    <a:pt x="0" y="21616"/>
                  </a:lnTo>
                  <a:lnTo>
                    <a:pt x="46600" y="21616"/>
                  </a:lnTo>
                  <a:close/>
                </a:path>
              </a:pathLst>
            </a:custGeom>
            <a:grpFill/>
            <a:ln w="0" cap="flat">
              <a:noFill/>
              <a:prstDash val="solid"/>
              <a:miter/>
            </a:ln>
          </p:spPr>
          <p:txBody>
            <a:bodyPr rtlCol="0" anchor="ctr"/>
            <a:lstStyle/>
            <a:p>
              <a:endParaRPr lang="sv-SE"/>
            </a:p>
          </p:txBody>
        </p:sp>
        <p:sp>
          <p:nvSpPr>
            <p:cNvPr id="68" name="Frihandsfigur: Form 67">
              <a:extLst>
                <a:ext uri="{FF2B5EF4-FFF2-40B4-BE49-F238E27FC236}">
                  <a16:creationId xmlns:a16="http://schemas.microsoft.com/office/drawing/2014/main" id="{5C86BC26-CA8B-A22D-EFFC-0557BFA867BE}"/>
                </a:ext>
              </a:extLst>
            </p:cNvPr>
            <p:cNvSpPr/>
            <p:nvPr/>
          </p:nvSpPr>
          <p:spPr>
            <a:xfrm>
              <a:off x="11541352" y="6343524"/>
              <a:ext cx="240504" cy="111701"/>
            </a:xfrm>
            <a:custGeom>
              <a:avLst/>
              <a:gdLst>
                <a:gd name="connsiteX0" fmla="*/ 47681 w 240504"/>
                <a:gd name="connsiteY0" fmla="*/ 111701 h 111701"/>
                <a:gd name="connsiteX1" fmla="*/ 240505 w 240504"/>
                <a:gd name="connsiteY1" fmla="*/ 22124 h 111701"/>
                <a:gd name="connsiteX2" fmla="*/ 240505 w 240504"/>
                <a:gd name="connsiteY2" fmla="*/ 0 h 111701"/>
                <a:gd name="connsiteX3" fmla="*/ 0 w 240504"/>
                <a:gd name="connsiteY3" fmla="*/ 111701 h 111701"/>
                <a:gd name="connsiteX4" fmla="*/ 47681 w 240504"/>
                <a:gd name="connsiteY4" fmla="*/ 111701 h 111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504" h="111701">
                  <a:moveTo>
                    <a:pt x="47681" y="111701"/>
                  </a:moveTo>
                  <a:lnTo>
                    <a:pt x="240505" y="22124"/>
                  </a:lnTo>
                  <a:lnTo>
                    <a:pt x="240505" y="0"/>
                  </a:lnTo>
                  <a:lnTo>
                    <a:pt x="0" y="111701"/>
                  </a:lnTo>
                  <a:lnTo>
                    <a:pt x="47681" y="111701"/>
                  </a:lnTo>
                  <a:close/>
                </a:path>
              </a:pathLst>
            </a:custGeom>
            <a:grpFill/>
            <a:ln w="0" cap="flat">
              <a:noFill/>
              <a:prstDash val="solid"/>
              <a:miter/>
            </a:ln>
          </p:spPr>
          <p:txBody>
            <a:bodyPr rtlCol="0" anchor="ctr"/>
            <a:lstStyle/>
            <a:p>
              <a:endParaRPr lang="sv-SE"/>
            </a:p>
          </p:txBody>
        </p:sp>
        <p:sp>
          <p:nvSpPr>
            <p:cNvPr id="69" name="Frihandsfigur: Form 68">
              <a:extLst>
                <a:ext uri="{FF2B5EF4-FFF2-40B4-BE49-F238E27FC236}">
                  <a16:creationId xmlns:a16="http://schemas.microsoft.com/office/drawing/2014/main" id="{34E0B27C-7091-3EB5-3B38-E18A4BB5AE00}"/>
                </a:ext>
              </a:extLst>
            </p:cNvPr>
            <p:cNvSpPr/>
            <p:nvPr/>
          </p:nvSpPr>
          <p:spPr>
            <a:xfrm>
              <a:off x="10874068" y="6222032"/>
              <a:ext cx="517501" cy="233193"/>
            </a:xfrm>
            <a:custGeom>
              <a:avLst/>
              <a:gdLst>
                <a:gd name="connsiteX0" fmla="*/ 517501 w 517501"/>
                <a:gd name="connsiteY0" fmla="*/ 233193 h 233193"/>
                <a:gd name="connsiteX1" fmla="*/ 258751 w 517501"/>
                <a:gd name="connsiteY1" fmla="*/ 0 h 233193"/>
                <a:gd name="connsiteX2" fmla="*/ 0 w 517501"/>
                <a:gd name="connsiteY2" fmla="*/ 233193 h 233193"/>
                <a:gd name="connsiteX3" fmla="*/ 517501 w 517501"/>
                <a:gd name="connsiteY3" fmla="*/ 233193 h 233193"/>
              </a:gdLst>
              <a:ahLst/>
              <a:cxnLst>
                <a:cxn ang="0">
                  <a:pos x="connsiteX0" y="connsiteY0"/>
                </a:cxn>
                <a:cxn ang="0">
                  <a:pos x="connsiteX1" y="connsiteY1"/>
                </a:cxn>
                <a:cxn ang="0">
                  <a:pos x="connsiteX2" y="connsiteY2"/>
                </a:cxn>
                <a:cxn ang="0">
                  <a:pos x="connsiteX3" y="connsiteY3"/>
                </a:cxn>
              </a:cxnLst>
              <a:rect l="l" t="t" r="r" b="b"/>
              <a:pathLst>
                <a:path w="517501" h="233193">
                  <a:moveTo>
                    <a:pt x="517501" y="233193"/>
                  </a:moveTo>
                  <a:cubicBezTo>
                    <a:pt x="504023" y="102229"/>
                    <a:pt x="393276" y="0"/>
                    <a:pt x="258751" y="0"/>
                  </a:cubicBezTo>
                  <a:cubicBezTo>
                    <a:pt x="124226" y="0"/>
                    <a:pt x="13478" y="102165"/>
                    <a:pt x="0" y="233193"/>
                  </a:cubicBezTo>
                  <a:lnTo>
                    <a:pt x="517501" y="233193"/>
                  </a:lnTo>
                  <a:close/>
                </a:path>
              </a:pathLst>
            </a:custGeom>
            <a:grpFill/>
            <a:ln w="0" cap="flat">
              <a:noFill/>
              <a:prstDash val="solid"/>
              <a:miter/>
            </a:ln>
          </p:spPr>
          <p:txBody>
            <a:bodyPr rtlCol="0" anchor="ctr"/>
            <a:lstStyle/>
            <a:p>
              <a:endParaRPr lang="sv-SE"/>
            </a:p>
          </p:txBody>
        </p:sp>
        <p:sp>
          <p:nvSpPr>
            <p:cNvPr id="70" name="Frihandsfigur: Form 69">
              <a:extLst>
                <a:ext uri="{FF2B5EF4-FFF2-40B4-BE49-F238E27FC236}">
                  <a16:creationId xmlns:a16="http://schemas.microsoft.com/office/drawing/2014/main" id="{762D71CB-745B-1D1E-BDDF-AEF583875ED6}"/>
                </a:ext>
              </a:extLst>
            </p:cNvPr>
            <p:cNvSpPr/>
            <p:nvPr/>
          </p:nvSpPr>
          <p:spPr>
            <a:xfrm>
              <a:off x="10255482" y="6222032"/>
              <a:ext cx="517501" cy="233193"/>
            </a:xfrm>
            <a:custGeom>
              <a:avLst/>
              <a:gdLst>
                <a:gd name="connsiteX0" fmla="*/ 517501 w 517501"/>
                <a:gd name="connsiteY0" fmla="*/ 233193 h 233193"/>
                <a:gd name="connsiteX1" fmla="*/ 258751 w 517501"/>
                <a:gd name="connsiteY1" fmla="*/ 0 h 233193"/>
                <a:gd name="connsiteX2" fmla="*/ 0 w 517501"/>
                <a:gd name="connsiteY2" fmla="*/ 233193 h 233193"/>
                <a:gd name="connsiteX3" fmla="*/ 517501 w 517501"/>
                <a:gd name="connsiteY3" fmla="*/ 233193 h 233193"/>
              </a:gdLst>
              <a:ahLst/>
              <a:cxnLst>
                <a:cxn ang="0">
                  <a:pos x="connsiteX0" y="connsiteY0"/>
                </a:cxn>
                <a:cxn ang="0">
                  <a:pos x="connsiteX1" y="connsiteY1"/>
                </a:cxn>
                <a:cxn ang="0">
                  <a:pos x="connsiteX2" y="connsiteY2"/>
                </a:cxn>
                <a:cxn ang="0">
                  <a:pos x="connsiteX3" y="connsiteY3"/>
                </a:cxn>
              </a:cxnLst>
              <a:rect l="l" t="t" r="r" b="b"/>
              <a:pathLst>
                <a:path w="517501" h="233193">
                  <a:moveTo>
                    <a:pt x="517501" y="233193"/>
                  </a:moveTo>
                  <a:cubicBezTo>
                    <a:pt x="504023" y="102229"/>
                    <a:pt x="393276" y="0"/>
                    <a:pt x="258751" y="0"/>
                  </a:cubicBezTo>
                  <a:cubicBezTo>
                    <a:pt x="124226" y="0"/>
                    <a:pt x="13478" y="102165"/>
                    <a:pt x="0" y="233193"/>
                  </a:cubicBezTo>
                  <a:lnTo>
                    <a:pt x="517501" y="233193"/>
                  </a:lnTo>
                  <a:close/>
                </a:path>
              </a:pathLst>
            </a:custGeom>
            <a:grpFill/>
            <a:ln w="0" cap="flat">
              <a:noFill/>
              <a:prstDash val="solid"/>
              <a:miter/>
            </a:ln>
          </p:spPr>
          <p:txBody>
            <a:bodyPr rtlCol="0" anchor="ctr"/>
            <a:lstStyle/>
            <a:p>
              <a:endParaRPr lang="sv-SE"/>
            </a:p>
          </p:txBody>
        </p:sp>
        <p:sp>
          <p:nvSpPr>
            <p:cNvPr id="71" name="Frihandsfigur: Form 70">
              <a:extLst>
                <a:ext uri="{FF2B5EF4-FFF2-40B4-BE49-F238E27FC236}">
                  <a16:creationId xmlns:a16="http://schemas.microsoft.com/office/drawing/2014/main" id="{6EB5DEF6-7C3C-532F-4574-73F33EC9B1D2}"/>
                </a:ext>
              </a:extLst>
            </p:cNvPr>
            <p:cNvSpPr/>
            <p:nvPr/>
          </p:nvSpPr>
          <p:spPr>
            <a:xfrm>
              <a:off x="9008266" y="6212051"/>
              <a:ext cx="537718" cy="243174"/>
            </a:xfrm>
            <a:custGeom>
              <a:avLst/>
              <a:gdLst>
                <a:gd name="connsiteX0" fmla="*/ 20217 w 537718"/>
                <a:gd name="connsiteY0" fmla="*/ 243175 h 243174"/>
                <a:gd name="connsiteX1" fmla="*/ 268859 w 537718"/>
                <a:gd name="connsiteY1" fmla="*/ 20026 h 243174"/>
                <a:gd name="connsiteX2" fmla="*/ 517501 w 537718"/>
                <a:gd name="connsiteY2" fmla="*/ 243175 h 243174"/>
                <a:gd name="connsiteX3" fmla="*/ 537718 w 537718"/>
                <a:gd name="connsiteY3" fmla="*/ 243175 h 243174"/>
                <a:gd name="connsiteX4" fmla="*/ 268859 w 537718"/>
                <a:gd name="connsiteY4" fmla="*/ 0 h 243174"/>
                <a:gd name="connsiteX5" fmla="*/ 0 w 537718"/>
                <a:gd name="connsiteY5" fmla="*/ 243175 h 243174"/>
                <a:gd name="connsiteX6" fmla="*/ 20217 w 537718"/>
                <a:gd name="connsiteY6" fmla="*/ 243175 h 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18" h="243174">
                  <a:moveTo>
                    <a:pt x="20217" y="243175"/>
                  </a:moveTo>
                  <a:cubicBezTo>
                    <a:pt x="33695" y="117932"/>
                    <a:pt x="140056" y="20026"/>
                    <a:pt x="268859" y="20026"/>
                  </a:cubicBezTo>
                  <a:cubicBezTo>
                    <a:pt x="397662" y="20026"/>
                    <a:pt x="504023" y="117868"/>
                    <a:pt x="517501" y="243175"/>
                  </a:cubicBezTo>
                  <a:lnTo>
                    <a:pt x="537718" y="243175"/>
                  </a:lnTo>
                  <a:cubicBezTo>
                    <a:pt x="524113" y="106806"/>
                    <a:pt x="408724" y="0"/>
                    <a:pt x="268859" y="0"/>
                  </a:cubicBezTo>
                  <a:cubicBezTo>
                    <a:pt x="128994" y="0"/>
                    <a:pt x="13605" y="106870"/>
                    <a:pt x="0" y="243175"/>
                  </a:cubicBezTo>
                  <a:lnTo>
                    <a:pt x="20217" y="243175"/>
                  </a:lnTo>
                  <a:close/>
                </a:path>
              </a:pathLst>
            </a:custGeom>
            <a:grpFill/>
            <a:ln w="0" cap="flat">
              <a:noFill/>
              <a:prstDash val="solid"/>
              <a:miter/>
            </a:ln>
          </p:spPr>
          <p:txBody>
            <a:bodyPr rtlCol="0" anchor="ctr"/>
            <a:lstStyle/>
            <a:p>
              <a:endParaRPr lang="sv-SE"/>
            </a:p>
          </p:txBody>
        </p:sp>
        <p:sp>
          <p:nvSpPr>
            <p:cNvPr id="72" name="Frihandsfigur: Form 71">
              <a:extLst>
                <a:ext uri="{FF2B5EF4-FFF2-40B4-BE49-F238E27FC236}">
                  <a16:creationId xmlns:a16="http://schemas.microsoft.com/office/drawing/2014/main" id="{324C5BE8-B07E-BB61-E95D-7071C37C7A1F}"/>
                </a:ext>
              </a:extLst>
            </p:cNvPr>
            <p:cNvSpPr/>
            <p:nvPr/>
          </p:nvSpPr>
          <p:spPr>
            <a:xfrm>
              <a:off x="9626788" y="6212051"/>
              <a:ext cx="537718" cy="243174"/>
            </a:xfrm>
            <a:custGeom>
              <a:avLst/>
              <a:gdLst>
                <a:gd name="connsiteX0" fmla="*/ 20217 w 537718"/>
                <a:gd name="connsiteY0" fmla="*/ 243175 h 243174"/>
                <a:gd name="connsiteX1" fmla="*/ 268859 w 537718"/>
                <a:gd name="connsiteY1" fmla="*/ 20026 h 243174"/>
                <a:gd name="connsiteX2" fmla="*/ 517501 w 537718"/>
                <a:gd name="connsiteY2" fmla="*/ 243175 h 243174"/>
                <a:gd name="connsiteX3" fmla="*/ 537718 w 537718"/>
                <a:gd name="connsiteY3" fmla="*/ 243175 h 243174"/>
                <a:gd name="connsiteX4" fmla="*/ 268859 w 537718"/>
                <a:gd name="connsiteY4" fmla="*/ 0 h 243174"/>
                <a:gd name="connsiteX5" fmla="*/ 0 w 537718"/>
                <a:gd name="connsiteY5" fmla="*/ 243175 h 243174"/>
                <a:gd name="connsiteX6" fmla="*/ 20217 w 537718"/>
                <a:gd name="connsiteY6" fmla="*/ 243175 h 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18" h="243174">
                  <a:moveTo>
                    <a:pt x="20217" y="243175"/>
                  </a:moveTo>
                  <a:cubicBezTo>
                    <a:pt x="33695" y="117932"/>
                    <a:pt x="140056" y="20026"/>
                    <a:pt x="268859" y="20026"/>
                  </a:cubicBezTo>
                  <a:cubicBezTo>
                    <a:pt x="397662" y="20026"/>
                    <a:pt x="504023" y="117868"/>
                    <a:pt x="517501" y="243175"/>
                  </a:cubicBezTo>
                  <a:lnTo>
                    <a:pt x="537718" y="243175"/>
                  </a:lnTo>
                  <a:cubicBezTo>
                    <a:pt x="524113" y="106806"/>
                    <a:pt x="408724" y="0"/>
                    <a:pt x="268859" y="0"/>
                  </a:cubicBezTo>
                  <a:cubicBezTo>
                    <a:pt x="128994" y="0"/>
                    <a:pt x="13605" y="106870"/>
                    <a:pt x="0" y="243175"/>
                  </a:cubicBezTo>
                  <a:lnTo>
                    <a:pt x="20217" y="243175"/>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16522909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ogotyp">
    <p:spTree>
      <p:nvGrpSpPr>
        <p:cNvPr id="1" name=""/>
        <p:cNvGrpSpPr/>
        <p:nvPr/>
      </p:nvGrpSpPr>
      <p:grpSpPr>
        <a:xfrm>
          <a:off x="0" y="0"/>
          <a:ext cx="0" cy="0"/>
          <a:chOff x="0" y="0"/>
          <a:chExt cx="0" cy="0"/>
        </a:xfrm>
      </p:grpSpPr>
      <p:pic>
        <p:nvPicPr>
          <p:cNvPr id="3" name="Bildobjekt 2" descr="Logo" title="Logo">
            <a:extLst>
              <a:ext uri="{FF2B5EF4-FFF2-40B4-BE49-F238E27FC236}">
                <a16:creationId xmlns:a16="http://schemas.microsoft.com/office/drawing/2014/main" id="{1F12769C-ECF3-448E-A565-83EEEC398EEF}"/>
              </a:ext>
            </a:extLst>
          </p:cNvPr>
          <p:cNvPicPr>
            <a:picLocks noChangeAspect="1"/>
          </p:cNvPicPr>
          <p:nvPr userDrawn="1"/>
        </p:nvPicPr>
        <p:blipFill>
          <a:blip r:embed="rId2"/>
          <a:stretch>
            <a:fillRect/>
          </a:stretch>
        </p:blipFill>
        <p:spPr>
          <a:xfrm>
            <a:off x="5382706" y="2300663"/>
            <a:ext cx="1426588" cy="2261812"/>
          </a:xfrm>
          <a:prstGeom prst="rect">
            <a:avLst/>
          </a:prstGeom>
        </p:spPr>
      </p:pic>
    </p:spTree>
    <p:extLst>
      <p:ext uri="{BB962C8B-B14F-4D97-AF65-F5344CB8AC3E}">
        <p14:creationId xmlns:p14="http://schemas.microsoft.com/office/powerpoint/2010/main" val="6390760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Logotyp">
    <p:spTree>
      <p:nvGrpSpPr>
        <p:cNvPr id="1" name=""/>
        <p:cNvGrpSpPr/>
        <p:nvPr/>
      </p:nvGrpSpPr>
      <p:grpSpPr>
        <a:xfrm>
          <a:off x="0" y="0"/>
          <a:ext cx="0" cy="0"/>
          <a:chOff x="0" y="0"/>
          <a:chExt cx="0" cy="0"/>
        </a:xfrm>
      </p:grpSpPr>
      <p:pic>
        <p:nvPicPr>
          <p:cNvPr id="3" name="Bildobjekt 2" descr="Logo" title="Logo">
            <a:extLst>
              <a:ext uri="{FF2B5EF4-FFF2-40B4-BE49-F238E27FC236}">
                <a16:creationId xmlns:a16="http://schemas.microsoft.com/office/drawing/2014/main" id="{1F12769C-ECF3-448E-A565-83EEEC398EEF}"/>
              </a:ext>
            </a:extLst>
          </p:cNvPr>
          <p:cNvPicPr>
            <a:picLocks noChangeAspect="1"/>
          </p:cNvPicPr>
          <p:nvPr userDrawn="1"/>
        </p:nvPicPr>
        <p:blipFill>
          <a:blip r:embed="rId2"/>
          <a:stretch>
            <a:fillRect/>
          </a:stretch>
        </p:blipFill>
        <p:spPr>
          <a:xfrm>
            <a:off x="5382706" y="2300663"/>
            <a:ext cx="1426588" cy="2261812"/>
          </a:xfrm>
          <a:prstGeom prst="rect">
            <a:avLst/>
          </a:prstGeom>
        </p:spPr>
      </p:pic>
    </p:spTree>
    <p:extLst>
      <p:ext uri="{BB962C8B-B14F-4D97-AF65-F5344CB8AC3E}">
        <p14:creationId xmlns:p14="http://schemas.microsoft.com/office/powerpoint/2010/main" val="214368633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Rubrikbild">
    <p:spTree>
      <p:nvGrpSpPr>
        <p:cNvPr id="1" name=""/>
        <p:cNvGrpSpPr/>
        <p:nvPr/>
      </p:nvGrpSpPr>
      <p:grpSpPr>
        <a:xfrm>
          <a:off x="0" y="0"/>
          <a:ext cx="0" cy="0"/>
          <a:chOff x="0" y="0"/>
          <a:chExt cx="0" cy="0"/>
        </a:xfrm>
      </p:grpSpPr>
      <p:pic>
        <p:nvPicPr>
          <p:cNvPr id="9" name="Bildobjekt 8" descr="GRAPHIC_small7.jpg">
            <a:extLst>
              <a:ext uri="{FF2B5EF4-FFF2-40B4-BE49-F238E27FC236}">
                <a16:creationId xmlns:a16="http://schemas.microsoft.com/office/drawing/2014/main" id="{34CF8842-4199-4192-A9E3-0B666A7171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407986" y="1144856"/>
            <a:ext cx="11366503" cy="53079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731696" y="2626153"/>
            <a:ext cx="8728608" cy="1349829"/>
          </a:xfrm>
          <a:prstGeom prst="rect">
            <a:avLst/>
          </a:prstGeom>
        </p:spPr>
        <p:txBody>
          <a:bodyPr anchor="ctr" anchorCtr="0">
            <a:noAutofit/>
          </a:bodyPr>
          <a:lstStyle>
            <a:lvl1pPr algn="l">
              <a:lnSpc>
                <a:spcPct val="90000"/>
              </a:lnSpc>
              <a:defRPr sz="4200" kern="0" spc="0" baseline="0">
                <a:solidFill>
                  <a:schemeClr val="tx1">
                    <a:lumMod val="95000"/>
                    <a:lumOff val="5000"/>
                  </a:schemeClr>
                </a:solidFill>
              </a:defRPr>
            </a:lvl1pPr>
          </a:lstStyle>
          <a:p>
            <a:r>
              <a:rPr lang="sv-SE"/>
              <a:t>Klicka här för att ändra mall för rubrikformat</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731696" y="4165601"/>
            <a:ext cx="8728608" cy="251417"/>
          </a:xfrm>
        </p:spPr>
        <p:txBody>
          <a:bodyPr>
            <a:noAutofit/>
          </a:bodyPr>
          <a:lstStyle>
            <a:lvl1pPr marL="0" indent="0">
              <a:lnSpc>
                <a:spcPct val="100000"/>
              </a:lnSpc>
              <a:spcBef>
                <a:spcPts val="0"/>
              </a:spcBef>
              <a:buNone/>
              <a:defRPr sz="1800" kern="0" baseline="0">
                <a:solidFill>
                  <a:schemeClr val="tx1">
                    <a:lumMod val="95000"/>
                    <a:lumOff val="5000"/>
                  </a:schemeClr>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731696" y="4606637"/>
            <a:ext cx="8728608" cy="251417"/>
          </a:xfrm>
        </p:spPr>
        <p:txBody>
          <a:bodyPr>
            <a:noAutofit/>
          </a:bodyPr>
          <a:lstStyle>
            <a:lvl1pPr marL="0" indent="0">
              <a:lnSpc>
                <a:spcPct val="100000"/>
              </a:lnSpc>
              <a:spcBef>
                <a:spcPts val="0"/>
              </a:spcBef>
              <a:buNone/>
              <a:defRPr sz="1400" kern="0" baseline="0">
                <a:solidFill>
                  <a:schemeClr val="tx1">
                    <a:lumMod val="95000"/>
                    <a:lumOff val="5000"/>
                  </a:schemeClr>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solidFill>
                  <a:schemeClr val="tx1">
                    <a:lumMod val="95000"/>
                    <a:lumOff val="5000"/>
                  </a:schemeClr>
                </a:solidFill>
                <a:latin typeface="+mn-lt"/>
              </a:rPr>
              <a:t>Hållbar stad – öppen för värld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3"/>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209074857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p:nvPr>
        </p:nvSpPr>
        <p:spPr/>
        <p:txBody>
          <a:bodyPr/>
          <a:lstStyle/>
          <a:p>
            <a:r>
              <a:rPr lang="sv-SE"/>
              <a:t>Klicka här för att ändra mall för rubrikformat</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8313"/>
            <a:ext cx="10080000" cy="4175124"/>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latshållare för bildnummer 2">
            <a:extLst>
              <a:ext uri="{FF2B5EF4-FFF2-40B4-BE49-F238E27FC236}">
                <a16:creationId xmlns:a16="http://schemas.microsoft.com/office/drawing/2014/main" id="{040785F0-4073-4C09-A77E-AF825CBA6233}"/>
              </a:ext>
            </a:extLst>
          </p:cNvPr>
          <p:cNvSpPr>
            <a:spLocks noGrp="1"/>
          </p:cNvSpPr>
          <p:nvPr>
            <p:ph type="sldNum" sz="quarter" idx="12"/>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83202123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424537-5ECE-4D36-9AE9-88D8AFB54949}"/>
              </a:ext>
            </a:extLst>
          </p:cNvPr>
          <p:cNvSpPr>
            <a:spLocks noGrp="1"/>
          </p:cNvSpPr>
          <p:nvPr>
            <p:ph type="title"/>
          </p:nvPr>
        </p:nvSpPr>
        <p:spPr/>
        <p:txBody>
          <a:bodyPr/>
          <a:lstStyle/>
          <a:p>
            <a:r>
              <a:rPr lang="sv-SE"/>
              <a:t>Klicka här för att ändra mall för rubrikformat</a:t>
            </a:r>
          </a:p>
        </p:txBody>
      </p:sp>
      <p:sp>
        <p:nvSpPr>
          <p:cNvPr id="3" name="Content Placeholder 2"/>
          <p:cNvSpPr>
            <a:spLocks noGrp="1"/>
          </p:cNvSpPr>
          <p:nvPr>
            <p:ph sz="half" idx="1"/>
          </p:nvPr>
        </p:nvSpPr>
        <p:spPr>
          <a:xfrm>
            <a:off x="407988" y="1736729"/>
            <a:ext cx="5400000" cy="417671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Content Placeholder 3"/>
          <p:cNvSpPr>
            <a:spLocks noGrp="1"/>
          </p:cNvSpPr>
          <p:nvPr>
            <p:ph sz="half" idx="2"/>
          </p:nvPr>
        </p:nvSpPr>
        <p:spPr>
          <a:xfrm>
            <a:off x="6379250" y="1736729"/>
            <a:ext cx="5400000" cy="417671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bildnummer 4">
            <a:extLst>
              <a:ext uri="{FF2B5EF4-FFF2-40B4-BE49-F238E27FC236}">
                <a16:creationId xmlns:a16="http://schemas.microsoft.com/office/drawing/2014/main" id="{EC9B43C6-89FD-4564-BB62-9B67C1AE2E6A}"/>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68339094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BCE7E41F-F5AB-42BF-88B5-ED5B44A6461E}"/>
              </a:ext>
            </a:extLst>
          </p:cNvPr>
          <p:cNvSpPr>
            <a:spLocks noGrp="1"/>
          </p:cNvSpPr>
          <p:nvPr>
            <p:ph type="title"/>
          </p:nvPr>
        </p:nvSpPr>
        <p:spPr/>
        <p:txBody>
          <a:bodyPr/>
          <a:lstStyle/>
          <a:p>
            <a:r>
              <a:rPr lang="sv-SE"/>
              <a:t>Klicka här för att ändra mall för rubrikformat</a:t>
            </a:r>
          </a:p>
        </p:txBody>
      </p:sp>
      <p:sp>
        <p:nvSpPr>
          <p:cNvPr id="3" name="Text Placeholder 2"/>
          <p:cNvSpPr>
            <a:spLocks noGrp="1"/>
          </p:cNvSpPr>
          <p:nvPr>
            <p:ph type="body" idx="1"/>
          </p:nvPr>
        </p:nvSpPr>
        <p:spPr>
          <a:xfrm>
            <a:off x="407988" y="1588563"/>
            <a:ext cx="527808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Klicka här för att ändra format på bakgrundstexten</a:t>
            </a:r>
          </a:p>
        </p:txBody>
      </p:sp>
      <p:sp>
        <p:nvSpPr>
          <p:cNvPr id="4" name="Content Placeholder 3"/>
          <p:cNvSpPr>
            <a:spLocks noGrp="1"/>
          </p:cNvSpPr>
          <p:nvPr>
            <p:ph sz="half" idx="2"/>
          </p:nvPr>
        </p:nvSpPr>
        <p:spPr>
          <a:xfrm>
            <a:off x="407988" y="2281031"/>
            <a:ext cx="5278080" cy="352468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 Placeholder 4"/>
          <p:cNvSpPr>
            <a:spLocks noGrp="1"/>
          </p:cNvSpPr>
          <p:nvPr>
            <p:ph type="body" sz="quarter" idx="3"/>
          </p:nvPr>
        </p:nvSpPr>
        <p:spPr>
          <a:xfrm>
            <a:off x="6432000" y="1591385"/>
            <a:ext cx="528000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Klicka här för att ändra format på bakgrundstexten</a:t>
            </a:r>
          </a:p>
        </p:txBody>
      </p:sp>
      <p:sp>
        <p:nvSpPr>
          <p:cNvPr id="6" name="Content Placeholder 5"/>
          <p:cNvSpPr>
            <a:spLocks noGrp="1"/>
          </p:cNvSpPr>
          <p:nvPr>
            <p:ph sz="quarter" idx="4"/>
          </p:nvPr>
        </p:nvSpPr>
        <p:spPr>
          <a:xfrm>
            <a:off x="6432000" y="2281035"/>
            <a:ext cx="5280000" cy="352468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5B0B39BD-A593-4A83-AD46-53A96C2F78AD}"/>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57378602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mall för rubrikformat</a:t>
            </a:r>
          </a:p>
        </p:txBody>
      </p:sp>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6975952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mall för rubrik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17075" y="1736728"/>
            <a:ext cx="5678925"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7598925" y="1738313"/>
            <a:ext cx="4176000" cy="4175125"/>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5" name="Platshållare för bildnummer 4">
            <a:extLst>
              <a:ext uri="{FF2B5EF4-FFF2-40B4-BE49-F238E27FC236}">
                <a16:creationId xmlns:a16="http://schemas.microsoft.com/office/drawing/2014/main" id="{BA6D7259-E2CF-428A-9B5C-9AEE444FC13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0828339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00F4CB-80BD-4C46-8862-E3F5646FDE7A}"/>
              </a:ext>
            </a:extLst>
          </p:cNvPr>
          <p:cNvSpPr>
            <a:spLocks noGrp="1"/>
          </p:cNvSpPr>
          <p:nvPr>
            <p:ph type="title"/>
          </p:nvPr>
        </p:nvSpPr>
        <p:spPr/>
        <p:txBody>
          <a:bodyPr/>
          <a:lstStyle/>
          <a:p>
            <a:r>
              <a:rPr lang="sv-SE"/>
              <a:t>Klicka här för att ändra mall för rubrikformat</a:t>
            </a:r>
          </a:p>
        </p:txBody>
      </p:sp>
      <p:sp>
        <p:nvSpPr>
          <p:cNvPr id="5" name="Content Placeholder 2">
            <a:extLst>
              <a:ext uri="{FF2B5EF4-FFF2-40B4-BE49-F238E27FC236}">
                <a16:creationId xmlns:a16="http://schemas.microsoft.com/office/drawing/2014/main" id="{D18EAA5A-4340-4EE5-A1A8-3200B98C0962}"/>
              </a:ext>
            </a:extLst>
          </p:cNvPr>
          <p:cNvSpPr>
            <a:spLocks noGrp="1"/>
          </p:cNvSpPr>
          <p:nvPr>
            <p:ph sz="half" idx="10"/>
          </p:nvPr>
        </p:nvSpPr>
        <p:spPr>
          <a:xfrm>
            <a:off x="6096000" y="1736728"/>
            <a:ext cx="5688013"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407988" y="1738313"/>
            <a:ext cx="4176000" cy="4175125"/>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DEAD5FAA-1657-4061-B125-FAABE5DDE22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87761614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C800227-24F3-424A-950F-9031EC7717A1}"/>
              </a:ext>
            </a:extLst>
          </p:cNvPr>
          <p:cNvSpPr>
            <a:spLocks noGrp="1"/>
          </p:cNvSpPr>
          <p:nvPr>
            <p:ph type="title"/>
          </p:nvPr>
        </p:nvSpPr>
        <p:spPr/>
        <p:txBody>
          <a:bodyPr/>
          <a:lstStyle/>
          <a:p>
            <a:r>
              <a:rPr lang="sv-SE"/>
              <a:t>Klicka här för att ändra mall för rubrikformat</a:t>
            </a:r>
          </a:p>
        </p:txBody>
      </p:sp>
      <p:sp>
        <p:nvSpPr>
          <p:cNvPr id="3" name="Picture Placeholder 2"/>
          <p:cNvSpPr>
            <a:spLocks noGrp="1"/>
          </p:cNvSpPr>
          <p:nvPr>
            <p:ph type="pic" idx="1" hasCustomPrompt="1"/>
          </p:nvPr>
        </p:nvSpPr>
        <p:spPr>
          <a:xfrm>
            <a:off x="407988"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Text Placeholder 3"/>
          <p:cNvSpPr>
            <a:spLocks noGrp="1"/>
          </p:cNvSpPr>
          <p:nvPr>
            <p:ph type="body" sz="half" idx="2"/>
          </p:nvPr>
        </p:nvSpPr>
        <p:spPr>
          <a:xfrm>
            <a:off x="407988"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10" name="Picture Placeholder 2">
            <a:extLst>
              <a:ext uri="{FF2B5EF4-FFF2-40B4-BE49-F238E27FC236}">
                <a16:creationId xmlns:a16="http://schemas.microsoft.com/office/drawing/2014/main" id="{F5F04B5A-F0FB-4FC9-9F5F-CDA6CEE251C7}"/>
              </a:ext>
            </a:extLst>
          </p:cNvPr>
          <p:cNvSpPr>
            <a:spLocks noGrp="1"/>
          </p:cNvSpPr>
          <p:nvPr>
            <p:ph type="pic" idx="12" hasCustomPrompt="1"/>
          </p:nvPr>
        </p:nvSpPr>
        <p:spPr>
          <a:xfrm>
            <a:off x="4296000"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5" name="Text Placeholder 3">
            <a:extLst>
              <a:ext uri="{FF2B5EF4-FFF2-40B4-BE49-F238E27FC236}">
                <a16:creationId xmlns:a16="http://schemas.microsoft.com/office/drawing/2014/main" id="{A5F93C07-C166-474C-8E0B-4E9C3BBCB337}"/>
              </a:ext>
            </a:extLst>
          </p:cNvPr>
          <p:cNvSpPr>
            <a:spLocks noGrp="1"/>
          </p:cNvSpPr>
          <p:nvPr>
            <p:ph type="body" sz="half" idx="15"/>
          </p:nvPr>
        </p:nvSpPr>
        <p:spPr>
          <a:xfrm>
            <a:off x="4296000"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11" name="Picture Placeholder 2">
            <a:extLst>
              <a:ext uri="{FF2B5EF4-FFF2-40B4-BE49-F238E27FC236}">
                <a16:creationId xmlns:a16="http://schemas.microsoft.com/office/drawing/2014/main" id="{A7F97845-F21E-448F-BCE4-594A545AB8CB}"/>
              </a:ext>
            </a:extLst>
          </p:cNvPr>
          <p:cNvSpPr>
            <a:spLocks noGrp="1"/>
          </p:cNvSpPr>
          <p:nvPr>
            <p:ph type="pic" idx="13" hasCustomPrompt="1"/>
          </p:nvPr>
        </p:nvSpPr>
        <p:spPr>
          <a:xfrm>
            <a:off x="8184013"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4" name="Text Placeholder 3">
            <a:extLst>
              <a:ext uri="{FF2B5EF4-FFF2-40B4-BE49-F238E27FC236}">
                <a16:creationId xmlns:a16="http://schemas.microsoft.com/office/drawing/2014/main" id="{5F230963-9997-4CAE-9B9D-4F53D8044D29}"/>
              </a:ext>
            </a:extLst>
          </p:cNvPr>
          <p:cNvSpPr>
            <a:spLocks noGrp="1"/>
          </p:cNvSpPr>
          <p:nvPr>
            <p:ph type="body" sz="half" idx="14"/>
          </p:nvPr>
        </p:nvSpPr>
        <p:spPr>
          <a:xfrm>
            <a:off x="8184013"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6" name="Platshållare för bildnummer 5">
            <a:extLst>
              <a:ext uri="{FF2B5EF4-FFF2-40B4-BE49-F238E27FC236}">
                <a16:creationId xmlns:a16="http://schemas.microsoft.com/office/drawing/2014/main" id="{344BB15C-87DA-407B-A8B6-CA070A8D70E5}"/>
              </a:ext>
            </a:extLst>
          </p:cNvPr>
          <p:cNvSpPr>
            <a:spLocks noGrp="1"/>
          </p:cNvSpPr>
          <p:nvPr>
            <p:ph type="sldNum" sz="quarter" idx="16"/>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79686033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ild helsida">
    <p:spTree>
      <p:nvGrpSpPr>
        <p:cNvPr id="1" name=""/>
        <p:cNvGrpSpPr/>
        <p:nvPr/>
      </p:nvGrpSpPr>
      <p:grpSpPr>
        <a:xfrm>
          <a:off x="0" y="0"/>
          <a:ext cx="0" cy="0"/>
          <a:chOff x="0" y="0"/>
          <a:chExt cx="0" cy="0"/>
        </a:xfrm>
      </p:grpSpPr>
      <p:sp>
        <p:nvSpPr>
          <p:cNvPr id="5" name="Platshållare för bild 4"/>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14597720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 bild hög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821623265"/>
      </p:ext>
    </p:extLst>
  </p:cSld>
  <p:clrMapOvr>
    <a:masterClrMapping/>
  </p:clrMapOvr>
  <p:transition spd="slow">
    <p:wip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ild helsida med rubrik">
    <p:spTree>
      <p:nvGrpSpPr>
        <p:cNvPr id="1" name=""/>
        <p:cNvGrpSpPr/>
        <p:nvPr/>
      </p:nvGrpSpPr>
      <p:grpSpPr>
        <a:xfrm>
          <a:off x="0" y="0"/>
          <a:ext cx="0" cy="0"/>
          <a:chOff x="0" y="0"/>
          <a:chExt cx="0" cy="0"/>
        </a:xfrm>
      </p:grpSpPr>
      <p:sp>
        <p:nvSpPr>
          <p:cNvPr id="2" name="Platshållare för sidfot 1">
            <a:extLst>
              <a:ext uri="{FF2B5EF4-FFF2-40B4-BE49-F238E27FC236}">
                <a16:creationId xmlns:a16="http://schemas.microsoft.com/office/drawing/2014/main" id="{4C2CB002-9FCD-48CA-BEF4-9C216A36070A}"/>
              </a:ext>
            </a:extLst>
          </p:cNvPr>
          <p:cNvSpPr>
            <a:spLocks noGrp="1"/>
          </p:cNvSpPr>
          <p:nvPr>
            <p:ph type="ftr" sz="quarter" idx="11"/>
          </p:nvPr>
        </p:nvSpPr>
        <p:spPr>
          <a:xfrm>
            <a:off x="479999" y="6376989"/>
            <a:ext cx="5616000" cy="147636"/>
          </a:xfrm>
          <a:prstGeom prst="rect">
            <a:avLst/>
          </a:prstGeom>
        </p:spPr>
        <p:txBody>
          <a:bodyPr/>
          <a:lstStyle/>
          <a:p>
            <a:endParaRPr lang="sv-SE"/>
          </a:p>
        </p:txBody>
      </p:sp>
      <p:sp>
        <p:nvSpPr>
          <p:cNvPr id="4" name="Platshållare för bild 5">
            <a:extLst>
              <a:ext uri="{FF2B5EF4-FFF2-40B4-BE49-F238E27FC236}">
                <a16:creationId xmlns:a16="http://schemas.microsoft.com/office/drawing/2014/main" id="{1566CF40-59BE-4449-B880-5CCAFCC9D997}"/>
              </a:ext>
            </a:extLst>
          </p:cNvPr>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6" name="Title 1">
            <a:extLst>
              <a:ext uri="{FF2B5EF4-FFF2-40B4-BE49-F238E27FC236}">
                <a16:creationId xmlns:a16="http://schemas.microsoft.com/office/drawing/2014/main" id="{5F556A3A-7138-45B2-8593-FAB5296ADD6C}"/>
              </a:ext>
            </a:extLst>
          </p:cNvPr>
          <p:cNvSpPr>
            <a:spLocks noGrp="1"/>
          </p:cNvSpPr>
          <p:nvPr>
            <p:ph type="ctrTitle"/>
          </p:nvPr>
        </p:nvSpPr>
        <p:spPr>
          <a:xfrm>
            <a:off x="1528841" y="2404809"/>
            <a:ext cx="9134323" cy="1113092"/>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spTree>
    <p:extLst>
      <p:ext uri="{BB962C8B-B14F-4D97-AF65-F5344CB8AC3E}">
        <p14:creationId xmlns:p14="http://schemas.microsoft.com/office/powerpoint/2010/main" val="200712092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bildnummer 2">
            <a:extLst>
              <a:ext uri="{FF2B5EF4-FFF2-40B4-BE49-F238E27FC236}">
                <a16:creationId xmlns:a16="http://schemas.microsoft.com/office/drawing/2014/main" id="{474F5195-589E-4BA5-AA31-A11EABAE756F}"/>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65884854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reserve="1">
  <p:cSld name="Helt 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76308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vsnittsrubrik med bild">
    <p:spTree>
      <p:nvGrpSpPr>
        <p:cNvPr id="1" name=""/>
        <p:cNvGrpSpPr/>
        <p:nvPr/>
      </p:nvGrpSpPr>
      <p:grpSpPr>
        <a:xfrm>
          <a:off x="0" y="0"/>
          <a:ext cx="0" cy="0"/>
          <a:chOff x="0" y="0"/>
          <a:chExt cx="0" cy="0"/>
        </a:xfrm>
      </p:grpSpPr>
      <p:sp>
        <p:nvSpPr>
          <p:cNvPr id="8" name="Platshållare för bild 5">
            <a:extLst>
              <a:ext uri="{FF2B5EF4-FFF2-40B4-BE49-F238E27FC236}">
                <a16:creationId xmlns:a16="http://schemas.microsoft.com/office/drawing/2014/main" id="{E89F1A3B-CD83-40C2-B654-7491BD29FCD5}"/>
              </a:ext>
            </a:extLst>
          </p:cNvPr>
          <p:cNvSpPr>
            <a:spLocks noGrp="1"/>
          </p:cNvSpPr>
          <p:nvPr>
            <p:ph type="pic" sz="quarter" idx="11" hasCustomPrompt="1"/>
          </p:nvPr>
        </p:nvSpPr>
        <p:spPr>
          <a:xfrm>
            <a:off x="407989" y="404812"/>
            <a:ext cx="11376024" cy="5508625"/>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9" name="Title 1">
            <a:extLst>
              <a:ext uri="{FF2B5EF4-FFF2-40B4-BE49-F238E27FC236}">
                <a16:creationId xmlns:a16="http://schemas.microsoft.com/office/drawing/2014/main" id="{EAB74EFB-B5F9-4503-84BF-A1C8C3809B6F}"/>
              </a:ext>
            </a:extLst>
          </p:cNvPr>
          <p:cNvSpPr>
            <a:spLocks noGrp="1"/>
          </p:cNvSpPr>
          <p:nvPr>
            <p:ph type="ctrTitle"/>
          </p:nvPr>
        </p:nvSpPr>
        <p:spPr>
          <a:xfrm>
            <a:off x="1879600" y="1973603"/>
            <a:ext cx="8483640" cy="885112"/>
          </a:xfrm>
          <a:prstGeom prst="rect">
            <a:avLst/>
          </a:prstGeom>
        </p:spPr>
        <p:txBody>
          <a:bodyPr anchor="ctr" anchorCtr="0">
            <a:noAutofit/>
          </a:bodyPr>
          <a:lstStyle>
            <a:lvl1pPr algn="ctr">
              <a:lnSpc>
                <a:spcPct val="90000"/>
              </a:lnSpc>
              <a:defRPr sz="4000">
                <a:solidFill>
                  <a:schemeClr val="bg1"/>
                </a:solidFill>
              </a:defRPr>
            </a:lvl1pPr>
          </a:lstStyle>
          <a:p>
            <a:r>
              <a:rPr lang="sv-SE"/>
              <a:t>Klicka här för att ändra mall för rubrikformat</a:t>
            </a:r>
            <a:endParaRPr lang="en-US"/>
          </a:p>
        </p:txBody>
      </p:sp>
      <p:sp>
        <p:nvSpPr>
          <p:cNvPr id="6" name="textruta 5">
            <a:extLst>
              <a:ext uri="{FF2B5EF4-FFF2-40B4-BE49-F238E27FC236}">
                <a16:creationId xmlns:a16="http://schemas.microsoft.com/office/drawing/2014/main" id="{BE03C4AA-7F69-47DB-B0C7-C398C29343E8}"/>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t>Hållbar stad – öppen för världen</a:t>
            </a:r>
          </a:p>
        </p:txBody>
      </p:sp>
      <p:pic>
        <p:nvPicPr>
          <p:cNvPr id="7" name="Bildobjekt 6" descr="Logo" title="Logo">
            <a:extLst>
              <a:ext uri="{FF2B5EF4-FFF2-40B4-BE49-F238E27FC236}">
                <a16:creationId xmlns:a16="http://schemas.microsoft.com/office/drawing/2014/main" id="{A42DC399-9929-4DB1-86A7-EDD1619A0A0E}"/>
              </a:ext>
            </a:extLst>
          </p:cNvPr>
          <p:cNvPicPr>
            <a:picLocks noChangeAspect="1"/>
          </p:cNvPicPr>
          <p:nvPr userDrawn="1"/>
        </p:nvPicPr>
        <p:blipFill>
          <a:blip r:embed="rId2"/>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63830017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vsnittsrubrik">
    <p:spTree>
      <p:nvGrpSpPr>
        <p:cNvPr id="1" name=""/>
        <p:cNvGrpSpPr/>
        <p:nvPr/>
      </p:nvGrpSpPr>
      <p:grpSpPr>
        <a:xfrm>
          <a:off x="0" y="0"/>
          <a:ext cx="0" cy="0"/>
          <a:chOff x="0" y="0"/>
          <a:chExt cx="0" cy="0"/>
        </a:xfrm>
      </p:grpSpPr>
      <p:pic>
        <p:nvPicPr>
          <p:cNvPr id="8" name="Bildobjekt 7" descr="GRAPHIC_small7.jpg">
            <a:extLst>
              <a:ext uri="{FF2B5EF4-FFF2-40B4-BE49-F238E27FC236}">
                <a16:creationId xmlns:a16="http://schemas.microsoft.com/office/drawing/2014/main" id="{A89FACA4-D3B2-4A63-AD7E-139FD820E6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407986" y="404814"/>
            <a:ext cx="11366503" cy="5507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528841" y="2404809"/>
            <a:ext cx="9134323" cy="1349829"/>
          </a:xfrm>
          <a:prstGeom prst="rect">
            <a:avLst/>
          </a:prstGeom>
        </p:spPr>
        <p:txBody>
          <a:bodyPr anchor="ctr" anchorCtr="0">
            <a:noAutofit/>
          </a:bodyPr>
          <a:lstStyle>
            <a:lvl1pPr algn="ctr">
              <a:lnSpc>
                <a:spcPct val="90000"/>
              </a:lnSpc>
              <a:defRPr sz="4500">
                <a:solidFill>
                  <a:schemeClr val="tx1">
                    <a:lumMod val="95000"/>
                    <a:lumOff val="5000"/>
                  </a:schemeClr>
                </a:solidFill>
              </a:defRPr>
            </a:lvl1pPr>
          </a:lstStyle>
          <a:p>
            <a:r>
              <a:rPr lang="sv-SE"/>
              <a:t>Klicka här för att ändra mall för rubrikformat</a:t>
            </a:r>
            <a:endParaRPr lang="en-US"/>
          </a:p>
        </p:txBody>
      </p:sp>
      <p:sp>
        <p:nvSpPr>
          <p:cNvPr id="15" name="textruta 14">
            <a:extLst>
              <a:ext uri="{FF2B5EF4-FFF2-40B4-BE49-F238E27FC236}">
                <a16:creationId xmlns:a16="http://schemas.microsoft.com/office/drawing/2014/main" id="{F8CA43A6-7E16-4DBD-AD75-D68133193CDD}"/>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solidFill>
                  <a:schemeClr val="tx1">
                    <a:lumMod val="95000"/>
                    <a:lumOff val="5000"/>
                  </a:schemeClr>
                </a:solidFill>
              </a:rPr>
              <a:t>Hållbar stad – öppen för världen</a:t>
            </a:r>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3"/>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86265546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vslutsbild">
    <p:spTree>
      <p:nvGrpSpPr>
        <p:cNvPr id="1" name=""/>
        <p:cNvGrpSpPr/>
        <p:nvPr/>
      </p:nvGrpSpPr>
      <p:grpSpPr>
        <a:xfrm>
          <a:off x="0" y="0"/>
          <a:ext cx="0" cy="0"/>
          <a:chOff x="0" y="0"/>
          <a:chExt cx="0" cy="0"/>
        </a:xfrm>
      </p:grpSpPr>
      <p:pic>
        <p:nvPicPr>
          <p:cNvPr id="7" name="Bildobjekt 6" descr="GRAPHIC_small7.jpg">
            <a:extLst>
              <a:ext uri="{FF2B5EF4-FFF2-40B4-BE49-F238E27FC236}">
                <a16:creationId xmlns:a16="http://schemas.microsoft.com/office/drawing/2014/main" id="{9E2FCF00-2835-4346-9796-B565923CCE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407986" y="1144856"/>
            <a:ext cx="11366503" cy="53079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solidFill>
                  <a:schemeClr val="tx1">
                    <a:lumMod val="95000"/>
                    <a:lumOff val="5000"/>
                  </a:schemeClr>
                </a:solidFill>
                <a:latin typeface="+mn-lt"/>
              </a:rPr>
              <a:t>Hållbar stad – öppen för världen</a:t>
            </a:r>
          </a:p>
        </p:txBody>
      </p:sp>
      <p:sp>
        <p:nvSpPr>
          <p:cNvPr id="2" name="textruta 1">
            <a:extLst>
              <a:ext uri="{FF2B5EF4-FFF2-40B4-BE49-F238E27FC236}">
                <a16:creationId xmlns:a16="http://schemas.microsoft.com/office/drawing/2014/main" id="{791AD600-C07A-4C4F-816C-2BE89532B957}"/>
              </a:ext>
            </a:extLst>
          </p:cNvPr>
          <p:cNvSpPr txBox="1"/>
          <p:nvPr userDrawn="1"/>
        </p:nvSpPr>
        <p:spPr>
          <a:xfrm>
            <a:off x="1420650" y="2405064"/>
            <a:ext cx="3026004" cy="309600"/>
          </a:xfrm>
          <a:prstGeom prst="rect">
            <a:avLst/>
          </a:prstGeom>
        </p:spPr>
        <p:txBody>
          <a:bodyPr vert="horz" lIns="0" tIns="0" rIns="0" bIns="0" rtlCol="0">
            <a:noAutofit/>
          </a:bodyPr>
          <a:lstStyle>
            <a:lvl1pPr lvl="0" indent="0" defTabSz="914332">
              <a:lnSpc>
                <a:spcPct val="100000"/>
              </a:lnSpc>
              <a:spcBef>
                <a:spcPts val="0"/>
              </a:spcBef>
              <a:spcAft>
                <a:spcPts val="300"/>
              </a:spcAft>
              <a:buFont typeface="Arial" panose="020B0604020202020204" pitchFamily="34" charset="0"/>
              <a:buNone/>
              <a:defRPr sz="1700" kern="0" baseline="0">
                <a:solidFill>
                  <a:schemeClr val="bg1"/>
                </a:solidFill>
                <a:latin typeface="+mj-lt"/>
              </a:defRPr>
            </a:lvl1pPr>
            <a:lvl2pPr marL="457167" indent="-230384" defTabSz="914332">
              <a:lnSpc>
                <a:spcPct val="110000"/>
              </a:lnSpc>
              <a:spcBef>
                <a:spcPts val="0"/>
              </a:spcBef>
              <a:spcAft>
                <a:spcPts val="300"/>
              </a:spcAft>
              <a:buFont typeface="Arial" panose="020B0604020202020204" pitchFamily="34" charset="0"/>
              <a:buChar char="–"/>
              <a:defRPr sz="1700"/>
            </a:lvl2pPr>
            <a:lvl3pPr marL="687548" indent="-230384" defTabSz="914332">
              <a:lnSpc>
                <a:spcPct val="110000"/>
              </a:lnSpc>
              <a:spcBef>
                <a:spcPts val="0"/>
              </a:spcBef>
              <a:spcAft>
                <a:spcPts val="300"/>
              </a:spcAft>
              <a:buFont typeface="Wingdings" panose="05000000000000000000" pitchFamily="2" charset="2"/>
              <a:buChar char="§"/>
              <a:defRPr sz="1700"/>
            </a:lvl3pPr>
            <a:lvl4pPr marL="914332" indent="-228584" defTabSz="914332">
              <a:lnSpc>
                <a:spcPct val="110000"/>
              </a:lnSpc>
              <a:spcBef>
                <a:spcPts val="0"/>
              </a:spcBef>
              <a:spcAft>
                <a:spcPts val="300"/>
              </a:spcAft>
              <a:buFont typeface="Arial" panose="020B0604020202020204" pitchFamily="34" charset="0"/>
              <a:buChar char="•"/>
              <a:defRPr sz="1700"/>
            </a:lvl4pPr>
            <a:lvl5pPr marL="1144714" indent="-228584" defTabSz="914332">
              <a:lnSpc>
                <a:spcPct val="110000"/>
              </a:lnSpc>
              <a:spcBef>
                <a:spcPts val="0"/>
              </a:spcBef>
              <a:spcAft>
                <a:spcPts val="300"/>
              </a:spcAft>
              <a:buFont typeface="Arial" panose="020B0604020202020204" pitchFamily="34" charset="0"/>
              <a:buChar char="•"/>
              <a:defRPr sz="1700"/>
            </a:lvl5pPr>
            <a:lvl6pPr marL="2514412" indent="-228584" defTabSz="914332">
              <a:lnSpc>
                <a:spcPct val="90000"/>
              </a:lnSpc>
              <a:spcBef>
                <a:spcPts val="500"/>
              </a:spcBef>
              <a:buFont typeface="Arial" panose="020B0604020202020204" pitchFamily="34" charset="0"/>
              <a:buChar char="•"/>
            </a:lvl6pPr>
            <a:lvl7pPr marL="2971578" indent="-228584" defTabSz="914332">
              <a:lnSpc>
                <a:spcPct val="90000"/>
              </a:lnSpc>
              <a:spcBef>
                <a:spcPts val="500"/>
              </a:spcBef>
              <a:buFont typeface="Arial" panose="020B0604020202020204" pitchFamily="34" charset="0"/>
              <a:buChar char="•"/>
            </a:lvl7pPr>
            <a:lvl8pPr marL="3428744" indent="-228584" defTabSz="914332">
              <a:lnSpc>
                <a:spcPct val="90000"/>
              </a:lnSpc>
              <a:spcBef>
                <a:spcPts val="500"/>
              </a:spcBef>
              <a:buFont typeface="Arial" panose="020B0604020202020204" pitchFamily="34" charset="0"/>
              <a:buChar char="•"/>
            </a:lvl8pPr>
            <a:lvl9pPr marL="3885910" indent="-228584" defTabSz="914332">
              <a:lnSpc>
                <a:spcPct val="90000"/>
              </a:lnSpc>
              <a:spcBef>
                <a:spcPts val="500"/>
              </a:spcBef>
              <a:buFont typeface="Arial" panose="020B0604020202020204" pitchFamily="34" charset="0"/>
              <a:buChar char="•"/>
            </a:lvl9pPr>
          </a:lstStyle>
          <a:p>
            <a:pPr lvl="0"/>
            <a:r>
              <a:rPr lang="sv-SE">
                <a:solidFill>
                  <a:schemeClr val="tx1">
                    <a:lumMod val="95000"/>
                    <a:lumOff val="5000"/>
                  </a:schemeClr>
                </a:solidFill>
              </a:rPr>
              <a:t>Kontakt</a:t>
            </a:r>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3"/>
          <a:stretch>
            <a:fillRect/>
          </a:stretch>
        </p:blipFill>
        <p:spPr>
          <a:xfrm>
            <a:off x="10297795" y="401983"/>
            <a:ext cx="1481456" cy="499915"/>
          </a:xfrm>
          <a:prstGeom prst="rect">
            <a:avLst/>
          </a:prstGeom>
        </p:spPr>
      </p:pic>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tx1">
                    <a:lumMod val="95000"/>
                    <a:lumOff val="5000"/>
                  </a:schemeClr>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Tree>
    <p:extLst>
      <p:ext uri="{BB962C8B-B14F-4D97-AF65-F5344CB8AC3E}">
        <p14:creationId xmlns:p14="http://schemas.microsoft.com/office/powerpoint/2010/main" val="366845382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Logotyp">
    <p:spTree>
      <p:nvGrpSpPr>
        <p:cNvPr id="1" name=""/>
        <p:cNvGrpSpPr/>
        <p:nvPr/>
      </p:nvGrpSpPr>
      <p:grpSpPr>
        <a:xfrm>
          <a:off x="0" y="0"/>
          <a:ext cx="0" cy="0"/>
          <a:chOff x="0" y="0"/>
          <a:chExt cx="0" cy="0"/>
        </a:xfrm>
      </p:grpSpPr>
      <p:pic>
        <p:nvPicPr>
          <p:cNvPr id="3" name="Bildobjekt 2" descr="Logo" title="Logo">
            <a:extLst>
              <a:ext uri="{FF2B5EF4-FFF2-40B4-BE49-F238E27FC236}">
                <a16:creationId xmlns:a16="http://schemas.microsoft.com/office/drawing/2014/main" id="{1F12769C-ECF3-448E-A565-83EEEC398EEF}"/>
              </a:ext>
            </a:extLst>
          </p:cNvPr>
          <p:cNvPicPr>
            <a:picLocks noChangeAspect="1"/>
          </p:cNvPicPr>
          <p:nvPr userDrawn="1"/>
        </p:nvPicPr>
        <p:blipFill>
          <a:blip r:embed="rId2"/>
          <a:stretch>
            <a:fillRect/>
          </a:stretch>
        </p:blipFill>
        <p:spPr>
          <a:xfrm>
            <a:off x="5382706" y="2300663"/>
            <a:ext cx="1426588" cy="2261812"/>
          </a:xfrm>
          <a:prstGeom prst="rect">
            <a:avLst/>
          </a:prstGeom>
        </p:spPr>
      </p:pic>
    </p:spTree>
    <p:extLst>
      <p:ext uri="{BB962C8B-B14F-4D97-AF65-F5344CB8AC3E}">
        <p14:creationId xmlns:p14="http://schemas.microsoft.com/office/powerpoint/2010/main" val="2229182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Rubrik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chemeClr val="accent6"/>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p:nvPr>
        </p:nvSpPr>
        <p:spPr>
          <a:xfrm>
            <a:off x="1731696" y="2626153"/>
            <a:ext cx="8728608" cy="1349829"/>
          </a:xfrm>
          <a:prstGeom prst="rect">
            <a:avLst/>
          </a:prstGeom>
        </p:spPr>
        <p:txBody>
          <a:bodyPr anchor="ctr" anchorCtr="0">
            <a:noAutofit/>
          </a:bodyPr>
          <a:lstStyle>
            <a:lvl1pPr algn="l">
              <a:lnSpc>
                <a:spcPct val="90000"/>
              </a:lnSpc>
              <a:defRPr sz="4200" kern="0" spc="0" baseline="0">
                <a:solidFill>
                  <a:schemeClr val="bg1"/>
                </a:solidFill>
              </a:defRPr>
            </a:lvl1pPr>
          </a:lstStyle>
          <a:p>
            <a:r>
              <a:rPr lang="sv-SE"/>
              <a:t>Klicka här för att ändra mall för rubrikformat</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731696" y="4165601"/>
            <a:ext cx="8728608" cy="251417"/>
          </a:xfrm>
        </p:spPr>
        <p:txBody>
          <a:bodyPr>
            <a:noAutofit/>
          </a:bodyPr>
          <a:lstStyle>
            <a:lvl1pPr marL="0" indent="0">
              <a:lnSpc>
                <a:spcPct val="100000"/>
              </a:lnSpc>
              <a:spcBef>
                <a:spcPts val="0"/>
              </a:spcBef>
              <a:buNone/>
              <a:defRPr sz="18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731696" y="4606637"/>
            <a:ext cx="8728608" cy="251417"/>
          </a:xfrm>
        </p:spPr>
        <p:txBody>
          <a:bodyPr>
            <a:noAutofit/>
          </a:bodyPr>
          <a:lstStyle>
            <a:lvl1pPr marL="0" indent="0">
              <a:lnSpc>
                <a:spcPct val="100000"/>
              </a:lnSpc>
              <a:spcBef>
                <a:spcPts val="0"/>
              </a:spcBef>
              <a:buNone/>
              <a:defRPr sz="14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latin typeface="+mn-lt"/>
              </a:rPr>
              <a:t>Hållbar stad – öppen för värld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91328124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p:nvPr>
        </p:nvSpPr>
        <p:spPr/>
        <p:txBody>
          <a:bodyPr/>
          <a:lstStyle/>
          <a:p>
            <a:r>
              <a:rPr lang="sv-SE"/>
              <a:t>Klicka här för att ändra mall för rubrikformat</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8313"/>
            <a:ext cx="10080000" cy="4175124"/>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latshållare för bildnummer 2">
            <a:extLst>
              <a:ext uri="{FF2B5EF4-FFF2-40B4-BE49-F238E27FC236}">
                <a16:creationId xmlns:a16="http://schemas.microsoft.com/office/drawing/2014/main" id="{040785F0-4073-4C09-A77E-AF825CBA6233}"/>
              </a:ext>
            </a:extLst>
          </p:cNvPr>
          <p:cNvSpPr>
            <a:spLocks noGrp="1"/>
          </p:cNvSpPr>
          <p:nvPr>
            <p:ph type="sldNum" sz="quarter" idx="12"/>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71406083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424537-5ECE-4D36-9AE9-88D8AFB54949}"/>
              </a:ext>
            </a:extLst>
          </p:cNvPr>
          <p:cNvSpPr>
            <a:spLocks noGrp="1"/>
          </p:cNvSpPr>
          <p:nvPr>
            <p:ph type="title"/>
          </p:nvPr>
        </p:nvSpPr>
        <p:spPr/>
        <p:txBody>
          <a:bodyPr/>
          <a:lstStyle/>
          <a:p>
            <a:r>
              <a:rPr lang="sv-SE"/>
              <a:t>Klicka här för att ändra mall för rubrikformat</a:t>
            </a:r>
          </a:p>
        </p:txBody>
      </p:sp>
      <p:sp>
        <p:nvSpPr>
          <p:cNvPr id="3" name="Content Placeholder 2"/>
          <p:cNvSpPr>
            <a:spLocks noGrp="1"/>
          </p:cNvSpPr>
          <p:nvPr>
            <p:ph sz="half" idx="1"/>
          </p:nvPr>
        </p:nvSpPr>
        <p:spPr>
          <a:xfrm>
            <a:off x="407988" y="1736729"/>
            <a:ext cx="5400000" cy="417671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Content Placeholder 3"/>
          <p:cNvSpPr>
            <a:spLocks noGrp="1"/>
          </p:cNvSpPr>
          <p:nvPr>
            <p:ph sz="half" idx="2"/>
          </p:nvPr>
        </p:nvSpPr>
        <p:spPr>
          <a:xfrm>
            <a:off x="6379250" y="1736729"/>
            <a:ext cx="5400000" cy="417671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bildnummer 4">
            <a:extLst>
              <a:ext uri="{FF2B5EF4-FFF2-40B4-BE49-F238E27FC236}">
                <a16:creationId xmlns:a16="http://schemas.microsoft.com/office/drawing/2014/main" id="{EC9B43C6-89FD-4564-BB62-9B67C1AE2E6A}"/>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5940513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 + bild vänst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r>
              <a:rPr lang="sv-SE"/>
              <a:t>Klicka på ikonen för att lägga till en bild</a:t>
            </a:r>
          </a:p>
        </p:txBody>
      </p:sp>
    </p:spTree>
    <p:extLst>
      <p:ext uri="{BB962C8B-B14F-4D97-AF65-F5344CB8AC3E}">
        <p14:creationId xmlns:p14="http://schemas.microsoft.com/office/powerpoint/2010/main" val="2102774086"/>
      </p:ext>
    </p:extLst>
  </p:cSld>
  <p:clrMapOvr>
    <a:masterClrMapping/>
  </p:clrMapOvr>
  <p:transition spd="slow">
    <p:wip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BCE7E41F-F5AB-42BF-88B5-ED5B44A6461E}"/>
              </a:ext>
            </a:extLst>
          </p:cNvPr>
          <p:cNvSpPr>
            <a:spLocks noGrp="1"/>
          </p:cNvSpPr>
          <p:nvPr>
            <p:ph type="title"/>
          </p:nvPr>
        </p:nvSpPr>
        <p:spPr/>
        <p:txBody>
          <a:bodyPr/>
          <a:lstStyle/>
          <a:p>
            <a:r>
              <a:rPr lang="sv-SE"/>
              <a:t>Klicka här för att ändra mall för rubrikformat</a:t>
            </a:r>
          </a:p>
        </p:txBody>
      </p:sp>
      <p:sp>
        <p:nvSpPr>
          <p:cNvPr id="3" name="Text Placeholder 2"/>
          <p:cNvSpPr>
            <a:spLocks noGrp="1"/>
          </p:cNvSpPr>
          <p:nvPr>
            <p:ph type="body" idx="1"/>
          </p:nvPr>
        </p:nvSpPr>
        <p:spPr>
          <a:xfrm>
            <a:off x="407988" y="1588563"/>
            <a:ext cx="527808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Klicka här för att ändra format på bakgrundstexten</a:t>
            </a:r>
          </a:p>
        </p:txBody>
      </p:sp>
      <p:sp>
        <p:nvSpPr>
          <p:cNvPr id="4" name="Content Placeholder 3"/>
          <p:cNvSpPr>
            <a:spLocks noGrp="1"/>
          </p:cNvSpPr>
          <p:nvPr>
            <p:ph sz="half" idx="2"/>
          </p:nvPr>
        </p:nvSpPr>
        <p:spPr>
          <a:xfrm>
            <a:off x="407988" y="2281031"/>
            <a:ext cx="5278080" cy="352468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 Placeholder 4"/>
          <p:cNvSpPr>
            <a:spLocks noGrp="1"/>
          </p:cNvSpPr>
          <p:nvPr>
            <p:ph type="body" sz="quarter" idx="3"/>
          </p:nvPr>
        </p:nvSpPr>
        <p:spPr>
          <a:xfrm>
            <a:off x="6432000" y="1591385"/>
            <a:ext cx="528000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Klicka här för att ändra format på bakgrundstexten</a:t>
            </a:r>
          </a:p>
        </p:txBody>
      </p:sp>
      <p:sp>
        <p:nvSpPr>
          <p:cNvPr id="6" name="Content Placeholder 5"/>
          <p:cNvSpPr>
            <a:spLocks noGrp="1"/>
          </p:cNvSpPr>
          <p:nvPr>
            <p:ph sz="quarter" idx="4"/>
          </p:nvPr>
        </p:nvSpPr>
        <p:spPr>
          <a:xfrm>
            <a:off x="6432000" y="2281035"/>
            <a:ext cx="5280000" cy="352468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5B0B39BD-A593-4A83-AD46-53A96C2F78AD}"/>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4512197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mall för rubrikformat</a:t>
            </a:r>
          </a:p>
        </p:txBody>
      </p:sp>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7199935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Rubrik, text och 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mall för rubrik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17075" y="1736728"/>
            <a:ext cx="5678925"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7598925" y="1738313"/>
            <a:ext cx="4176000" cy="4175125"/>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5" name="Platshållare för bildnummer 4">
            <a:extLst>
              <a:ext uri="{FF2B5EF4-FFF2-40B4-BE49-F238E27FC236}">
                <a16:creationId xmlns:a16="http://schemas.microsoft.com/office/drawing/2014/main" id="{BA6D7259-E2CF-428A-9B5C-9AEE444FC13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11767469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Rubrik, bild och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00F4CB-80BD-4C46-8862-E3F5646FDE7A}"/>
              </a:ext>
            </a:extLst>
          </p:cNvPr>
          <p:cNvSpPr>
            <a:spLocks noGrp="1"/>
          </p:cNvSpPr>
          <p:nvPr>
            <p:ph type="title"/>
          </p:nvPr>
        </p:nvSpPr>
        <p:spPr/>
        <p:txBody>
          <a:bodyPr/>
          <a:lstStyle/>
          <a:p>
            <a:r>
              <a:rPr lang="sv-SE"/>
              <a:t>Klicka här för att ändra mall för rubrikformat</a:t>
            </a:r>
          </a:p>
        </p:txBody>
      </p:sp>
      <p:sp>
        <p:nvSpPr>
          <p:cNvPr id="5" name="Content Placeholder 2">
            <a:extLst>
              <a:ext uri="{FF2B5EF4-FFF2-40B4-BE49-F238E27FC236}">
                <a16:creationId xmlns:a16="http://schemas.microsoft.com/office/drawing/2014/main" id="{D18EAA5A-4340-4EE5-A1A8-3200B98C0962}"/>
              </a:ext>
            </a:extLst>
          </p:cNvPr>
          <p:cNvSpPr>
            <a:spLocks noGrp="1"/>
          </p:cNvSpPr>
          <p:nvPr>
            <p:ph sz="half" idx="10"/>
          </p:nvPr>
        </p:nvSpPr>
        <p:spPr>
          <a:xfrm>
            <a:off x="6096000" y="1736728"/>
            <a:ext cx="5688013"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407988" y="1738313"/>
            <a:ext cx="4176000" cy="4175125"/>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DEAD5FAA-1657-4061-B125-FAABE5DDE22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50354700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re bilder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C800227-24F3-424A-950F-9031EC7717A1}"/>
              </a:ext>
            </a:extLst>
          </p:cNvPr>
          <p:cNvSpPr>
            <a:spLocks noGrp="1"/>
          </p:cNvSpPr>
          <p:nvPr>
            <p:ph type="title"/>
          </p:nvPr>
        </p:nvSpPr>
        <p:spPr/>
        <p:txBody>
          <a:bodyPr/>
          <a:lstStyle/>
          <a:p>
            <a:r>
              <a:rPr lang="sv-SE"/>
              <a:t>Klicka här för att ändra mall för rubrikformat</a:t>
            </a:r>
          </a:p>
        </p:txBody>
      </p:sp>
      <p:sp>
        <p:nvSpPr>
          <p:cNvPr id="3" name="Picture Placeholder 2"/>
          <p:cNvSpPr>
            <a:spLocks noGrp="1"/>
          </p:cNvSpPr>
          <p:nvPr>
            <p:ph type="pic" idx="1" hasCustomPrompt="1"/>
          </p:nvPr>
        </p:nvSpPr>
        <p:spPr>
          <a:xfrm>
            <a:off x="407988" y="1738313"/>
            <a:ext cx="3600000" cy="3660464"/>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Text Placeholder 3"/>
          <p:cNvSpPr>
            <a:spLocks noGrp="1"/>
          </p:cNvSpPr>
          <p:nvPr>
            <p:ph type="body" sz="half" idx="2"/>
          </p:nvPr>
        </p:nvSpPr>
        <p:spPr>
          <a:xfrm>
            <a:off x="407988"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10" name="Picture Placeholder 2">
            <a:extLst>
              <a:ext uri="{FF2B5EF4-FFF2-40B4-BE49-F238E27FC236}">
                <a16:creationId xmlns:a16="http://schemas.microsoft.com/office/drawing/2014/main" id="{F5F04B5A-F0FB-4FC9-9F5F-CDA6CEE251C7}"/>
              </a:ext>
            </a:extLst>
          </p:cNvPr>
          <p:cNvSpPr>
            <a:spLocks noGrp="1"/>
          </p:cNvSpPr>
          <p:nvPr>
            <p:ph type="pic" idx="12" hasCustomPrompt="1"/>
          </p:nvPr>
        </p:nvSpPr>
        <p:spPr>
          <a:xfrm>
            <a:off x="4296000" y="1738313"/>
            <a:ext cx="3600000" cy="3660464"/>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5" name="Text Placeholder 3">
            <a:extLst>
              <a:ext uri="{FF2B5EF4-FFF2-40B4-BE49-F238E27FC236}">
                <a16:creationId xmlns:a16="http://schemas.microsoft.com/office/drawing/2014/main" id="{A5F93C07-C166-474C-8E0B-4E9C3BBCB337}"/>
              </a:ext>
            </a:extLst>
          </p:cNvPr>
          <p:cNvSpPr>
            <a:spLocks noGrp="1"/>
          </p:cNvSpPr>
          <p:nvPr>
            <p:ph type="body" sz="half" idx="15"/>
          </p:nvPr>
        </p:nvSpPr>
        <p:spPr>
          <a:xfrm>
            <a:off x="4296000"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11" name="Picture Placeholder 2">
            <a:extLst>
              <a:ext uri="{FF2B5EF4-FFF2-40B4-BE49-F238E27FC236}">
                <a16:creationId xmlns:a16="http://schemas.microsoft.com/office/drawing/2014/main" id="{A7F97845-F21E-448F-BCE4-594A545AB8CB}"/>
              </a:ext>
            </a:extLst>
          </p:cNvPr>
          <p:cNvSpPr>
            <a:spLocks noGrp="1"/>
          </p:cNvSpPr>
          <p:nvPr>
            <p:ph type="pic" idx="13" hasCustomPrompt="1"/>
          </p:nvPr>
        </p:nvSpPr>
        <p:spPr>
          <a:xfrm>
            <a:off x="8184013" y="1738313"/>
            <a:ext cx="3600000" cy="3660464"/>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4" name="Text Placeholder 3">
            <a:extLst>
              <a:ext uri="{FF2B5EF4-FFF2-40B4-BE49-F238E27FC236}">
                <a16:creationId xmlns:a16="http://schemas.microsoft.com/office/drawing/2014/main" id="{5F230963-9997-4CAE-9B9D-4F53D8044D29}"/>
              </a:ext>
            </a:extLst>
          </p:cNvPr>
          <p:cNvSpPr>
            <a:spLocks noGrp="1"/>
          </p:cNvSpPr>
          <p:nvPr>
            <p:ph type="body" sz="half" idx="14"/>
          </p:nvPr>
        </p:nvSpPr>
        <p:spPr>
          <a:xfrm>
            <a:off x="8184013"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6" name="Platshållare för bildnummer 5">
            <a:extLst>
              <a:ext uri="{FF2B5EF4-FFF2-40B4-BE49-F238E27FC236}">
                <a16:creationId xmlns:a16="http://schemas.microsoft.com/office/drawing/2014/main" id="{344BB15C-87DA-407B-A8B6-CA070A8D70E5}"/>
              </a:ext>
            </a:extLst>
          </p:cNvPr>
          <p:cNvSpPr>
            <a:spLocks noGrp="1"/>
          </p:cNvSpPr>
          <p:nvPr>
            <p:ph type="sldNum" sz="quarter" idx="16"/>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26276376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ext och bild till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00F4CB-80BD-4C46-8862-E3F5646FDE7A}"/>
              </a:ext>
            </a:extLst>
          </p:cNvPr>
          <p:cNvSpPr>
            <a:spLocks noGrp="1"/>
          </p:cNvSpPr>
          <p:nvPr>
            <p:ph type="title"/>
          </p:nvPr>
        </p:nvSpPr>
        <p:spPr>
          <a:xfrm>
            <a:off x="407988" y="404813"/>
            <a:ext cx="5240337" cy="736959"/>
          </a:xfrm>
        </p:spPr>
        <p:txBody>
          <a:bodyPr/>
          <a:lstStyle/>
          <a:p>
            <a:r>
              <a:rPr lang="sv-SE"/>
              <a:t>Klicka här för att ändra mall för rubrikformat</a:t>
            </a:r>
          </a:p>
        </p:txBody>
      </p:sp>
      <p:sp>
        <p:nvSpPr>
          <p:cNvPr id="5" name="Content Placeholder 2">
            <a:extLst>
              <a:ext uri="{FF2B5EF4-FFF2-40B4-BE49-F238E27FC236}">
                <a16:creationId xmlns:a16="http://schemas.microsoft.com/office/drawing/2014/main" id="{D18EAA5A-4340-4EE5-A1A8-3200B98C0962}"/>
              </a:ext>
            </a:extLst>
          </p:cNvPr>
          <p:cNvSpPr>
            <a:spLocks noGrp="1"/>
          </p:cNvSpPr>
          <p:nvPr>
            <p:ph sz="half" idx="10"/>
          </p:nvPr>
        </p:nvSpPr>
        <p:spPr>
          <a:xfrm>
            <a:off x="407989" y="1736728"/>
            <a:ext cx="5240336"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6096000" y="0"/>
            <a:ext cx="6095999" cy="6857999"/>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DEAD5FAA-1657-4061-B125-FAABE5DDE22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82201763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ext och bild till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00F4CB-80BD-4C46-8862-E3F5646FDE7A}"/>
              </a:ext>
            </a:extLst>
          </p:cNvPr>
          <p:cNvSpPr>
            <a:spLocks noGrp="1"/>
          </p:cNvSpPr>
          <p:nvPr>
            <p:ph type="title"/>
          </p:nvPr>
        </p:nvSpPr>
        <p:spPr>
          <a:xfrm>
            <a:off x="6543676" y="404813"/>
            <a:ext cx="5240337" cy="736959"/>
          </a:xfrm>
        </p:spPr>
        <p:txBody>
          <a:bodyPr/>
          <a:lstStyle/>
          <a:p>
            <a:r>
              <a:rPr lang="sv-SE"/>
              <a:t>Klicka här för att ändra mall för rubrikformat</a:t>
            </a:r>
          </a:p>
        </p:txBody>
      </p:sp>
      <p:sp>
        <p:nvSpPr>
          <p:cNvPr id="5" name="Content Placeholder 2">
            <a:extLst>
              <a:ext uri="{FF2B5EF4-FFF2-40B4-BE49-F238E27FC236}">
                <a16:creationId xmlns:a16="http://schemas.microsoft.com/office/drawing/2014/main" id="{D18EAA5A-4340-4EE5-A1A8-3200B98C0962}"/>
              </a:ext>
            </a:extLst>
          </p:cNvPr>
          <p:cNvSpPr>
            <a:spLocks noGrp="1"/>
          </p:cNvSpPr>
          <p:nvPr>
            <p:ph sz="half" idx="10"/>
          </p:nvPr>
        </p:nvSpPr>
        <p:spPr>
          <a:xfrm>
            <a:off x="6543677" y="1736728"/>
            <a:ext cx="5240336"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1" y="0"/>
            <a:ext cx="6095999" cy="6857999"/>
          </a:xfrm>
          <a:no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DEAD5FAA-1657-4061-B125-FAABE5DDE22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64639225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Bild helsida">
    <p:spTree>
      <p:nvGrpSpPr>
        <p:cNvPr id="1" name=""/>
        <p:cNvGrpSpPr/>
        <p:nvPr/>
      </p:nvGrpSpPr>
      <p:grpSpPr>
        <a:xfrm>
          <a:off x="0" y="0"/>
          <a:ext cx="0" cy="0"/>
          <a:chOff x="0" y="0"/>
          <a:chExt cx="0" cy="0"/>
        </a:xfrm>
      </p:grpSpPr>
      <p:sp>
        <p:nvSpPr>
          <p:cNvPr id="5" name="Platshållare för bild 4"/>
          <p:cNvSpPr>
            <a:spLocks noGrp="1"/>
          </p:cNvSpPr>
          <p:nvPr>
            <p:ph type="pic" sz="quarter" idx="10" hasCustomPrompt="1"/>
          </p:nvPr>
        </p:nvSpPr>
        <p:spPr>
          <a:xfrm>
            <a:off x="0" y="0"/>
            <a:ext cx="12192000" cy="685800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r>
              <a:rPr lang="sv-SE"/>
              <a:t>för att lägga till en bild</a:t>
            </a:r>
            <a:endParaRPr lang="en-US"/>
          </a:p>
        </p:txBody>
      </p:sp>
    </p:spTree>
    <p:extLst>
      <p:ext uri="{BB962C8B-B14F-4D97-AF65-F5344CB8AC3E}">
        <p14:creationId xmlns:p14="http://schemas.microsoft.com/office/powerpoint/2010/main" val="308869743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Bild helsida med rubrik">
    <p:spTree>
      <p:nvGrpSpPr>
        <p:cNvPr id="1" name=""/>
        <p:cNvGrpSpPr/>
        <p:nvPr/>
      </p:nvGrpSpPr>
      <p:grpSpPr>
        <a:xfrm>
          <a:off x="0" y="0"/>
          <a:ext cx="0" cy="0"/>
          <a:chOff x="0" y="0"/>
          <a:chExt cx="0" cy="0"/>
        </a:xfrm>
      </p:grpSpPr>
      <p:sp>
        <p:nvSpPr>
          <p:cNvPr id="4" name="Platshållare för bild 5">
            <a:extLst>
              <a:ext uri="{FF2B5EF4-FFF2-40B4-BE49-F238E27FC236}">
                <a16:creationId xmlns:a16="http://schemas.microsoft.com/office/drawing/2014/main" id="{1566CF40-59BE-4449-B880-5CCAFCC9D997}"/>
              </a:ext>
            </a:extLst>
          </p:cNvPr>
          <p:cNvSpPr>
            <a:spLocks noGrp="1"/>
          </p:cNvSpPr>
          <p:nvPr>
            <p:ph type="pic" sz="quarter" idx="10" hasCustomPrompt="1"/>
          </p:nvPr>
        </p:nvSpPr>
        <p:spPr>
          <a:xfrm>
            <a:off x="0" y="0"/>
            <a:ext cx="12192000" cy="6858000"/>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a:t>
            </a:r>
            <a:br>
              <a:rPr lang="sv-SE"/>
            </a:br>
            <a:r>
              <a:rPr lang="sv-SE"/>
              <a:t>för att lägga till en bild</a:t>
            </a:r>
            <a:endParaRPr lang="en-US"/>
          </a:p>
        </p:txBody>
      </p:sp>
      <p:sp>
        <p:nvSpPr>
          <p:cNvPr id="6" name="Title 1">
            <a:extLst>
              <a:ext uri="{FF2B5EF4-FFF2-40B4-BE49-F238E27FC236}">
                <a16:creationId xmlns:a16="http://schemas.microsoft.com/office/drawing/2014/main" id="{5F556A3A-7138-45B2-8593-FAB5296ADD6C}"/>
              </a:ext>
            </a:extLst>
          </p:cNvPr>
          <p:cNvSpPr>
            <a:spLocks noGrp="1"/>
          </p:cNvSpPr>
          <p:nvPr>
            <p:ph type="ctrTitle" hasCustomPrompt="1"/>
          </p:nvPr>
        </p:nvSpPr>
        <p:spPr>
          <a:xfrm>
            <a:off x="407988" y="404813"/>
            <a:ext cx="5000625" cy="1703434"/>
          </a:xfrm>
          <a:prstGeom prst="rect">
            <a:avLst/>
          </a:prstGeom>
          <a:solidFill>
            <a:schemeClr val="accent6"/>
          </a:solidFill>
        </p:spPr>
        <p:txBody>
          <a:bodyPr wrap="square" lIns="432000" tIns="432000" rIns="432000" bIns="432000" anchor="ctr" anchorCtr="0">
            <a:spAutoFit/>
          </a:bodyPr>
          <a:lstStyle>
            <a:lvl1pPr algn="l">
              <a:lnSpc>
                <a:spcPct val="90000"/>
              </a:lnSpc>
              <a:defRPr sz="3000">
                <a:solidFill>
                  <a:schemeClr val="bg1"/>
                </a:solidFill>
              </a:defRPr>
            </a:lvl1pPr>
          </a:lstStyle>
          <a:p>
            <a:r>
              <a:rPr lang="sv-SE"/>
              <a:t>Rubrik på</a:t>
            </a:r>
            <a:br>
              <a:rPr lang="sv-SE"/>
            </a:br>
            <a:r>
              <a:rPr lang="sv-SE"/>
              <a:t>två rader</a:t>
            </a:r>
            <a:endParaRPr lang="en-US"/>
          </a:p>
        </p:txBody>
      </p:sp>
    </p:spTree>
    <p:extLst>
      <p:ext uri="{BB962C8B-B14F-4D97-AF65-F5344CB8AC3E}">
        <p14:creationId xmlns:p14="http://schemas.microsoft.com/office/powerpoint/2010/main" val="221203819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bildnummer 2">
            <a:extLst>
              <a:ext uri="{FF2B5EF4-FFF2-40B4-BE49-F238E27FC236}">
                <a16:creationId xmlns:a16="http://schemas.microsoft.com/office/drawing/2014/main" id="{474F5195-589E-4BA5-AA31-A11EABAE756F}"/>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217527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ubrik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p:nvPr>
        </p:nvSpPr>
        <p:spPr>
          <a:xfrm>
            <a:off x="1731696" y="2626153"/>
            <a:ext cx="8728608" cy="1349829"/>
          </a:xfrm>
          <a:prstGeom prst="rect">
            <a:avLst/>
          </a:prstGeom>
        </p:spPr>
        <p:txBody>
          <a:bodyPr anchor="ctr" anchorCtr="0">
            <a:noAutofit/>
          </a:bodyPr>
          <a:lstStyle>
            <a:lvl1pPr algn="l">
              <a:lnSpc>
                <a:spcPct val="90000"/>
              </a:lnSpc>
              <a:defRPr sz="4200" kern="0" spc="0" baseline="0">
                <a:solidFill>
                  <a:schemeClr val="bg1"/>
                </a:solidFill>
              </a:defRPr>
            </a:lvl1pPr>
          </a:lstStyle>
          <a:p>
            <a:r>
              <a:rPr lang="sv-SE"/>
              <a:t>Klicka här för att ändra mall för rubrikformat</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731696" y="4165601"/>
            <a:ext cx="8728608" cy="251417"/>
          </a:xfrm>
        </p:spPr>
        <p:txBody>
          <a:bodyPr>
            <a:noAutofit/>
          </a:bodyPr>
          <a:lstStyle>
            <a:lvl1pPr marL="0" indent="0">
              <a:lnSpc>
                <a:spcPct val="100000"/>
              </a:lnSpc>
              <a:spcBef>
                <a:spcPts val="0"/>
              </a:spcBef>
              <a:buNone/>
              <a:defRPr sz="18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731696" y="4606637"/>
            <a:ext cx="8728608" cy="251417"/>
          </a:xfrm>
        </p:spPr>
        <p:txBody>
          <a:bodyPr>
            <a:noAutofit/>
          </a:bodyPr>
          <a:lstStyle>
            <a:lvl1pPr marL="0" indent="0">
              <a:lnSpc>
                <a:spcPct val="100000"/>
              </a:lnSpc>
              <a:spcBef>
                <a:spcPts val="0"/>
              </a:spcBef>
              <a:buNone/>
              <a:defRPr sz="14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latin typeface="+mn-lt"/>
              </a:rPr>
              <a:t>Hållbar stad – öppen för värld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146530566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blank" preserve="1">
  <p:cSld name="Helt 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30942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Avsnittsrubrik helsid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1" y="0"/>
            <a:ext cx="12192000" cy="6858000"/>
          </a:xfrm>
          <a:prstGeom prst="rect">
            <a:avLst/>
          </a:prstGeom>
          <a:solidFill>
            <a:schemeClr val="accent6"/>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528841" y="1738313"/>
            <a:ext cx="9134323" cy="3381376"/>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spTree>
    <p:extLst>
      <p:ext uri="{BB962C8B-B14F-4D97-AF65-F5344CB8AC3E}">
        <p14:creationId xmlns:p14="http://schemas.microsoft.com/office/powerpoint/2010/main" val="27784969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Avsnittsrubrik med bild">
    <p:spTree>
      <p:nvGrpSpPr>
        <p:cNvPr id="1" name=""/>
        <p:cNvGrpSpPr/>
        <p:nvPr/>
      </p:nvGrpSpPr>
      <p:grpSpPr>
        <a:xfrm>
          <a:off x="0" y="0"/>
          <a:ext cx="0" cy="0"/>
          <a:chOff x="0" y="0"/>
          <a:chExt cx="0" cy="0"/>
        </a:xfrm>
      </p:grpSpPr>
      <p:sp>
        <p:nvSpPr>
          <p:cNvPr id="8" name="Platshållare för bild 5">
            <a:extLst>
              <a:ext uri="{FF2B5EF4-FFF2-40B4-BE49-F238E27FC236}">
                <a16:creationId xmlns:a16="http://schemas.microsoft.com/office/drawing/2014/main" id="{E89F1A3B-CD83-40C2-B654-7491BD29FCD5}"/>
              </a:ext>
            </a:extLst>
          </p:cNvPr>
          <p:cNvSpPr>
            <a:spLocks noGrp="1"/>
          </p:cNvSpPr>
          <p:nvPr>
            <p:ph type="pic" sz="quarter" idx="11" hasCustomPrompt="1"/>
          </p:nvPr>
        </p:nvSpPr>
        <p:spPr>
          <a:xfrm>
            <a:off x="407989" y="404812"/>
            <a:ext cx="11376024" cy="5508625"/>
          </a:xfrm>
          <a:prstGeom prst="round2SameRect">
            <a:avLst>
              <a:gd name="adj1" fmla="val 0"/>
              <a:gd name="adj2" fmla="val 0"/>
            </a:avLst>
          </a:prstGeom>
          <a:no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a:t>
            </a:r>
            <a:br>
              <a:rPr lang="sv-SE"/>
            </a:br>
            <a:r>
              <a:rPr lang="sv-SE"/>
              <a:t>för att lägga till en bild</a:t>
            </a:r>
            <a:endParaRPr lang="en-US"/>
          </a:p>
        </p:txBody>
      </p:sp>
      <p:sp>
        <p:nvSpPr>
          <p:cNvPr id="6" name="textruta 5">
            <a:extLst>
              <a:ext uri="{FF2B5EF4-FFF2-40B4-BE49-F238E27FC236}">
                <a16:creationId xmlns:a16="http://schemas.microsoft.com/office/drawing/2014/main" id="{BE03C4AA-7F69-47DB-B0C7-C398C29343E8}"/>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solidFill>
                  <a:schemeClr val="tx1"/>
                </a:solidFill>
              </a:rPr>
              <a:t>Hållbar stad – öppen för världen</a:t>
            </a:r>
          </a:p>
        </p:txBody>
      </p:sp>
      <p:pic>
        <p:nvPicPr>
          <p:cNvPr id="7" name="Bildobjekt 6" descr="Logo" title="Logo">
            <a:extLst>
              <a:ext uri="{FF2B5EF4-FFF2-40B4-BE49-F238E27FC236}">
                <a16:creationId xmlns:a16="http://schemas.microsoft.com/office/drawing/2014/main" id="{A42DC399-9929-4DB1-86A7-EDD1619A0A0E}"/>
              </a:ext>
            </a:extLst>
          </p:cNvPr>
          <p:cNvPicPr>
            <a:picLocks noChangeAspect="1"/>
          </p:cNvPicPr>
          <p:nvPr userDrawn="1"/>
        </p:nvPicPr>
        <p:blipFill>
          <a:blip r:embed="rId2"/>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32622728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vsnittsrubrik">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chemeClr val="accent6"/>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528841" y="2404809"/>
            <a:ext cx="9134323" cy="1349829"/>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388E3460-7228-4DB3-A6B8-F304B211BC3F}"/>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solidFill>
                  <a:schemeClr val="tx1">
                    <a:lumMod val="95000"/>
                    <a:lumOff val="5000"/>
                  </a:schemeClr>
                </a:solidFill>
              </a:rPr>
              <a:t>Hållbar stad – öppen för världen</a:t>
            </a:r>
          </a:p>
        </p:txBody>
      </p:sp>
    </p:spTree>
    <p:extLst>
      <p:ext uri="{BB962C8B-B14F-4D97-AF65-F5344CB8AC3E}">
        <p14:creationId xmlns:p14="http://schemas.microsoft.com/office/powerpoint/2010/main" val="405157981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vsluts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chemeClr val="accent6"/>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bg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
        <p:nvSpPr>
          <p:cNvPr id="7" name="textruta 6">
            <a:extLst>
              <a:ext uri="{FF2B5EF4-FFF2-40B4-BE49-F238E27FC236}">
                <a16:creationId xmlns:a16="http://schemas.microsoft.com/office/drawing/2014/main" id="{6553C1A9-DB36-4729-A526-0352AB7C6E25}"/>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solidFill>
                  <a:schemeClr val="tx1">
                    <a:lumMod val="95000"/>
                    <a:lumOff val="5000"/>
                  </a:schemeClr>
                </a:solidFill>
                <a:latin typeface="+mn-lt"/>
              </a:rPr>
              <a:t>Hållbar stad – öppen för världen</a:t>
            </a:r>
          </a:p>
        </p:txBody>
      </p:sp>
      <p:sp>
        <p:nvSpPr>
          <p:cNvPr id="2" name="Rubrik 3">
            <a:extLst>
              <a:ext uri="{FF2B5EF4-FFF2-40B4-BE49-F238E27FC236}">
                <a16:creationId xmlns:a16="http://schemas.microsoft.com/office/drawing/2014/main" id="{D0EC1FC0-8DDF-31BC-6880-F607E54C8999}"/>
              </a:ext>
            </a:extLst>
          </p:cNvPr>
          <p:cNvSpPr>
            <a:spLocks noGrp="1"/>
          </p:cNvSpPr>
          <p:nvPr>
            <p:ph type="title" hasCustomPrompt="1"/>
          </p:nvPr>
        </p:nvSpPr>
        <p:spPr>
          <a:xfrm>
            <a:off x="1420650" y="2399545"/>
            <a:ext cx="6148878" cy="309600"/>
          </a:xfrm>
        </p:spPr>
        <p:txBody>
          <a:bodyPr tIns="36000" bIns="36000">
            <a:noAutofit/>
          </a:bodyPr>
          <a:lstStyle>
            <a:lvl1pPr>
              <a:defRPr sz="1700">
                <a:solidFill>
                  <a:schemeClr val="bg1"/>
                </a:solidFill>
              </a:defRPr>
            </a:lvl1pPr>
          </a:lstStyle>
          <a:p>
            <a:r>
              <a:rPr lang="sv-SE"/>
              <a:t>Kontakt</a:t>
            </a:r>
          </a:p>
        </p:txBody>
      </p:sp>
    </p:spTree>
    <p:extLst>
      <p:ext uri="{BB962C8B-B14F-4D97-AF65-F5344CB8AC3E}">
        <p14:creationId xmlns:p14="http://schemas.microsoft.com/office/powerpoint/2010/main" val="244781890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Logotyp">
    <p:spTree>
      <p:nvGrpSpPr>
        <p:cNvPr id="1" name=""/>
        <p:cNvGrpSpPr/>
        <p:nvPr/>
      </p:nvGrpSpPr>
      <p:grpSpPr>
        <a:xfrm>
          <a:off x="0" y="0"/>
          <a:ext cx="0" cy="0"/>
          <a:chOff x="0" y="0"/>
          <a:chExt cx="0" cy="0"/>
        </a:xfrm>
      </p:grpSpPr>
      <p:pic>
        <p:nvPicPr>
          <p:cNvPr id="3" name="Bildobjekt 2" descr="Logo" title="Logo">
            <a:extLst>
              <a:ext uri="{FF2B5EF4-FFF2-40B4-BE49-F238E27FC236}">
                <a16:creationId xmlns:a16="http://schemas.microsoft.com/office/drawing/2014/main" id="{1F12769C-ECF3-448E-A565-83EEEC398EEF}"/>
              </a:ext>
            </a:extLst>
          </p:cNvPr>
          <p:cNvPicPr>
            <a:picLocks noChangeAspect="1"/>
          </p:cNvPicPr>
          <p:nvPr userDrawn="1"/>
        </p:nvPicPr>
        <p:blipFill>
          <a:blip r:embed="rId2"/>
          <a:stretch>
            <a:fillRect/>
          </a:stretch>
        </p:blipFill>
        <p:spPr>
          <a:xfrm>
            <a:off x="5382706" y="2300663"/>
            <a:ext cx="1426588" cy="2261812"/>
          </a:xfrm>
          <a:prstGeom prst="rect">
            <a:avLst/>
          </a:prstGeom>
        </p:spPr>
      </p:pic>
    </p:spTree>
    <p:extLst>
      <p:ext uri="{BB962C8B-B14F-4D97-AF65-F5344CB8AC3E}">
        <p14:creationId xmlns:p14="http://schemas.microsoft.com/office/powerpoint/2010/main" val="62748296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1_Avsluts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solidFill>
                  <a:schemeClr val="tx1">
                    <a:lumMod val="95000"/>
                    <a:lumOff val="5000"/>
                  </a:schemeClr>
                </a:solidFill>
                <a:latin typeface="+mn-lt"/>
              </a:rPr>
              <a:t>Hållbar stad – öppen för världen</a:t>
            </a:r>
          </a:p>
        </p:txBody>
      </p:sp>
      <p:sp>
        <p:nvSpPr>
          <p:cNvPr id="2" name="textruta 1">
            <a:extLst>
              <a:ext uri="{FF2B5EF4-FFF2-40B4-BE49-F238E27FC236}">
                <a16:creationId xmlns:a16="http://schemas.microsoft.com/office/drawing/2014/main" id="{791AD600-C07A-4C4F-816C-2BE89532B957}"/>
              </a:ext>
            </a:extLst>
          </p:cNvPr>
          <p:cNvSpPr txBox="1"/>
          <p:nvPr userDrawn="1"/>
        </p:nvSpPr>
        <p:spPr>
          <a:xfrm>
            <a:off x="1420650" y="2405064"/>
            <a:ext cx="3026004" cy="309600"/>
          </a:xfrm>
          <a:prstGeom prst="rect">
            <a:avLst/>
          </a:prstGeom>
        </p:spPr>
        <p:txBody>
          <a:bodyPr vert="horz" lIns="0" tIns="0" rIns="0" bIns="0" rtlCol="0">
            <a:noAutofit/>
          </a:bodyPr>
          <a:lstStyle>
            <a:lvl1pPr lvl="0" indent="0" defTabSz="914332">
              <a:lnSpc>
                <a:spcPct val="100000"/>
              </a:lnSpc>
              <a:spcBef>
                <a:spcPts val="0"/>
              </a:spcBef>
              <a:spcAft>
                <a:spcPts val="300"/>
              </a:spcAft>
              <a:buFont typeface="Arial" panose="020B0604020202020204" pitchFamily="34" charset="0"/>
              <a:buNone/>
              <a:defRPr sz="1700" kern="0" baseline="0">
                <a:solidFill>
                  <a:schemeClr val="bg1"/>
                </a:solidFill>
                <a:latin typeface="+mj-lt"/>
              </a:defRPr>
            </a:lvl1pPr>
            <a:lvl2pPr marL="457167" indent="-230384" defTabSz="914332">
              <a:lnSpc>
                <a:spcPct val="110000"/>
              </a:lnSpc>
              <a:spcBef>
                <a:spcPts val="0"/>
              </a:spcBef>
              <a:spcAft>
                <a:spcPts val="300"/>
              </a:spcAft>
              <a:buFont typeface="Arial" panose="020B0604020202020204" pitchFamily="34" charset="0"/>
              <a:buChar char="–"/>
              <a:defRPr sz="1700"/>
            </a:lvl2pPr>
            <a:lvl3pPr marL="687548" indent="-230384" defTabSz="914332">
              <a:lnSpc>
                <a:spcPct val="110000"/>
              </a:lnSpc>
              <a:spcBef>
                <a:spcPts val="0"/>
              </a:spcBef>
              <a:spcAft>
                <a:spcPts val="300"/>
              </a:spcAft>
              <a:buFont typeface="Wingdings" panose="05000000000000000000" pitchFamily="2" charset="2"/>
              <a:buChar char="§"/>
              <a:defRPr sz="1700"/>
            </a:lvl3pPr>
            <a:lvl4pPr marL="914332" indent="-228584" defTabSz="914332">
              <a:lnSpc>
                <a:spcPct val="110000"/>
              </a:lnSpc>
              <a:spcBef>
                <a:spcPts val="0"/>
              </a:spcBef>
              <a:spcAft>
                <a:spcPts val="300"/>
              </a:spcAft>
              <a:buFont typeface="Arial" panose="020B0604020202020204" pitchFamily="34" charset="0"/>
              <a:buChar char="•"/>
              <a:defRPr sz="1700"/>
            </a:lvl4pPr>
            <a:lvl5pPr marL="1144714" indent="-228584" defTabSz="914332">
              <a:lnSpc>
                <a:spcPct val="110000"/>
              </a:lnSpc>
              <a:spcBef>
                <a:spcPts val="0"/>
              </a:spcBef>
              <a:spcAft>
                <a:spcPts val="300"/>
              </a:spcAft>
              <a:buFont typeface="Arial" panose="020B0604020202020204" pitchFamily="34" charset="0"/>
              <a:buChar char="•"/>
              <a:defRPr sz="1700"/>
            </a:lvl5pPr>
            <a:lvl6pPr marL="2514412" indent="-228584" defTabSz="914332">
              <a:lnSpc>
                <a:spcPct val="90000"/>
              </a:lnSpc>
              <a:spcBef>
                <a:spcPts val="500"/>
              </a:spcBef>
              <a:buFont typeface="Arial" panose="020B0604020202020204" pitchFamily="34" charset="0"/>
              <a:buChar char="•"/>
            </a:lvl6pPr>
            <a:lvl7pPr marL="2971578" indent="-228584" defTabSz="914332">
              <a:lnSpc>
                <a:spcPct val="90000"/>
              </a:lnSpc>
              <a:spcBef>
                <a:spcPts val="500"/>
              </a:spcBef>
              <a:buFont typeface="Arial" panose="020B0604020202020204" pitchFamily="34" charset="0"/>
              <a:buChar char="•"/>
            </a:lvl7pPr>
            <a:lvl8pPr marL="3428744" indent="-228584" defTabSz="914332">
              <a:lnSpc>
                <a:spcPct val="90000"/>
              </a:lnSpc>
              <a:spcBef>
                <a:spcPts val="500"/>
              </a:spcBef>
              <a:buFont typeface="Arial" panose="020B0604020202020204" pitchFamily="34" charset="0"/>
              <a:buChar char="•"/>
            </a:lvl8pPr>
            <a:lvl9pPr marL="3885910" indent="-228584" defTabSz="914332">
              <a:lnSpc>
                <a:spcPct val="90000"/>
              </a:lnSpc>
              <a:spcBef>
                <a:spcPts val="500"/>
              </a:spcBef>
              <a:buFont typeface="Arial" panose="020B0604020202020204" pitchFamily="34" charset="0"/>
              <a:buChar char="•"/>
            </a:lvl9pPr>
          </a:lstStyle>
          <a:p>
            <a:pPr lvl="0"/>
            <a:r>
              <a:rPr lang="sv-SE"/>
              <a:t>Kontakt</a:t>
            </a:r>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bg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Tree>
    <p:extLst>
      <p:ext uri="{BB962C8B-B14F-4D97-AF65-F5344CB8AC3E}">
        <p14:creationId xmlns:p14="http://schemas.microsoft.com/office/powerpoint/2010/main" val="38974078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p:nvPr>
        </p:nvSpPr>
        <p:spPr/>
        <p:txBody>
          <a:bodyPr/>
          <a:lstStyle/>
          <a:p>
            <a:r>
              <a:rPr lang="sv-SE"/>
              <a:t>Klicka här för att ändra mall för rubrikformat</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8313"/>
            <a:ext cx="10080000" cy="4175124"/>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latshållare för bildnummer 2">
            <a:extLst>
              <a:ext uri="{FF2B5EF4-FFF2-40B4-BE49-F238E27FC236}">
                <a16:creationId xmlns:a16="http://schemas.microsoft.com/office/drawing/2014/main" id="{040785F0-4073-4C09-A77E-AF825CBA6233}"/>
              </a:ext>
            </a:extLst>
          </p:cNvPr>
          <p:cNvSpPr>
            <a:spLocks noGrp="1"/>
          </p:cNvSpPr>
          <p:nvPr>
            <p:ph type="sldNum" sz="quarter" idx="12"/>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740651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p:nvPr>
        </p:nvSpPr>
        <p:spPr/>
        <p:txBody>
          <a:bodyPr/>
          <a:lstStyle/>
          <a:p>
            <a:r>
              <a:rPr lang="sv-SE"/>
              <a:t>Klicka här för att ändra mall för rubrikformat</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8313"/>
            <a:ext cx="10080000" cy="4175124"/>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AF1C70CC-B8D4-4719-BB1B-23D6C9B7187C}"/>
              </a:ext>
            </a:extLst>
          </p:cNvPr>
          <p:cNvSpPr>
            <a:spLocks noGrp="1"/>
          </p:cNvSpPr>
          <p:nvPr>
            <p:ph type="sldNum" sz="quarter" idx="12"/>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6799046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424537-5ECE-4D36-9AE9-88D8AFB54949}"/>
              </a:ext>
            </a:extLst>
          </p:cNvPr>
          <p:cNvSpPr>
            <a:spLocks noGrp="1"/>
          </p:cNvSpPr>
          <p:nvPr>
            <p:ph type="title"/>
          </p:nvPr>
        </p:nvSpPr>
        <p:spPr/>
        <p:txBody>
          <a:bodyPr/>
          <a:lstStyle/>
          <a:p>
            <a:r>
              <a:rPr lang="sv-SE"/>
              <a:t>Klicka här för att ändra mall för rubrikformat</a:t>
            </a:r>
          </a:p>
        </p:txBody>
      </p:sp>
      <p:sp>
        <p:nvSpPr>
          <p:cNvPr id="3" name="Content Placeholder 2"/>
          <p:cNvSpPr>
            <a:spLocks noGrp="1"/>
          </p:cNvSpPr>
          <p:nvPr>
            <p:ph sz="half" idx="1"/>
          </p:nvPr>
        </p:nvSpPr>
        <p:spPr>
          <a:xfrm>
            <a:off x="407988" y="1736729"/>
            <a:ext cx="5400000" cy="417671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4" name="Content Placeholder 3"/>
          <p:cNvSpPr>
            <a:spLocks noGrp="1"/>
          </p:cNvSpPr>
          <p:nvPr>
            <p:ph sz="half" idx="2"/>
          </p:nvPr>
        </p:nvSpPr>
        <p:spPr>
          <a:xfrm>
            <a:off x="6379250" y="1736729"/>
            <a:ext cx="5400000" cy="417671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bildnummer 4">
            <a:extLst>
              <a:ext uri="{FF2B5EF4-FFF2-40B4-BE49-F238E27FC236}">
                <a16:creationId xmlns:a16="http://schemas.microsoft.com/office/drawing/2014/main" id="{EC9B43C6-89FD-4564-BB62-9B67C1AE2E6A}"/>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3229012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BCE7E41F-F5AB-42BF-88B5-ED5B44A6461E}"/>
              </a:ext>
            </a:extLst>
          </p:cNvPr>
          <p:cNvSpPr>
            <a:spLocks noGrp="1"/>
          </p:cNvSpPr>
          <p:nvPr>
            <p:ph type="title"/>
          </p:nvPr>
        </p:nvSpPr>
        <p:spPr/>
        <p:txBody>
          <a:bodyPr/>
          <a:lstStyle/>
          <a:p>
            <a:r>
              <a:rPr lang="sv-SE"/>
              <a:t>Klicka här för att ändra mall för rubrikformat</a:t>
            </a:r>
          </a:p>
        </p:txBody>
      </p:sp>
      <p:sp>
        <p:nvSpPr>
          <p:cNvPr id="3" name="Text Placeholder 2"/>
          <p:cNvSpPr>
            <a:spLocks noGrp="1"/>
          </p:cNvSpPr>
          <p:nvPr>
            <p:ph type="body" idx="1"/>
          </p:nvPr>
        </p:nvSpPr>
        <p:spPr>
          <a:xfrm>
            <a:off x="407988" y="1588563"/>
            <a:ext cx="527808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Redigera format för bakgrundstext</a:t>
            </a:r>
          </a:p>
        </p:txBody>
      </p:sp>
      <p:sp>
        <p:nvSpPr>
          <p:cNvPr id="4" name="Content Placeholder 3"/>
          <p:cNvSpPr>
            <a:spLocks noGrp="1"/>
          </p:cNvSpPr>
          <p:nvPr>
            <p:ph sz="half" idx="2"/>
          </p:nvPr>
        </p:nvSpPr>
        <p:spPr>
          <a:xfrm>
            <a:off x="407988" y="2281031"/>
            <a:ext cx="5278080" cy="352468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5" name="Text Placeholder 4"/>
          <p:cNvSpPr>
            <a:spLocks noGrp="1"/>
          </p:cNvSpPr>
          <p:nvPr>
            <p:ph type="body" sz="quarter" idx="3"/>
          </p:nvPr>
        </p:nvSpPr>
        <p:spPr>
          <a:xfrm>
            <a:off x="6432000" y="1591385"/>
            <a:ext cx="528000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Redigera format för bakgrundstext</a:t>
            </a:r>
          </a:p>
        </p:txBody>
      </p:sp>
      <p:sp>
        <p:nvSpPr>
          <p:cNvPr id="6" name="Content Placeholder 5"/>
          <p:cNvSpPr>
            <a:spLocks noGrp="1"/>
          </p:cNvSpPr>
          <p:nvPr>
            <p:ph sz="quarter" idx="4"/>
          </p:nvPr>
        </p:nvSpPr>
        <p:spPr>
          <a:xfrm>
            <a:off x="6432000" y="2281035"/>
            <a:ext cx="5280000" cy="3524685"/>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5B0B39BD-A593-4A83-AD46-53A96C2F78AD}"/>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2383832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mall för rubrikformat</a:t>
            </a:r>
          </a:p>
        </p:txBody>
      </p:sp>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7859057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mall för rubrik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17075" y="1736728"/>
            <a:ext cx="5678925"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7598925" y="1738313"/>
            <a:ext cx="4176000" cy="4175125"/>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AB6397E3-2F6A-46E7-B952-96596182496A}"/>
              </a:ext>
            </a:extLst>
          </p:cNvPr>
          <p:cNvSpPr>
            <a:spLocks noGrp="1"/>
          </p:cNvSpPr>
          <p:nvPr>
            <p:ph type="sldNum" sz="quarter" idx="11"/>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3082183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00F4CB-80BD-4C46-8862-E3F5646FDE7A}"/>
              </a:ext>
            </a:extLst>
          </p:cNvPr>
          <p:cNvSpPr>
            <a:spLocks noGrp="1"/>
          </p:cNvSpPr>
          <p:nvPr>
            <p:ph type="title"/>
          </p:nvPr>
        </p:nvSpPr>
        <p:spPr/>
        <p:txBody>
          <a:bodyPr/>
          <a:lstStyle/>
          <a:p>
            <a:r>
              <a:rPr lang="sv-SE"/>
              <a:t>Klicka här för att ändra mall för rubrikformat</a:t>
            </a:r>
          </a:p>
        </p:txBody>
      </p:sp>
      <p:sp>
        <p:nvSpPr>
          <p:cNvPr id="5" name="Content Placeholder 2">
            <a:extLst>
              <a:ext uri="{FF2B5EF4-FFF2-40B4-BE49-F238E27FC236}">
                <a16:creationId xmlns:a16="http://schemas.microsoft.com/office/drawing/2014/main" id="{D18EAA5A-4340-4EE5-A1A8-3200B98C0962}"/>
              </a:ext>
            </a:extLst>
          </p:cNvPr>
          <p:cNvSpPr>
            <a:spLocks noGrp="1"/>
          </p:cNvSpPr>
          <p:nvPr>
            <p:ph sz="half" idx="10"/>
          </p:nvPr>
        </p:nvSpPr>
        <p:spPr>
          <a:xfrm>
            <a:off x="6096000" y="1736728"/>
            <a:ext cx="5688013"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407988" y="1738313"/>
            <a:ext cx="4176000" cy="4175125"/>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DEAD5FAA-1657-4061-B125-FAABE5DDE224}"/>
              </a:ext>
            </a:extLst>
          </p:cNvPr>
          <p:cNvSpPr>
            <a:spLocks noGrp="1"/>
          </p:cNvSpPr>
          <p:nvPr>
            <p:ph type="sldNum" sz="quarter" idx="11"/>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3377983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C800227-24F3-424A-950F-9031EC7717A1}"/>
              </a:ext>
            </a:extLst>
          </p:cNvPr>
          <p:cNvSpPr>
            <a:spLocks noGrp="1"/>
          </p:cNvSpPr>
          <p:nvPr>
            <p:ph type="title"/>
          </p:nvPr>
        </p:nvSpPr>
        <p:spPr/>
        <p:txBody>
          <a:bodyPr/>
          <a:lstStyle/>
          <a:p>
            <a:r>
              <a:rPr lang="sv-SE"/>
              <a:t>Klicka här för att ändra mall för rubrikformat</a:t>
            </a:r>
          </a:p>
        </p:txBody>
      </p:sp>
      <p:sp>
        <p:nvSpPr>
          <p:cNvPr id="3" name="Picture Placeholder 2"/>
          <p:cNvSpPr>
            <a:spLocks noGrp="1"/>
          </p:cNvSpPr>
          <p:nvPr>
            <p:ph type="pic" idx="1" hasCustomPrompt="1"/>
          </p:nvPr>
        </p:nvSpPr>
        <p:spPr>
          <a:xfrm>
            <a:off x="407988"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Text Placeholder 3"/>
          <p:cNvSpPr>
            <a:spLocks noGrp="1"/>
          </p:cNvSpPr>
          <p:nvPr>
            <p:ph type="body" sz="half" idx="2"/>
          </p:nvPr>
        </p:nvSpPr>
        <p:spPr>
          <a:xfrm>
            <a:off x="407988"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10" name="Picture Placeholder 2">
            <a:extLst>
              <a:ext uri="{FF2B5EF4-FFF2-40B4-BE49-F238E27FC236}">
                <a16:creationId xmlns:a16="http://schemas.microsoft.com/office/drawing/2014/main" id="{F5F04B5A-F0FB-4FC9-9F5F-CDA6CEE251C7}"/>
              </a:ext>
            </a:extLst>
          </p:cNvPr>
          <p:cNvSpPr>
            <a:spLocks noGrp="1"/>
          </p:cNvSpPr>
          <p:nvPr>
            <p:ph type="pic" idx="12" hasCustomPrompt="1"/>
          </p:nvPr>
        </p:nvSpPr>
        <p:spPr>
          <a:xfrm>
            <a:off x="4296000"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5" name="Text Placeholder 3">
            <a:extLst>
              <a:ext uri="{FF2B5EF4-FFF2-40B4-BE49-F238E27FC236}">
                <a16:creationId xmlns:a16="http://schemas.microsoft.com/office/drawing/2014/main" id="{A5F93C07-C166-474C-8E0B-4E9C3BBCB337}"/>
              </a:ext>
            </a:extLst>
          </p:cNvPr>
          <p:cNvSpPr>
            <a:spLocks noGrp="1"/>
          </p:cNvSpPr>
          <p:nvPr>
            <p:ph type="body" sz="half" idx="15"/>
          </p:nvPr>
        </p:nvSpPr>
        <p:spPr>
          <a:xfrm>
            <a:off x="4296000"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11" name="Picture Placeholder 2">
            <a:extLst>
              <a:ext uri="{FF2B5EF4-FFF2-40B4-BE49-F238E27FC236}">
                <a16:creationId xmlns:a16="http://schemas.microsoft.com/office/drawing/2014/main" id="{A7F97845-F21E-448F-BCE4-594A545AB8CB}"/>
              </a:ext>
            </a:extLst>
          </p:cNvPr>
          <p:cNvSpPr>
            <a:spLocks noGrp="1"/>
          </p:cNvSpPr>
          <p:nvPr>
            <p:ph type="pic" idx="13" hasCustomPrompt="1"/>
          </p:nvPr>
        </p:nvSpPr>
        <p:spPr>
          <a:xfrm>
            <a:off x="8184013"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4" name="Text Placeholder 3">
            <a:extLst>
              <a:ext uri="{FF2B5EF4-FFF2-40B4-BE49-F238E27FC236}">
                <a16:creationId xmlns:a16="http://schemas.microsoft.com/office/drawing/2014/main" id="{5F230963-9997-4CAE-9B9D-4F53D8044D29}"/>
              </a:ext>
            </a:extLst>
          </p:cNvPr>
          <p:cNvSpPr>
            <a:spLocks noGrp="1"/>
          </p:cNvSpPr>
          <p:nvPr>
            <p:ph type="body" sz="half" idx="14"/>
          </p:nvPr>
        </p:nvSpPr>
        <p:spPr>
          <a:xfrm>
            <a:off x="8184013"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5" name="Platshållare för bildnummer 4">
            <a:extLst>
              <a:ext uri="{FF2B5EF4-FFF2-40B4-BE49-F238E27FC236}">
                <a16:creationId xmlns:a16="http://schemas.microsoft.com/office/drawing/2014/main" id="{23227AAC-52A1-439E-A66E-B8A4CE23E2A5}"/>
              </a:ext>
            </a:extLst>
          </p:cNvPr>
          <p:cNvSpPr>
            <a:spLocks noGrp="1"/>
          </p:cNvSpPr>
          <p:nvPr>
            <p:ph type="sldNum" sz="quarter" idx="16"/>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4814292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ild helsida">
    <p:spTree>
      <p:nvGrpSpPr>
        <p:cNvPr id="1" name=""/>
        <p:cNvGrpSpPr/>
        <p:nvPr/>
      </p:nvGrpSpPr>
      <p:grpSpPr>
        <a:xfrm>
          <a:off x="0" y="0"/>
          <a:ext cx="0" cy="0"/>
          <a:chOff x="0" y="0"/>
          <a:chExt cx="0" cy="0"/>
        </a:xfrm>
      </p:grpSpPr>
      <p:sp>
        <p:nvSpPr>
          <p:cNvPr id="5" name="Platshållare för bild 4"/>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4095411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ld helsida med rubrik">
    <p:spTree>
      <p:nvGrpSpPr>
        <p:cNvPr id="1" name=""/>
        <p:cNvGrpSpPr/>
        <p:nvPr/>
      </p:nvGrpSpPr>
      <p:grpSpPr>
        <a:xfrm>
          <a:off x="0" y="0"/>
          <a:ext cx="0" cy="0"/>
          <a:chOff x="0" y="0"/>
          <a:chExt cx="0" cy="0"/>
        </a:xfrm>
      </p:grpSpPr>
      <p:sp>
        <p:nvSpPr>
          <p:cNvPr id="2" name="Platshållare för sidfot 1">
            <a:extLst>
              <a:ext uri="{FF2B5EF4-FFF2-40B4-BE49-F238E27FC236}">
                <a16:creationId xmlns:a16="http://schemas.microsoft.com/office/drawing/2014/main" id="{4C2CB002-9FCD-48CA-BEF4-9C216A36070A}"/>
              </a:ext>
            </a:extLst>
          </p:cNvPr>
          <p:cNvSpPr>
            <a:spLocks noGrp="1"/>
          </p:cNvSpPr>
          <p:nvPr>
            <p:ph type="ftr" sz="quarter" idx="11"/>
          </p:nvPr>
        </p:nvSpPr>
        <p:spPr>
          <a:xfrm>
            <a:off x="479999" y="6376989"/>
            <a:ext cx="5616000" cy="147636"/>
          </a:xfrm>
          <a:prstGeom prst="rect">
            <a:avLst/>
          </a:prstGeom>
        </p:spPr>
        <p:txBody>
          <a:bodyPr/>
          <a:lstStyle/>
          <a:p>
            <a:endParaRPr lang="sv-SE"/>
          </a:p>
        </p:txBody>
      </p:sp>
      <p:sp>
        <p:nvSpPr>
          <p:cNvPr id="4" name="Platshållare för bild 5">
            <a:extLst>
              <a:ext uri="{FF2B5EF4-FFF2-40B4-BE49-F238E27FC236}">
                <a16:creationId xmlns:a16="http://schemas.microsoft.com/office/drawing/2014/main" id="{1566CF40-59BE-4449-B880-5CCAFCC9D997}"/>
              </a:ext>
            </a:extLst>
          </p:cNvPr>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6" name="Title 1">
            <a:extLst>
              <a:ext uri="{FF2B5EF4-FFF2-40B4-BE49-F238E27FC236}">
                <a16:creationId xmlns:a16="http://schemas.microsoft.com/office/drawing/2014/main" id="{5F556A3A-7138-45B2-8593-FAB5296ADD6C}"/>
              </a:ext>
            </a:extLst>
          </p:cNvPr>
          <p:cNvSpPr>
            <a:spLocks noGrp="1"/>
          </p:cNvSpPr>
          <p:nvPr>
            <p:ph type="ctrTitle"/>
          </p:nvPr>
        </p:nvSpPr>
        <p:spPr>
          <a:xfrm>
            <a:off x="1528841" y="2404809"/>
            <a:ext cx="9134323" cy="1113092"/>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spTree>
    <p:extLst>
      <p:ext uri="{BB962C8B-B14F-4D97-AF65-F5344CB8AC3E}">
        <p14:creationId xmlns:p14="http://schemas.microsoft.com/office/powerpoint/2010/main" val="1494007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bildnummer 1">
            <a:extLst>
              <a:ext uri="{FF2B5EF4-FFF2-40B4-BE49-F238E27FC236}">
                <a16:creationId xmlns:a16="http://schemas.microsoft.com/office/drawing/2014/main" id="{4BC2FFEF-6434-4E63-AD0D-37B93846A0B7}"/>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686840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424537-5ECE-4D36-9AE9-88D8AFB54949}"/>
              </a:ext>
            </a:extLst>
          </p:cNvPr>
          <p:cNvSpPr>
            <a:spLocks noGrp="1"/>
          </p:cNvSpPr>
          <p:nvPr>
            <p:ph type="title"/>
          </p:nvPr>
        </p:nvSpPr>
        <p:spPr/>
        <p:txBody>
          <a:bodyPr/>
          <a:lstStyle/>
          <a:p>
            <a:r>
              <a:rPr lang="sv-SE"/>
              <a:t>Klicka här för att ändra mall för rubrikformat</a:t>
            </a:r>
          </a:p>
        </p:txBody>
      </p:sp>
      <p:sp>
        <p:nvSpPr>
          <p:cNvPr id="3" name="Content Placeholder 2"/>
          <p:cNvSpPr>
            <a:spLocks noGrp="1"/>
          </p:cNvSpPr>
          <p:nvPr>
            <p:ph sz="half" idx="1"/>
          </p:nvPr>
        </p:nvSpPr>
        <p:spPr>
          <a:xfrm>
            <a:off x="407988" y="1736729"/>
            <a:ext cx="5400000" cy="417671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Content Placeholder 3"/>
          <p:cNvSpPr>
            <a:spLocks noGrp="1"/>
          </p:cNvSpPr>
          <p:nvPr>
            <p:ph sz="half" idx="2"/>
          </p:nvPr>
        </p:nvSpPr>
        <p:spPr>
          <a:xfrm>
            <a:off x="6379250" y="1736729"/>
            <a:ext cx="5400000" cy="417671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bildnummer 4">
            <a:extLst>
              <a:ext uri="{FF2B5EF4-FFF2-40B4-BE49-F238E27FC236}">
                <a16:creationId xmlns:a16="http://schemas.microsoft.com/office/drawing/2014/main" id="{EC9B43C6-89FD-4564-BB62-9B67C1AE2E6A}"/>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2147408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Helt 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8063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vsnittsrubrik med bild">
    <p:spTree>
      <p:nvGrpSpPr>
        <p:cNvPr id="1" name=""/>
        <p:cNvGrpSpPr/>
        <p:nvPr/>
      </p:nvGrpSpPr>
      <p:grpSpPr>
        <a:xfrm>
          <a:off x="0" y="0"/>
          <a:ext cx="0" cy="0"/>
          <a:chOff x="0" y="0"/>
          <a:chExt cx="0" cy="0"/>
        </a:xfrm>
      </p:grpSpPr>
      <p:sp>
        <p:nvSpPr>
          <p:cNvPr id="8" name="Platshållare för bild 5">
            <a:extLst>
              <a:ext uri="{FF2B5EF4-FFF2-40B4-BE49-F238E27FC236}">
                <a16:creationId xmlns:a16="http://schemas.microsoft.com/office/drawing/2014/main" id="{E89F1A3B-CD83-40C2-B654-7491BD29FCD5}"/>
              </a:ext>
            </a:extLst>
          </p:cNvPr>
          <p:cNvSpPr>
            <a:spLocks noGrp="1"/>
          </p:cNvSpPr>
          <p:nvPr>
            <p:ph type="pic" sz="quarter" idx="11" hasCustomPrompt="1"/>
          </p:nvPr>
        </p:nvSpPr>
        <p:spPr>
          <a:xfrm>
            <a:off x="407989" y="404812"/>
            <a:ext cx="11376024" cy="5508625"/>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9" name="Title 1">
            <a:extLst>
              <a:ext uri="{FF2B5EF4-FFF2-40B4-BE49-F238E27FC236}">
                <a16:creationId xmlns:a16="http://schemas.microsoft.com/office/drawing/2014/main" id="{EAB74EFB-B5F9-4503-84BF-A1C8C3809B6F}"/>
              </a:ext>
            </a:extLst>
          </p:cNvPr>
          <p:cNvSpPr>
            <a:spLocks noGrp="1"/>
          </p:cNvSpPr>
          <p:nvPr>
            <p:ph type="ctrTitle"/>
          </p:nvPr>
        </p:nvSpPr>
        <p:spPr>
          <a:xfrm>
            <a:off x="1879600" y="1973603"/>
            <a:ext cx="8483640" cy="885112"/>
          </a:xfrm>
          <a:prstGeom prst="rect">
            <a:avLst/>
          </a:prstGeom>
        </p:spPr>
        <p:txBody>
          <a:bodyPr anchor="ctr" anchorCtr="0">
            <a:noAutofit/>
          </a:bodyPr>
          <a:lstStyle>
            <a:lvl1pPr algn="ctr">
              <a:lnSpc>
                <a:spcPct val="90000"/>
              </a:lnSpc>
              <a:defRPr sz="4000">
                <a:solidFill>
                  <a:schemeClr val="bg1"/>
                </a:solidFill>
              </a:defRPr>
            </a:lvl1pPr>
          </a:lstStyle>
          <a:p>
            <a:r>
              <a:rPr lang="sv-SE"/>
              <a:t>Klicka här för att ändra mall för rubrikformat</a:t>
            </a:r>
            <a:endParaRPr lang="en-US"/>
          </a:p>
        </p:txBody>
      </p:sp>
      <p:sp>
        <p:nvSpPr>
          <p:cNvPr id="6" name="textruta 5">
            <a:extLst>
              <a:ext uri="{FF2B5EF4-FFF2-40B4-BE49-F238E27FC236}">
                <a16:creationId xmlns:a16="http://schemas.microsoft.com/office/drawing/2014/main" id="{BE03C4AA-7F69-47DB-B0C7-C398C29343E8}"/>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t>Hållbar stad – öppen för världen</a:t>
            </a:r>
          </a:p>
        </p:txBody>
      </p:sp>
      <p:pic>
        <p:nvPicPr>
          <p:cNvPr id="7" name="Bildobjekt 6" descr="Logo" title="Logo">
            <a:extLst>
              <a:ext uri="{FF2B5EF4-FFF2-40B4-BE49-F238E27FC236}">
                <a16:creationId xmlns:a16="http://schemas.microsoft.com/office/drawing/2014/main" id="{A42DC399-9929-4DB1-86A7-EDD1619A0A0E}"/>
              </a:ext>
            </a:extLst>
          </p:cNvPr>
          <p:cNvPicPr>
            <a:picLocks noChangeAspect="1"/>
          </p:cNvPicPr>
          <p:nvPr userDrawn="1"/>
        </p:nvPicPr>
        <p:blipFill>
          <a:blip r:embed="rId2"/>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34671319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vsnittsrubrik">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528841" y="2404809"/>
            <a:ext cx="9134323" cy="1349829"/>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F54FBE38-BAA0-4913-A593-C4237FC13E33}"/>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solidFill>
                  <a:schemeClr val="tx1">
                    <a:lumMod val="95000"/>
                    <a:lumOff val="5000"/>
                  </a:schemeClr>
                </a:solidFill>
              </a:rPr>
              <a:t>Hållbar stad – öppen för världen</a:t>
            </a:r>
          </a:p>
        </p:txBody>
      </p:sp>
    </p:spTree>
    <p:extLst>
      <p:ext uri="{BB962C8B-B14F-4D97-AF65-F5344CB8AC3E}">
        <p14:creationId xmlns:p14="http://schemas.microsoft.com/office/powerpoint/2010/main" val="15231172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vsluts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8" name="Rubrik 3">
            <a:extLst>
              <a:ext uri="{FF2B5EF4-FFF2-40B4-BE49-F238E27FC236}">
                <a16:creationId xmlns:a16="http://schemas.microsoft.com/office/drawing/2014/main" id="{48B20EB8-4FF0-4D86-B782-FE843B459F2B}"/>
              </a:ext>
            </a:extLst>
          </p:cNvPr>
          <p:cNvSpPr>
            <a:spLocks noGrp="1"/>
          </p:cNvSpPr>
          <p:nvPr>
            <p:ph type="title" hasCustomPrompt="1"/>
          </p:nvPr>
        </p:nvSpPr>
        <p:spPr>
          <a:xfrm>
            <a:off x="1420650" y="2399545"/>
            <a:ext cx="6148878" cy="309600"/>
          </a:xfrm>
        </p:spPr>
        <p:txBody>
          <a:bodyPr>
            <a:normAutofit/>
          </a:bodyPr>
          <a:lstStyle>
            <a:lvl1pPr>
              <a:defRPr sz="1700">
                <a:solidFill>
                  <a:schemeClr val="bg1"/>
                </a:solidFill>
              </a:defRPr>
            </a:lvl1pPr>
          </a:lstStyle>
          <a:p>
            <a:r>
              <a:rPr lang="sv-SE"/>
              <a:t>Kontakt</a:t>
            </a:r>
          </a:p>
        </p:txBody>
      </p:sp>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bg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
        <p:nvSpPr>
          <p:cNvPr id="7" name="textruta 6">
            <a:extLst>
              <a:ext uri="{FF2B5EF4-FFF2-40B4-BE49-F238E27FC236}">
                <a16:creationId xmlns:a16="http://schemas.microsoft.com/office/drawing/2014/main" id="{266C4A4B-0FFF-4609-BF3A-89A12B42C121}"/>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solidFill>
                  <a:schemeClr val="tx1">
                    <a:lumMod val="95000"/>
                    <a:lumOff val="5000"/>
                  </a:schemeClr>
                </a:solidFill>
                <a:latin typeface="+mn-lt"/>
              </a:rPr>
              <a:t>Hållbar stad – öppen för världen</a:t>
            </a:r>
          </a:p>
        </p:txBody>
      </p:sp>
    </p:spTree>
    <p:extLst>
      <p:ext uri="{BB962C8B-B14F-4D97-AF65-F5344CB8AC3E}">
        <p14:creationId xmlns:p14="http://schemas.microsoft.com/office/powerpoint/2010/main" val="31240437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ogotyp">
    <p:spTree>
      <p:nvGrpSpPr>
        <p:cNvPr id="1" name=""/>
        <p:cNvGrpSpPr/>
        <p:nvPr/>
      </p:nvGrpSpPr>
      <p:grpSpPr>
        <a:xfrm>
          <a:off x="0" y="0"/>
          <a:ext cx="0" cy="0"/>
          <a:chOff x="0" y="0"/>
          <a:chExt cx="0" cy="0"/>
        </a:xfrm>
      </p:grpSpPr>
      <p:pic>
        <p:nvPicPr>
          <p:cNvPr id="3" name="Bildobjekt 2" descr="Logo" title="Logo">
            <a:extLst>
              <a:ext uri="{FF2B5EF4-FFF2-40B4-BE49-F238E27FC236}">
                <a16:creationId xmlns:a16="http://schemas.microsoft.com/office/drawing/2014/main" id="{1F12769C-ECF3-448E-A565-83EEEC398EEF}"/>
              </a:ext>
            </a:extLst>
          </p:cNvPr>
          <p:cNvPicPr>
            <a:picLocks noChangeAspect="1"/>
          </p:cNvPicPr>
          <p:nvPr userDrawn="1"/>
        </p:nvPicPr>
        <p:blipFill>
          <a:blip r:embed="rId2"/>
          <a:stretch>
            <a:fillRect/>
          </a:stretch>
        </p:blipFill>
        <p:spPr>
          <a:xfrm>
            <a:off x="5382706" y="2300663"/>
            <a:ext cx="1426588" cy="2261812"/>
          </a:xfrm>
          <a:prstGeom prst="rect">
            <a:avLst/>
          </a:prstGeom>
        </p:spPr>
      </p:pic>
    </p:spTree>
    <p:extLst>
      <p:ext uri="{BB962C8B-B14F-4D97-AF65-F5344CB8AC3E}">
        <p14:creationId xmlns:p14="http://schemas.microsoft.com/office/powerpoint/2010/main" val="7517064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ubrik 6 bilder">
    <p:spTree>
      <p:nvGrpSpPr>
        <p:cNvPr id="1" name=""/>
        <p:cNvGrpSpPr/>
        <p:nvPr/>
      </p:nvGrpSpPr>
      <p:grpSpPr>
        <a:xfrm>
          <a:off x="0" y="0"/>
          <a:ext cx="0" cy="0"/>
          <a:chOff x="0" y="0"/>
          <a:chExt cx="0" cy="0"/>
        </a:xfrm>
      </p:grpSpPr>
      <p:sp>
        <p:nvSpPr>
          <p:cNvPr id="10" name="Platshållare för bild 5">
            <a:extLst>
              <a:ext uri="{FF2B5EF4-FFF2-40B4-BE49-F238E27FC236}">
                <a16:creationId xmlns:a16="http://schemas.microsoft.com/office/drawing/2014/main" id="{72E52585-2C9D-D94C-AD76-83D9DE539A00}"/>
              </a:ext>
            </a:extLst>
          </p:cNvPr>
          <p:cNvSpPr>
            <a:spLocks noGrp="1"/>
          </p:cNvSpPr>
          <p:nvPr>
            <p:ph type="pic" sz="quarter" idx="10"/>
          </p:nvPr>
        </p:nvSpPr>
        <p:spPr>
          <a:xfrm>
            <a:off x="1308100" y="1286446"/>
            <a:ext cx="2880000" cy="2160000"/>
          </a:xfrm>
          <a:prstGeom prst="rect">
            <a:avLst/>
          </a:prstGeom>
          <a:solidFill>
            <a:schemeClr val="bg2"/>
          </a:solidFill>
        </p:spPr>
        <p:txBody>
          <a:bodyPr lIns="0" tIns="0" rIns="0" bIns="0" anchor="t" anchorCtr="0"/>
          <a:lstStyle>
            <a:lvl1pPr marL="0" indent="0" algn="ctr">
              <a:buNone/>
              <a:defRPr sz="1200">
                <a:latin typeface="Arial" panose="020B0604020202020204" pitchFamily="34" charset="0"/>
                <a:cs typeface="Arial" panose="020B0604020202020204" pitchFamily="34" charset="0"/>
              </a:defRPr>
            </a:lvl1pPr>
          </a:lstStyle>
          <a:p>
            <a:endParaRPr lang="sv-SE"/>
          </a:p>
          <a:p>
            <a:endParaRPr lang="sv-SE"/>
          </a:p>
          <a:p>
            <a:r>
              <a:rPr lang="sv-SE"/>
              <a:t>Klicka på ikonen för att lägga till en bild</a:t>
            </a:r>
          </a:p>
        </p:txBody>
      </p:sp>
      <p:sp>
        <p:nvSpPr>
          <p:cNvPr id="11" name="Platshållare för bild 5">
            <a:extLst>
              <a:ext uri="{FF2B5EF4-FFF2-40B4-BE49-F238E27FC236}">
                <a16:creationId xmlns:a16="http://schemas.microsoft.com/office/drawing/2014/main" id="{AAA97B28-3A1D-9C4E-95E4-83281EE82214}"/>
              </a:ext>
            </a:extLst>
          </p:cNvPr>
          <p:cNvSpPr>
            <a:spLocks noGrp="1"/>
          </p:cNvSpPr>
          <p:nvPr>
            <p:ph type="pic" sz="quarter" idx="14"/>
          </p:nvPr>
        </p:nvSpPr>
        <p:spPr>
          <a:xfrm>
            <a:off x="4660902" y="1286446"/>
            <a:ext cx="2880000" cy="2160000"/>
          </a:xfrm>
          <a:prstGeom prst="rect">
            <a:avLst/>
          </a:prstGeom>
          <a:solidFill>
            <a:schemeClr val="bg2"/>
          </a:solidFill>
        </p:spPr>
        <p:txBody>
          <a:bodyPr lIns="0" tIns="0" rIns="0" bIns="0" anchor="t" anchorCtr="0"/>
          <a:lstStyle>
            <a:lvl1pPr marL="0" indent="0" algn="ctr">
              <a:buNone/>
              <a:defRPr sz="1200">
                <a:latin typeface="Arial" panose="020B0604020202020204" pitchFamily="34" charset="0"/>
                <a:cs typeface="Arial" panose="020B0604020202020204" pitchFamily="34" charset="0"/>
              </a:defRPr>
            </a:lvl1pPr>
          </a:lstStyle>
          <a:p>
            <a:endParaRPr lang="sv-SE"/>
          </a:p>
          <a:p>
            <a:endParaRPr lang="sv-SE"/>
          </a:p>
          <a:p>
            <a:r>
              <a:rPr lang="sv-SE"/>
              <a:t>Klicka på ikonen för att lägga till en bild</a:t>
            </a:r>
          </a:p>
        </p:txBody>
      </p:sp>
      <p:sp>
        <p:nvSpPr>
          <p:cNvPr id="12" name="Platshållare för bild 5">
            <a:extLst>
              <a:ext uri="{FF2B5EF4-FFF2-40B4-BE49-F238E27FC236}">
                <a16:creationId xmlns:a16="http://schemas.microsoft.com/office/drawing/2014/main" id="{28B654BD-08D6-3F46-A0D7-433C42494844}"/>
              </a:ext>
            </a:extLst>
          </p:cNvPr>
          <p:cNvSpPr>
            <a:spLocks noGrp="1"/>
          </p:cNvSpPr>
          <p:nvPr>
            <p:ph type="pic" sz="quarter" idx="15"/>
          </p:nvPr>
        </p:nvSpPr>
        <p:spPr>
          <a:xfrm>
            <a:off x="8013704" y="1286446"/>
            <a:ext cx="2880000" cy="2160000"/>
          </a:xfrm>
          <a:prstGeom prst="rect">
            <a:avLst/>
          </a:prstGeom>
          <a:solidFill>
            <a:schemeClr val="bg2"/>
          </a:solidFill>
        </p:spPr>
        <p:txBody>
          <a:bodyPr lIns="0" tIns="0" rIns="0" bIns="0" anchor="t" anchorCtr="0"/>
          <a:lstStyle>
            <a:lvl1pPr marL="0" indent="0" algn="ctr">
              <a:buNone/>
              <a:defRPr sz="1200">
                <a:latin typeface="Arial" panose="020B0604020202020204" pitchFamily="34" charset="0"/>
                <a:cs typeface="Arial" panose="020B0604020202020204" pitchFamily="34" charset="0"/>
              </a:defRPr>
            </a:lvl1pPr>
          </a:lstStyle>
          <a:p>
            <a:endParaRPr lang="sv-SE"/>
          </a:p>
          <a:p>
            <a:endParaRPr lang="sv-SE"/>
          </a:p>
          <a:p>
            <a:r>
              <a:rPr lang="sv-SE"/>
              <a:t>Klicka på ikonen för att lägga till en bild</a:t>
            </a:r>
          </a:p>
        </p:txBody>
      </p:sp>
      <p:sp>
        <p:nvSpPr>
          <p:cNvPr id="20" name="Platshållare för bild 5">
            <a:extLst>
              <a:ext uri="{FF2B5EF4-FFF2-40B4-BE49-F238E27FC236}">
                <a16:creationId xmlns:a16="http://schemas.microsoft.com/office/drawing/2014/main" id="{5EC212A9-E429-ED4E-98CD-1B05F603D672}"/>
              </a:ext>
            </a:extLst>
          </p:cNvPr>
          <p:cNvSpPr>
            <a:spLocks noGrp="1"/>
          </p:cNvSpPr>
          <p:nvPr>
            <p:ph type="pic" sz="quarter" idx="16"/>
          </p:nvPr>
        </p:nvSpPr>
        <p:spPr>
          <a:xfrm>
            <a:off x="1308100" y="3965242"/>
            <a:ext cx="2880000" cy="2160000"/>
          </a:xfrm>
          <a:prstGeom prst="rect">
            <a:avLst/>
          </a:prstGeom>
          <a:solidFill>
            <a:schemeClr val="bg2"/>
          </a:solidFill>
        </p:spPr>
        <p:txBody>
          <a:bodyPr lIns="0" tIns="0" rIns="0" bIns="0" anchor="t" anchorCtr="0"/>
          <a:lstStyle>
            <a:lvl1pPr marL="0" indent="0" algn="ctr">
              <a:buNone/>
              <a:defRPr sz="1200">
                <a:latin typeface="Arial" panose="020B0604020202020204" pitchFamily="34" charset="0"/>
                <a:cs typeface="Arial" panose="020B0604020202020204" pitchFamily="34" charset="0"/>
              </a:defRPr>
            </a:lvl1pPr>
          </a:lstStyle>
          <a:p>
            <a:endParaRPr lang="sv-SE"/>
          </a:p>
          <a:p>
            <a:endParaRPr lang="sv-SE"/>
          </a:p>
          <a:p>
            <a:r>
              <a:rPr lang="sv-SE"/>
              <a:t>Klicka på ikonen för att lägga till en bild</a:t>
            </a:r>
          </a:p>
        </p:txBody>
      </p:sp>
      <p:sp>
        <p:nvSpPr>
          <p:cNvPr id="21" name="Platshållare för bild 5">
            <a:extLst>
              <a:ext uri="{FF2B5EF4-FFF2-40B4-BE49-F238E27FC236}">
                <a16:creationId xmlns:a16="http://schemas.microsoft.com/office/drawing/2014/main" id="{1891E0BE-21C2-264B-8747-C0BDFFDCD879}"/>
              </a:ext>
            </a:extLst>
          </p:cNvPr>
          <p:cNvSpPr>
            <a:spLocks noGrp="1"/>
          </p:cNvSpPr>
          <p:nvPr>
            <p:ph type="pic" sz="quarter" idx="17"/>
          </p:nvPr>
        </p:nvSpPr>
        <p:spPr>
          <a:xfrm>
            <a:off x="4660902" y="3965242"/>
            <a:ext cx="2880000" cy="2160000"/>
          </a:xfrm>
          <a:prstGeom prst="rect">
            <a:avLst/>
          </a:prstGeom>
          <a:solidFill>
            <a:schemeClr val="bg2"/>
          </a:solidFill>
        </p:spPr>
        <p:txBody>
          <a:bodyPr lIns="0" tIns="0" rIns="0" bIns="0" anchor="t" anchorCtr="0"/>
          <a:lstStyle>
            <a:lvl1pPr marL="0" indent="0" algn="ctr">
              <a:buNone/>
              <a:defRPr sz="1200">
                <a:latin typeface="Arial" panose="020B0604020202020204" pitchFamily="34" charset="0"/>
                <a:cs typeface="Arial" panose="020B0604020202020204" pitchFamily="34" charset="0"/>
              </a:defRPr>
            </a:lvl1pPr>
          </a:lstStyle>
          <a:p>
            <a:endParaRPr lang="sv-SE"/>
          </a:p>
          <a:p>
            <a:endParaRPr lang="sv-SE"/>
          </a:p>
          <a:p>
            <a:r>
              <a:rPr lang="sv-SE"/>
              <a:t>Klicka på ikonen för att lägga till en bild</a:t>
            </a:r>
          </a:p>
        </p:txBody>
      </p:sp>
      <p:sp>
        <p:nvSpPr>
          <p:cNvPr id="22" name="Platshållare för bild 5">
            <a:extLst>
              <a:ext uri="{FF2B5EF4-FFF2-40B4-BE49-F238E27FC236}">
                <a16:creationId xmlns:a16="http://schemas.microsoft.com/office/drawing/2014/main" id="{3CAD9AD8-1C5E-1A42-B6AA-AA48A12B4829}"/>
              </a:ext>
            </a:extLst>
          </p:cNvPr>
          <p:cNvSpPr>
            <a:spLocks noGrp="1"/>
          </p:cNvSpPr>
          <p:nvPr>
            <p:ph type="pic" sz="quarter" idx="18"/>
          </p:nvPr>
        </p:nvSpPr>
        <p:spPr>
          <a:xfrm>
            <a:off x="8013704" y="3965242"/>
            <a:ext cx="2880000" cy="2160000"/>
          </a:xfrm>
          <a:prstGeom prst="rect">
            <a:avLst/>
          </a:prstGeom>
          <a:solidFill>
            <a:schemeClr val="bg2"/>
          </a:solidFill>
        </p:spPr>
        <p:txBody>
          <a:bodyPr lIns="0" tIns="0" rIns="0" bIns="0" anchor="t" anchorCtr="0"/>
          <a:lstStyle>
            <a:lvl1pPr marL="0" indent="0" algn="ctr">
              <a:buNone/>
              <a:defRPr sz="1200">
                <a:latin typeface="Arial" panose="020B0604020202020204" pitchFamily="34" charset="0"/>
                <a:cs typeface="Arial" panose="020B0604020202020204" pitchFamily="34" charset="0"/>
              </a:defRPr>
            </a:lvl1pPr>
          </a:lstStyle>
          <a:p>
            <a:endParaRPr lang="sv-SE"/>
          </a:p>
          <a:p>
            <a:endParaRPr lang="sv-SE"/>
          </a:p>
          <a:p>
            <a:r>
              <a:rPr lang="sv-SE"/>
              <a:t>Klicka på ikonen för att lägga till en bild</a:t>
            </a:r>
          </a:p>
        </p:txBody>
      </p:sp>
      <p:sp>
        <p:nvSpPr>
          <p:cNvPr id="24" name="Platshållare för text 2">
            <a:extLst>
              <a:ext uri="{FF2B5EF4-FFF2-40B4-BE49-F238E27FC236}">
                <a16:creationId xmlns:a16="http://schemas.microsoft.com/office/drawing/2014/main" id="{16FAD565-2595-4049-B9CA-A01D1A292E53}"/>
              </a:ext>
            </a:extLst>
          </p:cNvPr>
          <p:cNvSpPr>
            <a:spLocks noGrp="1"/>
          </p:cNvSpPr>
          <p:nvPr>
            <p:ph type="body" sz="quarter" idx="19" hasCustomPrompt="1"/>
          </p:nvPr>
        </p:nvSpPr>
        <p:spPr>
          <a:xfrm>
            <a:off x="6096165" y="476931"/>
            <a:ext cx="5741988" cy="323850"/>
          </a:xfrm>
          <a:prstGeom prst="rect">
            <a:avLst/>
          </a:prstGeom>
        </p:spPr>
        <p:txBody>
          <a:bodyPr/>
          <a:lstStyle>
            <a:lvl1pPr marL="0" indent="0" algn="r">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sv-SE"/>
              <a:t>Skriv text här </a:t>
            </a:r>
            <a:r>
              <a:rPr lang="sv-SE" err="1"/>
              <a:t>ämnesrad</a:t>
            </a:r>
            <a:r>
              <a:rPr lang="sv-SE"/>
              <a:t> högerställt</a:t>
            </a:r>
          </a:p>
        </p:txBody>
      </p:sp>
    </p:spTree>
    <p:extLst>
      <p:ext uri="{BB962C8B-B14F-4D97-AF65-F5344CB8AC3E}">
        <p14:creationId xmlns:p14="http://schemas.microsoft.com/office/powerpoint/2010/main" val="238074797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ubrik + brödtext n hörn">
    <p:spTree>
      <p:nvGrpSpPr>
        <p:cNvPr id="1" name=""/>
        <p:cNvGrpSpPr/>
        <p:nvPr/>
      </p:nvGrpSpPr>
      <p:grpSpPr>
        <a:xfrm>
          <a:off x="0" y="0"/>
          <a:ext cx="0" cy="0"/>
          <a:chOff x="0" y="0"/>
          <a:chExt cx="0" cy="0"/>
        </a:xfrm>
      </p:grpSpPr>
      <p:sp>
        <p:nvSpPr>
          <p:cNvPr id="10" name="Rubrik 1">
            <a:extLst>
              <a:ext uri="{FF2B5EF4-FFF2-40B4-BE49-F238E27FC236}">
                <a16:creationId xmlns:a16="http://schemas.microsoft.com/office/drawing/2014/main" id="{E3D065A6-8F2D-6F4C-82FA-03FAE6351500}"/>
              </a:ext>
            </a:extLst>
          </p:cNvPr>
          <p:cNvSpPr>
            <a:spLocks noGrp="1"/>
          </p:cNvSpPr>
          <p:nvPr>
            <p:ph type="ctrTitle" hasCustomPrompt="1"/>
          </p:nvPr>
        </p:nvSpPr>
        <p:spPr>
          <a:xfrm>
            <a:off x="1179963" y="1630952"/>
            <a:ext cx="9144000" cy="785109"/>
          </a:xfrm>
          <a:prstGeom prst="rect">
            <a:avLst/>
          </a:prstGeom>
        </p:spPr>
        <p:txBody>
          <a:bodyPr anchor="t" anchorCtr="0"/>
          <a:lstStyle>
            <a:lvl1pPr algn="l">
              <a:lnSpc>
                <a:spcPts val="4800"/>
              </a:lnSpc>
              <a:defRPr sz="4500" b="0">
                <a:solidFill>
                  <a:schemeClr val="accent1"/>
                </a:solidFill>
                <a:latin typeface="Arial" panose="020B0604020202020204" pitchFamily="34" charset="0"/>
                <a:cs typeface="Arial" panose="020B0604020202020204" pitchFamily="34" charset="0"/>
              </a:defRPr>
            </a:lvl1pPr>
          </a:lstStyle>
          <a:p>
            <a:r>
              <a:rPr lang="sv-SE"/>
              <a:t>Rubrik</a:t>
            </a:r>
          </a:p>
        </p:txBody>
      </p:sp>
      <p:sp>
        <p:nvSpPr>
          <p:cNvPr id="11" name="Underrubrik 2">
            <a:extLst>
              <a:ext uri="{FF2B5EF4-FFF2-40B4-BE49-F238E27FC236}">
                <a16:creationId xmlns:a16="http://schemas.microsoft.com/office/drawing/2014/main" id="{076A3998-B319-E74B-AB17-7755765AD097}"/>
              </a:ext>
            </a:extLst>
          </p:cNvPr>
          <p:cNvSpPr>
            <a:spLocks noGrp="1"/>
          </p:cNvSpPr>
          <p:nvPr>
            <p:ph type="subTitle" idx="1" hasCustomPrompt="1"/>
          </p:nvPr>
        </p:nvSpPr>
        <p:spPr>
          <a:xfrm>
            <a:off x="1209560" y="2416061"/>
            <a:ext cx="9144000" cy="1655762"/>
          </a:xfrm>
          <a:prstGeom prst="rect">
            <a:avLst/>
          </a:prstGeom>
        </p:spPr>
        <p:txBody>
          <a:bodyPr/>
          <a:lstStyle>
            <a:lvl1pPr marL="0" indent="0" algn="l">
              <a:lnSpc>
                <a:spcPts val="2500"/>
              </a:lnSpc>
              <a:spcBef>
                <a:spcPts val="1500"/>
              </a:spcBef>
              <a:buFont typeface="Arial" panose="020B0604020202020204" pitchFamily="34" charset="0"/>
              <a:buNone/>
              <a:tabLst/>
              <a:defRPr sz="20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Brödtext</a:t>
            </a:r>
          </a:p>
        </p:txBody>
      </p:sp>
      <p:sp>
        <p:nvSpPr>
          <p:cNvPr id="6" name="Platshållare för text 2">
            <a:extLst>
              <a:ext uri="{FF2B5EF4-FFF2-40B4-BE49-F238E27FC236}">
                <a16:creationId xmlns:a16="http://schemas.microsoft.com/office/drawing/2014/main" id="{EB6140DB-2D8F-FA41-8C4B-E40C5E2F4B89}"/>
              </a:ext>
            </a:extLst>
          </p:cNvPr>
          <p:cNvSpPr>
            <a:spLocks noGrp="1"/>
          </p:cNvSpPr>
          <p:nvPr>
            <p:ph type="body" sz="quarter" idx="14" hasCustomPrompt="1"/>
          </p:nvPr>
        </p:nvSpPr>
        <p:spPr>
          <a:xfrm>
            <a:off x="6096165" y="476931"/>
            <a:ext cx="5741988" cy="323850"/>
          </a:xfrm>
          <a:prstGeom prst="rect">
            <a:avLst/>
          </a:prstGeom>
        </p:spPr>
        <p:txBody>
          <a:bodyPr/>
          <a:lstStyle>
            <a:lvl1pPr marL="0" indent="0" algn="r">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sv-SE"/>
              <a:t>Skriv text här </a:t>
            </a:r>
            <a:r>
              <a:rPr lang="sv-SE" err="1"/>
              <a:t>ämnesrad</a:t>
            </a:r>
            <a:r>
              <a:rPr lang="sv-SE"/>
              <a:t> högerställt</a:t>
            </a:r>
          </a:p>
        </p:txBody>
      </p:sp>
      <p:pic>
        <p:nvPicPr>
          <p:cNvPr id="8" name="Bildobjekt 7">
            <a:extLst>
              <a:ext uri="{FF2B5EF4-FFF2-40B4-BE49-F238E27FC236}">
                <a16:creationId xmlns:a16="http://schemas.microsoft.com/office/drawing/2014/main" id="{D8B73281-52CC-3140-8687-D0F34B6101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080000"/>
            <a:ext cx="2800350" cy="1778000"/>
          </a:xfrm>
          <a:prstGeom prst="rect">
            <a:avLst/>
          </a:prstGeom>
        </p:spPr>
      </p:pic>
    </p:spTree>
    <p:extLst>
      <p:ext uri="{BB962C8B-B14F-4D97-AF65-F5344CB8AC3E}">
        <p14:creationId xmlns:p14="http://schemas.microsoft.com/office/powerpoint/2010/main" val="152635417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ubrik + bröd beige">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2808146F-5C71-2E48-9474-9FCFDD53C8A5}"/>
              </a:ext>
            </a:extLst>
          </p:cNvPr>
          <p:cNvSpPr/>
          <p:nvPr userDrawn="1"/>
        </p:nvSpPr>
        <p:spPr>
          <a:xfrm>
            <a:off x="0" y="0"/>
            <a:ext cx="12192000"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5" name="Bildobjekt 4">
            <a:extLst>
              <a:ext uri="{FF2B5EF4-FFF2-40B4-BE49-F238E27FC236}">
                <a16:creationId xmlns:a16="http://schemas.microsoft.com/office/drawing/2014/main" id="{29A19632-FBFD-BE4B-865B-46EABAF1BE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080000"/>
            <a:ext cx="2800350" cy="1778000"/>
          </a:xfrm>
          <a:prstGeom prst="rect">
            <a:avLst/>
          </a:prstGeom>
        </p:spPr>
      </p:pic>
      <p:sp>
        <p:nvSpPr>
          <p:cNvPr id="8" name="Rubrik 1">
            <a:extLst>
              <a:ext uri="{FF2B5EF4-FFF2-40B4-BE49-F238E27FC236}">
                <a16:creationId xmlns:a16="http://schemas.microsoft.com/office/drawing/2014/main" id="{D2EC2BCF-091C-C141-8C95-00B65D90D325}"/>
              </a:ext>
            </a:extLst>
          </p:cNvPr>
          <p:cNvSpPr>
            <a:spLocks noGrp="1"/>
          </p:cNvSpPr>
          <p:nvPr>
            <p:ph type="ctrTitle" hasCustomPrompt="1"/>
          </p:nvPr>
        </p:nvSpPr>
        <p:spPr>
          <a:xfrm>
            <a:off x="1179963" y="1630953"/>
            <a:ext cx="9144000" cy="785109"/>
          </a:xfrm>
          <a:prstGeom prst="rect">
            <a:avLst/>
          </a:prstGeom>
        </p:spPr>
        <p:txBody>
          <a:bodyPr anchor="t" anchorCtr="0"/>
          <a:lstStyle>
            <a:lvl1pPr algn="l">
              <a:lnSpc>
                <a:spcPts val="4800"/>
              </a:lnSpc>
              <a:defRPr sz="4500" b="0">
                <a:solidFill>
                  <a:schemeClr val="accent1"/>
                </a:solidFill>
                <a:latin typeface="Arial" panose="020B0604020202020204" pitchFamily="34" charset="0"/>
                <a:cs typeface="Arial" panose="020B0604020202020204" pitchFamily="34" charset="0"/>
              </a:defRPr>
            </a:lvl1pPr>
          </a:lstStyle>
          <a:p>
            <a:r>
              <a:rPr lang="sv-SE"/>
              <a:t>Rubrik</a:t>
            </a:r>
          </a:p>
        </p:txBody>
      </p:sp>
      <p:sp>
        <p:nvSpPr>
          <p:cNvPr id="11" name="Underrubrik 2">
            <a:extLst>
              <a:ext uri="{FF2B5EF4-FFF2-40B4-BE49-F238E27FC236}">
                <a16:creationId xmlns:a16="http://schemas.microsoft.com/office/drawing/2014/main" id="{1F46C5E4-E8F1-B542-ABE6-ED980708737B}"/>
              </a:ext>
            </a:extLst>
          </p:cNvPr>
          <p:cNvSpPr>
            <a:spLocks noGrp="1"/>
          </p:cNvSpPr>
          <p:nvPr>
            <p:ph type="subTitle" idx="1" hasCustomPrompt="1"/>
          </p:nvPr>
        </p:nvSpPr>
        <p:spPr>
          <a:xfrm>
            <a:off x="1209560" y="2416062"/>
            <a:ext cx="9144000" cy="1655762"/>
          </a:xfrm>
          <a:prstGeom prst="rect">
            <a:avLst/>
          </a:prstGeom>
        </p:spPr>
        <p:txBody>
          <a:bodyPr/>
          <a:lstStyle>
            <a:lvl1pPr marL="0" indent="0" algn="l">
              <a:lnSpc>
                <a:spcPts val="2500"/>
              </a:lnSpc>
              <a:spcBef>
                <a:spcPts val="1500"/>
              </a:spcBef>
              <a:buFont typeface="Arial" panose="020B0604020202020204" pitchFamily="34" charset="0"/>
              <a:buNone/>
              <a:tabLst/>
              <a:defRPr sz="20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Brödtext</a:t>
            </a:r>
          </a:p>
        </p:txBody>
      </p:sp>
      <p:sp>
        <p:nvSpPr>
          <p:cNvPr id="9" name="Platshållare för text 2">
            <a:extLst>
              <a:ext uri="{FF2B5EF4-FFF2-40B4-BE49-F238E27FC236}">
                <a16:creationId xmlns:a16="http://schemas.microsoft.com/office/drawing/2014/main" id="{7ED89A1C-1FA6-F549-A408-5BE5193E1E49}"/>
              </a:ext>
            </a:extLst>
          </p:cNvPr>
          <p:cNvSpPr>
            <a:spLocks noGrp="1"/>
          </p:cNvSpPr>
          <p:nvPr>
            <p:ph type="body" sz="quarter" idx="14" hasCustomPrompt="1"/>
          </p:nvPr>
        </p:nvSpPr>
        <p:spPr>
          <a:xfrm>
            <a:off x="6096165" y="476931"/>
            <a:ext cx="5741988" cy="323850"/>
          </a:xfrm>
          <a:prstGeom prst="rect">
            <a:avLst/>
          </a:prstGeom>
        </p:spPr>
        <p:txBody>
          <a:bodyPr/>
          <a:lstStyle>
            <a:lvl1pPr marL="0" indent="0" algn="r">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sv-SE"/>
              <a:t>Skriv text här </a:t>
            </a:r>
            <a:r>
              <a:rPr lang="sv-SE" err="1"/>
              <a:t>ämnesrad</a:t>
            </a:r>
            <a:r>
              <a:rPr lang="sv-SE"/>
              <a:t> högerställt</a:t>
            </a:r>
          </a:p>
        </p:txBody>
      </p:sp>
      <p:sp>
        <p:nvSpPr>
          <p:cNvPr id="7" name="Platshållare för text 3">
            <a:extLst>
              <a:ext uri="{FF2B5EF4-FFF2-40B4-BE49-F238E27FC236}">
                <a16:creationId xmlns:a16="http://schemas.microsoft.com/office/drawing/2014/main" id="{CCE6C3DF-E3C1-154C-93C8-D74BB67194CD}"/>
              </a:ext>
            </a:extLst>
          </p:cNvPr>
          <p:cNvSpPr txBox="1">
            <a:spLocks/>
          </p:cNvSpPr>
          <p:nvPr userDrawn="1"/>
        </p:nvSpPr>
        <p:spPr>
          <a:xfrm>
            <a:off x="353847" y="360975"/>
            <a:ext cx="1361464" cy="337302"/>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a:t> </a:t>
            </a:r>
          </a:p>
        </p:txBody>
      </p:sp>
    </p:spTree>
    <p:extLst>
      <p:ext uri="{BB962C8B-B14F-4D97-AF65-F5344CB8AC3E}">
        <p14:creationId xmlns:p14="http://schemas.microsoft.com/office/powerpoint/2010/main" val="421836247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ubrik + punktlista h hörn">
    <p:spTree>
      <p:nvGrpSpPr>
        <p:cNvPr id="1" name=""/>
        <p:cNvGrpSpPr/>
        <p:nvPr/>
      </p:nvGrpSpPr>
      <p:grpSpPr>
        <a:xfrm>
          <a:off x="0" y="0"/>
          <a:ext cx="0" cy="0"/>
          <a:chOff x="0" y="0"/>
          <a:chExt cx="0" cy="0"/>
        </a:xfrm>
      </p:grpSpPr>
      <p:sp>
        <p:nvSpPr>
          <p:cNvPr id="6" name="Rubrik 1">
            <a:extLst>
              <a:ext uri="{FF2B5EF4-FFF2-40B4-BE49-F238E27FC236}">
                <a16:creationId xmlns:a16="http://schemas.microsoft.com/office/drawing/2014/main" id="{A1BEAB2D-E962-A14C-9A6B-A68736841A4A}"/>
              </a:ext>
            </a:extLst>
          </p:cNvPr>
          <p:cNvSpPr>
            <a:spLocks noGrp="1"/>
          </p:cNvSpPr>
          <p:nvPr>
            <p:ph type="ctrTitle" hasCustomPrompt="1"/>
          </p:nvPr>
        </p:nvSpPr>
        <p:spPr>
          <a:xfrm>
            <a:off x="1179966" y="1631242"/>
            <a:ext cx="9144000" cy="785109"/>
          </a:xfrm>
          <a:prstGeom prst="rect">
            <a:avLst/>
          </a:prstGeom>
        </p:spPr>
        <p:txBody>
          <a:bodyPr anchor="t" anchorCtr="0"/>
          <a:lstStyle>
            <a:lvl1pPr algn="l">
              <a:lnSpc>
                <a:spcPts val="4800"/>
              </a:lnSpc>
              <a:defRPr sz="4500" b="0">
                <a:solidFill>
                  <a:schemeClr val="accent1"/>
                </a:solidFill>
                <a:latin typeface="Arial" panose="020B0604020202020204" pitchFamily="34" charset="0"/>
                <a:cs typeface="Arial" panose="020B0604020202020204" pitchFamily="34" charset="0"/>
              </a:defRPr>
            </a:lvl1pPr>
          </a:lstStyle>
          <a:p>
            <a:r>
              <a:rPr lang="sv-SE"/>
              <a:t>Rubrik</a:t>
            </a:r>
          </a:p>
        </p:txBody>
      </p:sp>
      <p:sp>
        <p:nvSpPr>
          <p:cNvPr id="7" name="Underrubrik 2">
            <a:extLst>
              <a:ext uri="{FF2B5EF4-FFF2-40B4-BE49-F238E27FC236}">
                <a16:creationId xmlns:a16="http://schemas.microsoft.com/office/drawing/2014/main" id="{389AFCE8-8C87-9349-9388-D9E49C3424E5}"/>
              </a:ext>
            </a:extLst>
          </p:cNvPr>
          <p:cNvSpPr>
            <a:spLocks noGrp="1"/>
          </p:cNvSpPr>
          <p:nvPr>
            <p:ph type="subTitle" idx="1" hasCustomPrompt="1"/>
          </p:nvPr>
        </p:nvSpPr>
        <p:spPr>
          <a:xfrm>
            <a:off x="1211528" y="2416351"/>
            <a:ext cx="9144000" cy="1655762"/>
          </a:xfrm>
          <a:prstGeom prst="rect">
            <a:avLst/>
          </a:prstGeom>
        </p:spPr>
        <p:txBody>
          <a:bodyPr/>
          <a:lstStyle>
            <a:lvl1pPr marL="179388" indent="-179388" algn="l">
              <a:lnSpc>
                <a:spcPts val="2500"/>
              </a:lnSpc>
              <a:spcBef>
                <a:spcPts val="1500"/>
              </a:spcBef>
              <a:buFont typeface="Arial" panose="020B0604020202020204" pitchFamily="34" charset="0"/>
              <a:buChar char="•"/>
              <a:tabLst/>
              <a:defRPr sz="20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Punktlista</a:t>
            </a:r>
          </a:p>
        </p:txBody>
      </p:sp>
      <p:sp>
        <p:nvSpPr>
          <p:cNvPr id="9" name="Platshållare för text 2">
            <a:extLst>
              <a:ext uri="{FF2B5EF4-FFF2-40B4-BE49-F238E27FC236}">
                <a16:creationId xmlns:a16="http://schemas.microsoft.com/office/drawing/2014/main" id="{CACA04C8-CEDB-2E41-AFCF-C9052D05158F}"/>
              </a:ext>
            </a:extLst>
          </p:cNvPr>
          <p:cNvSpPr>
            <a:spLocks noGrp="1"/>
          </p:cNvSpPr>
          <p:nvPr>
            <p:ph type="body" sz="quarter" idx="14" hasCustomPrompt="1"/>
          </p:nvPr>
        </p:nvSpPr>
        <p:spPr>
          <a:xfrm>
            <a:off x="6096165" y="476931"/>
            <a:ext cx="5741988" cy="323850"/>
          </a:xfrm>
          <a:prstGeom prst="rect">
            <a:avLst/>
          </a:prstGeom>
        </p:spPr>
        <p:txBody>
          <a:bodyPr/>
          <a:lstStyle>
            <a:lvl1pPr marL="0" indent="0" algn="r">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sv-SE"/>
              <a:t>Skriv text här </a:t>
            </a:r>
            <a:r>
              <a:rPr lang="sv-SE" err="1"/>
              <a:t>ämnesrad</a:t>
            </a:r>
            <a:r>
              <a:rPr lang="sv-SE"/>
              <a:t> högerställt</a:t>
            </a:r>
          </a:p>
        </p:txBody>
      </p:sp>
      <p:pic>
        <p:nvPicPr>
          <p:cNvPr id="8" name="Bildobjekt 7">
            <a:extLst>
              <a:ext uri="{FF2B5EF4-FFF2-40B4-BE49-F238E27FC236}">
                <a16:creationId xmlns:a16="http://schemas.microsoft.com/office/drawing/2014/main" id="{58508E11-5073-814D-B2CB-BB40211629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871082" y="5079998"/>
            <a:ext cx="3320917" cy="1778001"/>
          </a:xfrm>
          <a:prstGeom prst="rect">
            <a:avLst/>
          </a:prstGeom>
        </p:spPr>
      </p:pic>
    </p:spTree>
    <p:extLst>
      <p:ext uri="{BB962C8B-B14F-4D97-AF65-F5344CB8AC3E}">
        <p14:creationId xmlns:p14="http://schemas.microsoft.com/office/powerpoint/2010/main" val="98204867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ubrik + punktlista h hörn beige">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59DF0E04-F51E-BE40-91FA-A4796A9A8DC7}"/>
              </a:ext>
            </a:extLst>
          </p:cNvPr>
          <p:cNvSpPr/>
          <p:nvPr userDrawn="1"/>
        </p:nvSpPr>
        <p:spPr>
          <a:xfrm>
            <a:off x="0" y="0"/>
            <a:ext cx="12192000"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Rubrik 1">
            <a:extLst>
              <a:ext uri="{FF2B5EF4-FFF2-40B4-BE49-F238E27FC236}">
                <a16:creationId xmlns:a16="http://schemas.microsoft.com/office/drawing/2014/main" id="{A1BEAB2D-E962-A14C-9A6B-A68736841A4A}"/>
              </a:ext>
            </a:extLst>
          </p:cNvPr>
          <p:cNvSpPr>
            <a:spLocks noGrp="1"/>
          </p:cNvSpPr>
          <p:nvPr>
            <p:ph type="ctrTitle" hasCustomPrompt="1"/>
          </p:nvPr>
        </p:nvSpPr>
        <p:spPr>
          <a:xfrm>
            <a:off x="1179966" y="1631242"/>
            <a:ext cx="9144000" cy="785109"/>
          </a:xfrm>
          <a:prstGeom prst="rect">
            <a:avLst/>
          </a:prstGeom>
        </p:spPr>
        <p:txBody>
          <a:bodyPr anchor="t" anchorCtr="0"/>
          <a:lstStyle>
            <a:lvl1pPr algn="l">
              <a:lnSpc>
                <a:spcPts val="4800"/>
              </a:lnSpc>
              <a:defRPr sz="4500" b="0">
                <a:solidFill>
                  <a:schemeClr val="accent1"/>
                </a:solidFill>
                <a:latin typeface="Arial" panose="020B0604020202020204" pitchFamily="34" charset="0"/>
                <a:cs typeface="Arial" panose="020B0604020202020204" pitchFamily="34" charset="0"/>
              </a:defRPr>
            </a:lvl1pPr>
          </a:lstStyle>
          <a:p>
            <a:r>
              <a:rPr lang="sv-SE"/>
              <a:t>Rubrik</a:t>
            </a:r>
          </a:p>
        </p:txBody>
      </p:sp>
      <p:sp>
        <p:nvSpPr>
          <p:cNvPr id="7" name="Underrubrik 2">
            <a:extLst>
              <a:ext uri="{FF2B5EF4-FFF2-40B4-BE49-F238E27FC236}">
                <a16:creationId xmlns:a16="http://schemas.microsoft.com/office/drawing/2014/main" id="{389AFCE8-8C87-9349-9388-D9E49C3424E5}"/>
              </a:ext>
            </a:extLst>
          </p:cNvPr>
          <p:cNvSpPr>
            <a:spLocks noGrp="1"/>
          </p:cNvSpPr>
          <p:nvPr>
            <p:ph type="subTitle" idx="1" hasCustomPrompt="1"/>
          </p:nvPr>
        </p:nvSpPr>
        <p:spPr>
          <a:xfrm>
            <a:off x="1211528" y="2416351"/>
            <a:ext cx="9144000" cy="1655762"/>
          </a:xfrm>
          <a:prstGeom prst="rect">
            <a:avLst/>
          </a:prstGeom>
        </p:spPr>
        <p:txBody>
          <a:bodyPr/>
          <a:lstStyle>
            <a:lvl1pPr marL="179388" indent="-179388" algn="l">
              <a:lnSpc>
                <a:spcPts val="2500"/>
              </a:lnSpc>
              <a:spcBef>
                <a:spcPts val="1500"/>
              </a:spcBef>
              <a:buFont typeface="Arial" panose="020B0604020202020204" pitchFamily="34" charset="0"/>
              <a:buChar char="•"/>
              <a:tabLst/>
              <a:defRPr sz="20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Punktlista</a:t>
            </a:r>
          </a:p>
        </p:txBody>
      </p:sp>
      <p:sp>
        <p:nvSpPr>
          <p:cNvPr id="9" name="Platshållare för text 2">
            <a:extLst>
              <a:ext uri="{FF2B5EF4-FFF2-40B4-BE49-F238E27FC236}">
                <a16:creationId xmlns:a16="http://schemas.microsoft.com/office/drawing/2014/main" id="{CACA04C8-CEDB-2E41-AFCF-C9052D05158F}"/>
              </a:ext>
            </a:extLst>
          </p:cNvPr>
          <p:cNvSpPr>
            <a:spLocks noGrp="1"/>
          </p:cNvSpPr>
          <p:nvPr>
            <p:ph type="body" sz="quarter" idx="14" hasCustomPrompt="1"/>
          </p:nvPr>
        </p:nvSpPr>
        <p:spPr>
          <a:xfrm>
            <a:off x="6096165" y="476931"/>
            <a:ext cx="5741988" cy="323850"/>
          </a:xfrm>
          <a:prstGeom prst="rect">
            <a:avLst/>
          </a:prstGeom>
        </p:spPr>
        <p:txBody>
          <a:bodyPr/>
          <a:lstStyle>
            <a:lvl1pPr marL="0" indent="0" algn="r">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sv-SE"/>
              <a:t>Skriv text här </a:t>
            </a:r>
            <a:r>
              <a:rPr lang="sv-SE" err="1"/>
              <a:t>ämnesrad</a:t>
            </a:r>
            <a:r>
              <a:rPr lang="sv-SE"/>
              <a:t> högerställt</a:t>
            </a:r>
          </a:p>
        </p:txBody>
      </p:sp>
      <p:pic>
        <p:nvPicPr>
          <p:cNvPr id="8" name="Bildobjekt 7">
            <a:extLst>
              <a:ext uri="{FF2B5EF4-FFF2-40B4-BE49-F238E27FC236}">
                <a16:creationId xmlns:a16="http://schemas.microsoft.com/office/drawing/2014/main" id="{58508E11-5073-814D-B2CB-BB40211629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871082" y="5079998"/>
            <a:ext cx="3320917" cy="1778001"/>
          </a:xfrm>
          <a:prstGeom prst="rect">
            <a:avLst/>
          </a:prstGeom>
        </p:spPr>
      </p:pic>
    </p:spTree>
    <p:extLst>
      <p:ext uri="{BB962C8B-B14F-4D97-AF65-F5344CB8AC3E}">
        <p14:creationId xmlns:p14="http://schemas.microsoft.com/office/powerpoint/2010/main" val="176434639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BCE7E41F-F5AB-42BF-88B5-ED5B44A6461E}"/>
              </a:ext>
            </a:extLst>
          </p:cNvPr>
          <p:cNvSpPr>
            <a:spLocks noGrp="1"/>
          </p:cNvSpPr>
          <p:nvPr>
            <p:ph type="title"/>
          </p:nvPr>
        </p:nvSpPr>
        <p:spPr/>
        <p:txBody>
          <a:bodyPr/>
          <a:lstStyle/>
          <a:p>
            <a:r>
              <a:rPr lang="sv-SE"/>
              <a:t>Klicka här för att ändra mall för rubrikformat</a:t>
            </a:r>
          </a:p>
        </p:txBody>
      </p:sp>
      <p:sp>
        <p:nvSpPr>
          <p:cNvPr id="3" name="Text Placeholder 2"/>
          <p:cNvSpPr>
            <a:spLocks noGrp="1"/>
          </p:cNvSpPr>
          <p:nvPr>
            <p:ph type="body" idx="1"/>
          </p:nvPr>
        </p:nvSpPr>
        <p:spPr>
          <a:xfrm>
            <a:off x="407988" y="1588563"/>
            <a:ext cx="527808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Klicka här för att ändra format på bakgrundstexten</a:t>
            </a:r>
          </a:p>
        </p:txBody>
      </p:sp>
      <p:sp>
        <p:nvSpPr>
          <p:cNvPr id="4" name="Content Placeholder 3"/>
          <p:cNvSpPr>
            <a:spLocks noGrp="1"/>
          </p:cNvSpPr>
          <p:nvPr>
            <p:ph sz="half" idx="2"/>
          </p:nvPr>
        </p:nvSpPr>
        <p:spPr>
          <a:xfrm>
            <a:off x="407988" y="2281031"/>
            <a:ext cx="5278080" cy="352468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Text Placeholder 4"/>
          <p:cNvSpPr>
            <a:spLocks noGrp="1"/>
          </p:cNvSpPr>
          <p:nvPr>
            <p:ph type="body" sz="quarter" idx="3"/>
          </p:nvPr>
        </p:nvSpPr>
        <p:spPr>
          <a:xfrm>
            <a:off x="6432000" y="1591385"/>
            <a:ext cx="528000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Klicka här för att ändra format på bakgrundstexten</a:t>
            </a:r>
          </a:p>
        </p:txBody>
      </p:sp>
      <p:sp>
        <p:nvSpPr>
          <p:cNvPr id="6" name="Content Placeholder 5"/>
          <p:cNvSpPr>
            <a:spLocks noGrp="1"/>
          </p:cNvSpPr>
          <p:nvPr>
            <p:ph sz="quarter" idx="4"/>
          </p:nvPr>
        </p:nvSpPr>
        <p:spPr>
          <a:xfrm>
            <a:off x="6432000" y="2281035"/>
            <a:ext cx="5280000" cy="352468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5B0B39BD-A593-4A83-AD46-53A96C2F78AD}"/>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5078841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ubrik + bröd + 1/2 bild">
    <p:spTree>
      <p:nvGrpSpPr>
        <p:cNvPr id="1" name=""/>
        <p:cNvGrpSpPr/>
        <p:nvPr/>
      </p:nvGrpSpPr>
      <p:grpSpPr>
        <a:xfrm>
          <a:off x="0" y="0"/>
          <a:ext cx="0" cy="0"/>
          <a:chOff x="0" y="0"/>
          <a:chExt cx="0" cy="0"/>
        </a:xfrm>
      </p:grpSpPr>
      <p:sp>
        <p:nvSpPr>
          <p:cNvPr id="10" name="Rubrik 1">
            <a:extLst>
              <a:ext uri="{FF2B5EF4-FFF2-40B4-BE49-F238E27FC236}">
                <a16:creationId xmlns:a16="http://schemas.microsoft.com/office/drawing/2014/main" id="{6ED5CFE0-984D-1440-81D3-7A3301225BA8}"/>
              </a:ext>
            </a:extLst>
          </p:cNvPr>
          <p:cNvSpPr>
            <a:spLocks noGrp="1"/>
          </p:cNvSpPr>
          <p:nvPr>
            <p:ph type="ctrTitle" hasCustomPrompt="1"/>
          </p:nvPr>
        </p:nvSpPr>
        <p:spPr>
          <a:xfrm>
            <a:off x="1179968" y="1630951"/>
            <a:ext cx="4245935" cy="785109"/>
          </a:xfrm>
          <a:prstGeom prst="rect">
            <a:avLst/>
          </a:prstGeom>
        </p:spPr>
        <p:txBody>
          <a:bodyPr anchor="t" anchorCtr="0"/>
          <a:lstStyle>
            <a:lvl1pPr algn="l">
              <a:lnSpc>
                <a:spcPts val="4800"/>
              </a:lnSpc>
              <a:defRPr sz="4500" b="0">
                <a:solidFill>
                  <a:schemeClr val="accent1"/>
                </a:solidFill>
                <a:latin typeface="Arial" panose="020B0604020202020204" pitchFamily="34" charset="0"/>
                <a:cs typeface="Arial" panose="020B0604020202020204" pitchFamily="34" charset="0"/>
              </a:defRPr>
            </a:lvl1pPr>
          </a:lstStyle>
          <a:p>
            <a:r>
              <a:rPr lang="sv-SE"/>
              <a:t>Rubrik</a:t>
            </a:r>
          </a:p>
        </p:txBody>
      </p:sp>
      <p:sp>
        <p:nvSpPr>
          <p:cNvPr id="11" name="Underrubrik 2">
            <a:extLst>
              <a:ext uri="{FF2B5EF4-FFF2-40B4-BE49-F238E27FC236}">
                <a16:creationId xmlns:a16="http://schemas.microsoft.com/office/drawing/2014/main" id="{29C31E51-5245-4A4B-8CF0-594F8BBA50E5}"/>
              </a:ext>
            </a:extLst>
          </p:cNvPr>
          <p:cNvSpPr>
            <a:spLocks noGrp="1"/>
          </p:cNvSpPr>
          <p:nvPr>
            <p:ph type="subTitle" idx="1" hasCustomPrompt="1"/>
          </p:nvPr>
        </p:nvSpPr>
        <p:spPr>
          <a:xfrm>
            <a:off x="1211540" y="2416059"/>
            <a:ext cx="4230514" cy="3166213"/>
          </a:xfrm>
          <a:prstGeom prst="rect">
            <a:avLst/>
          </a:prstGeom>
        </p:spPr>
        <p:txBody>
          <a:bodyPr/>
          <a:lstStyle>
            <a:lvl1pPr marL="0" indent="0" algn="l">
              <a:lnSpc>
                <a:spcPts val="2500"/>
              </a:lnSpc>
              <a:spcBef>
                <a:spcPts val="1500"/>
              </a:spcBef>
              <a:buFont typeface="Arial" panose="020B0604020202020204" pitchFamily="34" charset="0"/>
              <a:buNone/>
              <a:tabLst/>
              <a:defRPr sz="20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Brödtext</a:t>
            </a:r>
          </a:p>
        </p:txBody>
      </p:sp>
      <p:sp>
        <p:nvSpPr>
          <p:cNvPr id="12" name="Platshållare för bild 5">
            <a:extLst>
              <a:ext uri="{FF2B5EF4-FFF2-40B4-BE49-F238E27FC236}">
                <a16:creationId xmlns:a16="http://schemas.microsoft.com/office/drawing/2014/main" id="{34F5FB15-D1EE-D842-B32E-F82BCB7DFEBF}"/>
              </a:ext>
            </a:extLst>
          </p:cNvPr>
          <p:cNvSpPr>
            <a:spLocks noGrp="1"/>
          </p:cNvSpPr>
          <p:nvPr>
            <p:ph type="pic" sz="quarter" idx="10"/>
          </p:nvPr>
        </p:nvSpPr>
        <p:spPr>
          <a:xfrm>
            <a:off x="6096000" y="0"/>
            <a:ext cx="6096000" cy="6858000"/>
          </a:xfrm>
          <a:prstGeom prst="rect">
            <a:avLst/>
          </a:prstGeom>
          <a:solidFill>
            <a:schemeClr val="bg2"/>
          </a:solidFill>
        </p:spPr>
        <p:txBody>
          <a:bodyPr lIns="0" tIns="0" rIns="0" bIns="0" anchor="t" anchorCtr="0"/>
          <a:lstStyle>
            <a:lvl1pPr marL="0" indent="0" algn="ctr">
              <a:buNone/>
              <a:defRPr sz="1500">
                <a:latin typeface="Arial" panose="020B0604020202020204" pitchFamily="34" charset="0"/>
                <a:cs typeface="Arial" panose="020B0604020202020204" pitchFamily="34" charset="0"/>
              </a:defRPr>
            </a:lvl1pPr>
          </a:lstStyle>
          <a:p>
            <a:endParaRPr lang="sv-SE"/>
          </a:p>
          <a:p>
            <a:endParaRPr lang="sv-SE"/>
          </a:p>
          <a:p>
            <a:endParaRPr lang="sv-SE"/>
          </a:p>
          <a:p>
            <a:endParaRPr lang="sv-SE"/>
          </a:p>
          <a:p>
            <a:endParaRPr lang="sv-SE"/>
          </a:p>
          <a:p>
            <a:endParaRPr lang="sv-SE"/>
          </a:p>
          <a:p>
            <a:endParaRPr lang="sv-SE"/>
          </a:p>
          <a:p>
            <a:endParaRPr lang="sv-SE"/>
          </a:p>
          <a:p>
            <a:endParaRPr lang="sv-SE"/>
          </a:p>
          <a:p>
            <a:r>
              <a:rPr lang="sv-SE"/>
              <a:t>Klicka på ikonen för att lägga till en bild</a:t>
            </a:r>
          </a:p>
        </p:txBody>
      </p:sp>
      <p:sp>
        <p:nvSpPr>
          <p:cNvPr id="7" name="Platshållare för text 3">
            <a:extLst>
              <a:ext uri="{FF2B5EF4-FFF2-40B4-BE49-F238E27FC236}">
                <a16:creationId xmlns:a16="http://schemas.microsoft.com/office/drawing/2014/main" id="{133BC58F-006E-7745-95D9-60A51C1D4964}"/>
              </a:ext>
            </a:extLst>
          </p:cNvPr>
          <p:cNvSpPr txBox="1">
            <a:spLocks/>
          </p:cNvSpPr>
          <p:nvPr userDrawn="1"/>
        </p:nvSpPr>
        <p:spPr>
          <a:xfrm>
            <a:off x="353847" y="360975"/>
            <a:ext cx="1361464" cy="337302"/>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a:t> </a:t>
            </a:r>
          </a:p>
        </p:txBody>
      </p:sp>
      <p:sp>
        <p:nvSpPr>
          <p:cNvPr id="15" name="Platshållare för text 4">
            <a:extLst>
              <a:ext uri="{FF2B5EF4-FFF2-40B4-BE49-F238E27FC236}">
                <a16:creationId xmlns:a16="http://schemas.microsoft.com/office/drawing/2014/main" id="{7542F1D2-B9C4-8444-A89C-29ECB11F90C8}"/>
              </a:ext>
            </a:extLst>
          </p:cNvPr>
          <p:cNvSpPr>
            <a:spLocks noGrp="1"/>
          </p:cNvSpPr>
          <p:nvPr>
            <p:ph type="body" sz="quarter" idx="11" hasCustomPrompt="1"/>
          </p:nvPr>
        </p:nvSpPr>
        <p:spPr>
          <a:xfrm>
            <a:off x="9672638" y="0"/>
            <a:ext cx="2514919" cy="219165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sv-SE"/>
              <a:t> </a:t>
            </a:r>
          </a:p>
        </p:txBody>
      </p:sp>
    </p:spTree>
    <p:extLst>
      <p:ext uri="{BB962C8B-B14F-4D97-AF65-F5344CB8AC3E}">
        <p14:creationId xmlns:p14="http://schemas.microsoft.com/office/powerpoint/2010/main" val="34873307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ubrik + bröd + 1/2 bild beige">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10" name="Rubrik 1">
            <a:extLst>
              <a:ext uri="{FF2B5EF4-FFF2-40B4-BE49-F238E27FC236}">
                <a16:creationId xmlns:a16="http://schemas.microsoft.com/office/drawing/2014/main" id="{6ED5CFE0-984D-1440-81D3-7A3301225BA8}"/>
              </a:ext>
            </a:extLst>
          </p:cNvPr>
          <p:cNvSpPr>
            <a:spLocks noGrp="1"/>
          </p:cNvSpPr>
          <p:nvPr>
            <p:ph type="ctrTitle" hasCustomPrompt="1"/>
          </p:nvPr>
        </p:nvSpPr>
        <p:spPr>
          <a:xfrm>
            <a:off x="1179968" y="1630951"/>
            <a:ext cx="4245935" cy="785109"/>
          </a:xfrm>
          <a:prstGeom prst="rect">
            <a:avLst/>
          </a:prstGeom>
        </p:spPr>
        <p:txBody>
          <a:bodyPr anchor="t" anchorCtr="0"/>
          <a:lstStyle>
            <a:lvl1pPr algn="l">
              <a:lnSpc>
                <a:spcPts val="4800"/>
              </a:lnSpc>
              <a:defRPr sz="4500" b="0">
                <a:solidFill>
                  <a:schemeClr val="accent1"/>
                </a:solidFill>
                <a:latin typeface="Arial" panose="020B0604020202020204" pitchFamily="34" charset="0"/>
                <a:cs typeface="Arial" panose="020B0604020202020204" pitchFamily="34" charset="0"/>
              </a:defRPr>
            </a:lvl1pPr>
          </a:lstStyle>
          <a:p>
            <a:r>
              <a:rPr lang="sv-SE"/>
              <a:t>Rubrik</a:t>
            </a:r>
          </a:p>
        </p:txBody>
      </p:sp>
      <p:sp>
        <p:nvSpPr>
          <p:cNvPr id="11" name="Underrubrik 2">
            <a:extLst>
              <a:ext uri="{FF2B5EF4-FFF2-40B4-BE49-F238E27FC236}">
                <a16:creationId xmlns:a16="http://schemas.microsoft.com/office/drawing/2014/main" id="{29C31E51-5245-4A4B-8CF0-594F8BBA50E5}"/>
              </a:ext>
            </a:extLst>
          </p:cNvPr>
          <p:cNvSpPr>
            <a:spLocks noGrp="1"/>
          </p:cNvSpPr>
          <p:nvPr>
            <p:ph type="subTitle" idx="1" hasCustomPrompt="1"/>
          </p:nvPr>
        </p:nvSpPr>
        <p:spPr>
          <a:xfrm>
            <a:off x="1211540" y="2416059"/>
            <a:ext cx="4230514" cy="3166213"/>
          </a:xfrm>
          <a:prstGeom prst="rect">
            <a:avLst/>
          </a:prstGeom>
        </p:spPr>
        <p:txBody>
          <a:bodyPr/>
          <a:lstStyle>
            <a:lvl1pPr marL="0" indent="0" algn="l">
              <a:lnSpc>
                <a:spcPts val="2500"/>
              </a:lnSpc>
              <a:spcBef>
                <a:spcPts val="1500"/>
              </a:spcBef>
              <a:buFont typeface="Arial" panose="020B0604020202020204" pitchFamily="34" charset="0"/>
              <a:buNone/>
              <a:tabLst/>
              <a:defRPr sz="20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Brödtext</a:t>
            </a:r>
          </a:p>
        </p:txBody>
      </p:sp>
      <p:sp>
        <p:nvSpPr>
          <p:cNvPr id="12" name="Platshållare för bild 5">
            <a:extLst>
              <a:ext uri="{FF2B5EF4-FFF2-40B4-BE49-F238E27FC236}">
                <a16:creationId xmlns:a16="http://schemas.microsoft.com/office/drawing/2014/main" id="{34F5FB15-D1EE-D842-B32E-F82BCB7DFEBF}"/>
              </a:ext>
            </a:extLst>
          </p:cNvPr>
          <p:cNvSpPr>
            <a:spLocks noGrp="1"/>
          </p:cNvSpPr>
          <p:nvPr>
            <p:ph type="pic" sz="quarter" idx="10"/>
          </p:nvPr>
        </p:nvSpPr>
        <p:spPr>
          <a:xfrm>
            <a:off x="6096000" y="0"/>
            <a:ext cx="6096000" cy="6858000"/>
          </a:xfrm>
          <a:prstGeom prst="rect">
            <a:avLst/>
          </a:prstGeom>
          <a:solidFill>
            <a:schemeClr val="bg2"/>
          </a:solidFill>
        </p:spPr>
        <p:txBody>
          <a:bodyPr lIns="0" tIns="0" rIns="0" bIns="0" anchor="t" anchorCtr="0"/>
          <a:lstStyle>
            <a:lvl1pPr marL="0" indent="0" algn="ctr">
              <a:buNone/>
              <a:defRPr sz="1500">
                <a:latin typeface="Arial" panose="020B0604020202020204" pitchFamily="34" charset="0"/>
                <a:cs typeface="Arial" panose="020B0604020202020204" pitchFamily="34" charset="0"/>
              </a:defRPr>
            </a:lvl1pPr>
          </a:lstStyle>
          <a:p>
            <a:endParaRPr lang="sv-SE"/>
          </a:p>
          <a:p>
            <a:endParaRPr lang="sv-SE"/>
          </a:p>
          <a:p>
            <a:endParaRPr lang="sv-SE"/>
          </a:p>
          <a:p>
            <a:endParaRPr lang="sv-SE"/>
          </a:p>
          <a:p>
            <a:endParaRPr lang="sv-SE"/>
          </a:p>
          <a:p>
            <a:endParaRPr lang="sv-SE"/>
          </a:p>
          <a:p>
            <a:endParaRPr lang="sv-SE"/>
          </a:p>
          <a:p>
            <a:endParaRPr lang="sv-SE"/>
          </a:p>
          <a:p>
            <a:endParaRPr lang="sv-SE"/>
          </a:p>
          <a:p>
            <a:r>
              <a:rPr lang="sv-SE"/>
              <a:t>Klicka på ikonen för att lägga till en bild</a:t>
            </a:r>
          </a:p>
        </p:txBody>
      </p:sp>
      <p:sp>
        <p:nvSpPr>
          <p:cNvPr id="7" name="Platshållare för text 3">
            <a:extLst>
              <a:ext uri="{FF2B5EF4-FFF2-40B4-BE49-F238E27FC236}">
                <a16:creationId xmlns:a16="http://schemas.microsoft.com/office/drawing/2014/main" id="{133BC58F-006E-7745-95D9-60A51C1D4964}"/>
              </a:ext>
            </a:extLst>
          </p:cNvPr>
          <p:cNvSpPr txBox="1">
            <a:spLocks/>
          </p:cNvSpPr>
          <p:nvPr userDrawn="1"/>
        </p:nvSpPr>
        <p:spPr>
          <a:xfrm>
            <a:off x="353847" y="360975"/>
            <a:ext cx="1361464" cy="337302"/>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a:t> </a:t>
            </a:r>
          </a:p>
        </p:txBody>
      </p:sp>
      <p:sp>
        <p:nvSpPr>
          <p:cNvPr id="15" name="Platshållare för text 4">
            <a:extLst>
              <a:ext uri="{FF2B5EF4-FFF2-40B4-BE49-F238E27FC236}">
                <a16:creationId xmlns:a16="http://schemas.microsoft.com/office/drawing/2014/main" id="{7542F1D2-B9C4-8444-A89C-29ECB11F90C8}"/>
              </a:ext>
            </a:extLst>
          </p:cNvPr>
          <p:cNvSpPr>
            <a:spLocks noGrp="1"/>
          </p:cNvSpPr>
          <p:nvPr>
            <p:ph type="body" sz="quarter" idx="11" hasCustomPrompt="1"/>
          </p:nvPr>
        </p:nvSpPr>
        <p:spPr>
          <a:xfrm>
            <a:off x="9672638" y="0"/>
            <a:ext cx="2514919" cy="219165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sv-SE"/>
              <a:t> </a:t>
            </a:r>
          </a:p>
        </p:txBody>
      </p:sp>
    </p:spTree>
    <p:extLst>
      <p:ext uri="{BB962C8B-B14F-4D97-AF65-F5344CB8AC3E}">
        <p14:creationId xmlns:p14="http://schemas.microsoft.com/office/powerpoint/2010/main" val="165563601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80474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Logo + beige">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5" name="Platshållare för text 3">
            <a:extLst>
              <a:ext uri="{FF2B5EF4-FFF2-40B4-BE49-F238E27FC236}">
                <a16:creationId xmlns:a16="http://schemas.microsoft.com/office/drawing/2014/main" id="{86F3C041-FB4F-654C-8A93-43FB8C1C4EC3}"/>
              </a:ext>
            </a:extLst>
          </p:cNvPr>
          <p:cNvSpPr txBox="1">
            <a:spLocks/>
          </p:cNvSpPr>
          <p:nvPr userDrawn="1"/>
        </p:nvSpPr>
        <p:spPr>
          <a:xfrm>
            <a:off x="353847" y="360975"/>
            <a:ext cx="1361464" cy="337302"/>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a:t> </a:t>
            </a:r>
          </a:p>
        </p:txBody>
      </p:sp>
    </p:spTree>
    <p:extLst>
      <p:ext uri="{BB962C8B-B14F-4D97-AF65-F5344CB8AC3E}">
        <p14:creationId xmlns:p14="http://schemas.microsoft.com/office/powerpoint/2010/main" val="14795211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p:nvPr>
        </p:nvSpPr>
        <p:spPr/>
        <p:txBody>
          <a:bodyPr/>
          <a:lstStyle/>
          <a:p>
            <a:r>
              <a:rPr lang="sv-SE" noProof="0"/>
              <a:t>Klicka här för att ändra mall för rubrikformat</a:t>
            </a:r>
            <a:endParaRPr lang="en-GB" noProof="0"/>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6725"/>
            <a:ext cx="10069200" cy="403200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GB" noProof="0"/>
          </a:p>
        </p:txBody>
      </p:sp>
      <p:sp>
        <p:nvSpPr>
          <p:cNvPr id="4" name="Platshållare för bildnummer 1">
            <a:extLst>
              <a:ext uri="{FF2B5EF4-FFF2-40B4-BE49-F238E27FC236}">
                <a16:creationId xmlns:a16="http://schemas.microsoft.com/office/drawing/2014/main" id="{A9AE8404-007D-48CA-8C80-C5CB0F095ED5}"/>
              </a:ext>
            </a:extLst>
          </p:cNvPr>
          <p:cNvSpPr>
            <a:spLocks noGrp="1"/>
          </p:cNvSpPr>
          <p:nvPr>
            <p:ph type="sldNum" sz="quarter" idx="4"/>
          </p:nvPr>
        </p:nvSpPr>
        <p:spPr>
          <a:xfrm>
            <a:off x="11136000" y="6453187"/>
            <a:ext cx="643250" cy="144463"/>
          </a:xfrm>
          <a:prstGeom prst="rect">
            <a:avLst/>
          </a:prstGeom>
        </p:spPr>
        <p:txBody>
          <a:bodyPr vert="horz" lIns="0" tIns="180000" rIns="0" bIns="0" rtlCol="0" anchor="b" anchorCtr="0"/>
          <a:lstStyle>
            <a:lvl1pPr algn="r">
              <a:defRPr sz="1000" b="1">
                <a:solidFill>
                  <a:schemeClr val="tx1">
                    <a:lumMod val="95000"/>
                    <a:lumOff val="5000"/>
                  </a:schemeClr>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12946360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rt/Slutbild">
    <p:spTree>
      <p:nvGrpSpPr>
        <p:cNvPr id="1" name=""/>
        <p:cNvGrpSpPr/>
        <p:nvPr/>
      </p:nvGrpSpPr>
      <p:grpSpPr>
        <a:xfrm>
          <a:off x="0" y="0"/>
          <a:ext cx="0" cy="0"/>
          <a:chOff x="0" y="0"/>
          <a:chExt cx="0" cy="0"/>
        </a:xfrm>
      </p:grpSpPr>
      <p:pic>
        <p:nvPicPr>
          <p:cNvPr id="5" name="Bildobjekt 4" descr="En bild som visar gräs, växt&#10;&#10;Automatiskt genererad beskrivning">
            <a:extLst>
              <a:ext uri="{FF2B5EF4-FFF2-40B4-BE49-F238E27FC236}">
                <a16:creationId xmlns:a16="http://schemas.microsoft.com/office/drawing/2014/main" id="{8C0133CC-99DC-4A52-ACF4-CA1F05ED872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1" name="Bildobjekt 10">
            <a:extLst>
              <a:ext uri="{FF2B5EF4-FFF2-40B4-BE49-F238E27FC236}">
                <a16:creationId xmlns:a16="http://schemas.microsoft.com/office/drawing/2014/main" id="{D3099506-DA51-4A73-8057-D2F1696C7C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089904"/>
            <a:ext cx="12192000" cy="768096"/>
          </a:xfrm>
          <a:prstGeom prst="rect">
            <a:avLst/>
          </a:prstGeom>
        </p:spPr>
      </p:pic>
      <p:sp>
        <p:nvSpPr>
          <p:cNvPr id="2" name="Rubrik 1">
            <a:extLst>
              <a:ext uri="{FF2B5EF4-FFF2-40B4-BE49-F238E27FC236}">
                <a16:creationId xmlns:a16="http://schemas.microsoft.com/office/drawing/2014/main" id="{61F6FBE9-C579-4954-AF87-8F3074C239BC}"/>
              </a:ext>
            </a:extLst>
          </p:cNvPr>
          <p:cNvSpPr>
            <a:spLocks noGrp="1"/>
          </p:cNvSpPr>
          <p:nvPr>
            <p:ph type="ctrTitle" hasCustomPrompt="1"/>
          </p:nvPr>
        </p:nvSpPr>
        <p:spPr>
          <a:xfrm>
            <a:off x="1524000" y="1735565"/>
            <a:ext cx="9144000" cy="1638000"/>
          </a:xfrm>
        </p:spPr>
        <p:txBody>
          <a:bodyPr anchor="b">
            <a:normAutofit/>
          </a:bodyPr>
          <a:lstStyle>
            <a:lvl1pPr algn="ctr">
              <a:defRPr sz="5400" b="1" spc="0" baseline="0">
                <a:solidFill>
                  <a:schemeClr val="bg1"/>
                </a:solidFill>
              </a:defRPr>
            </a:lvl1pPr>
          </a:lstStyle>
          <a:p>
            <a:r>
              <a:rPr lang="sv-SE"/>
              <a:t>Du kan byta </a:t>
            </a:r>
            <a:r>
              <a:rPr lang="sv-SE" err="1"/>
              <a:t>startbild</a:t>
            </a:r>
            <a:r>
              <a:rPr lang="sv-SE"/>
              <a:t> via fliken Start - Layout</a:t>
            </a:r>
          </a:p>
        </p:txBody>
      </p:sp>
      <p:sp>
        <p:nvSpPr>
          <p:cNvPr id="3" name="Underrubrik 2">
            <a:extLst>
              <a:ext uri="{FF2B5EF4-FFF2-40B4-BE49-F238E27FC236}">
                <a16:creationId xmlns:a16="http://schemas.microsoft.com/office/drawing/2014/main" id="{976DF36A-9F88-44BB-9A31-7159A0A3FAFC}"/>
              </a:ext>
            </a:extLst>
          </p:cNvPr>
          <p:cNvSpPr>
            <a:spLocks noGrp="1"/>
          </p:cNvSpPr>
          <p:nvPr>
            <p:ph type="subTitle" idx="1"/>
          </p:nvPr>
        </p:nvSpPr>
        <p:spPr>
          <a:xfrm>
            <a:off x="1524000" y="3449637"/>
            <a:ext cx="9144000" cy="1095469"/>
          </a:xfrm>
        </p:spPr>
        <p:txBody>
          <a:bodyPr>
            <a:normAutofit/>
          </a:bodyPr>
          <a:lstStyle>
            <a:lvl1pPr marL="0" indent="0" algn="ctr">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9" name="Ange datum">
            <a:extLst>
              <a:ext uri="{FF2B5EF4-FFF2-40B4-BE49-F238E27FC236}">
                <a16:creationId xmlns:a16="http://schemas.microsoft.com/office/drawing/2014/main" id="{EB85CE99-9EF7-4D7D-8234-931C747269F0}"/>
              </a:ext>
            </a:extLst>
          </p:cNvPr>
          <p:cNvSpPr>
            <a:spLocks noGrp="1"/>
          </p:cNvSpPr>
          <p:nvPr>
            <p:ph type="body" sz="quarter" idx="11" hasCustomPrompt="1"/>
          </p:nvPr>
        </p:nvSpPr>
        <p:spPr>
          <a:xfrm>
            <a:off x="4724400" y="4690750"/>
            <a:ext cx="2743200" cy="432000"/>
          </a:xfrm>
        </p:spPr>
        <p:txBody>
          <a:bodyPr>
            <a:noAutofit/>
          </a:bodyPr>
          <a:lstStyle>
            <a:lvl1pPr marL="0" indent="0" algn="ctr">
              <a:buNone/>
              <a:defRPr sz="24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sv-SE"/>
              <a:t>Ange datum</a:t>
            </a:r>
          </a:p>
        </p:txBody>
      </p:sp>
      <p:sp>
        <p:nvSpPr>
          <p:cNvPr id="8" name="textruta 7">
            <a:extLst>
              <a:ext uri="{FF2B5EF4-FFF2-40B4-BE49-F238E27FC236}">
                <a16:creationId xmlns:a16="http://schemas.microsoft.com/office/drawing/2014/main" id="{A842D1FD-CD96-48D5-93F5-F88B8629571C}"/>
              </a:ext>
            </a:extLst>
          </p:cNvPr>
          <p:cNvSpPr txBox="1"/>
          <p:nvPr userDrawn="1"/>
        </p:nvSpPr>
        <p:spPr>
          <a:xfrm>
            <a:off x="10174942" y="6330783"/>
            <a:ext cx="1846729" cy="276999"/>
          </a:xfrm>
          <a:prstGeom prst="rect">
            <a:avLst/>
          </a:prstGeom>
          <a:noFill/>
        </p:spPr>
        <p:txBody>
          <a:bodyPr wrap="square" rtlCol="0">
            <a:spAutoFit/>
          </a:bodyPr>
          <a:lstStyle/>
          <a:p>
            <a:r>
              <a:rPr lang="sv-SE" sz="1200">
                <a:solidFill>
                  <a:srgbClr val="545454"/>
                </a:solidFill>
              </a:rPr>
              <a:t>En del av Göteborgs Stad</a:t>
            </a:r>
          </a:p>
        </p:txBody>
      </p:sp>
      <p:pic>
        <p:nvPicPr>
          <p:cNvPr id="10" name="Logo"/>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27070" y="6316282"/>
            <a:ext cx="1926952" cy="306000"/>
          </a:xfrm>
          <a:prstGeom prst="rect">
            <a:avLst/>
          </a:prstGeom>
        </p:spPr>
      </p:pic>
    </p:spTree>
    <p:extLst>
      <p:ext uri="{BB962C8B-B14F-4D97-AF65-F5344CB8AC3E}">
        <p14:creationId xmlns:p14="http://schemas.microsoft.com/office/powerpoint/2010/main" val="2500921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44F5DB-CE3E-46A2-ADAD-92FD689A72E7}"/>
              </a:ext>
            </a:extLst>
          </p:cNvPr>
          <p:cNvSpPr>
            <a:spLocks noGrp="1"/>
          </p:cNvSpPr>
          <p:nvPr>
            <p:ph type="title"/>
          </p:nvPr>
        </p:nvSpPr>
        <p:spPr/>
        <p:txBody>
          <a:bodyPr/>
          <a:lstStyle>
            <a:lvl1pPr>
              <a:defRPr spc="0" baseline="0">
                <a:solidFill>
                  <a:schemeClr val="accent2"/>
                </a:solidFill>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9A8E50B2-E541-42A2-B775-A0B3A59F20B1}"/>
              </a:ext>
            </a:extLst>
          </p:cNvPr>
          <p:cNvSpPr>
            <a:spLocks noGrp="1"/>
          </p:cNvSpPr>
          <p:nvPr>
            <p:ph idx="1"/>
          </p:nvPr>
        </p:nvSpPr>
        <p:spPr/>
        <p:txBody>
          <a:bodyPr/>
          <a:lstStyle>
            <a:lvl1pPr>
              <a:spcBef>
                <a:spcPts val="2000"/>
              </a:spcBef>
              <a:defRPr/>
            </a:lvl1pPr>
            <a:lvl2pPr>
              <a:defRPr sz="2000"/>
            </a:lvl2pPr>
            <a:lvl3pPr>
              <a:defRPr sz="2000"/>
            </a:lvl3pPr>
            <a:lvl4pPr>
              <a:defRPr sz="2000"/>
            </a:lvl4pPr>
            <a:lvl5pPr>
              <a:defRPr sz="20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0887356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1F6FBE9-C579-4954-AF87-8F3074C239BC}"/>
              </a:ext>
            </a:extLst>
          </p:cNvPr>
          <p:cNvSpPr>
            <a:spLocks noGrp="1"/>
          </p:cNvSpPr>
          <p:nvPr>
            <p:ph type="ctrTitle"/>
          </p:nvPr>
        </p:nvSpPr>
        <p:spPr>
          <a:xfrm>
            <a:off x="1524000" y="1735565"/>
            <a:ext cx="9144000" cy="1638000"/>
          </a:xfrm>
        </p:spPr>
        <p:txBody>
          <a:bodyPr anchor="b">
            <a:normAutofit/>
          </a:bodyPr>
          <a:lstStyle>
            <a:lvl1pPr algn="ctr">
              <a:defRPr sz="5400" b="1" spc="0" baseline="0">
                <a:solidFill>
                  <a:schemeClr val="accent2"/>
                </a:solidFill>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976DF36A-9F88-44BB-9A31-7159A0A3FAFC}"/>
              </a:ext>
            </a:extLst>
          </p:cNvPr>
          <p:cNvSpPr>
            <a:spLocks noGrp="1"/>
          </p:cNvSpPr>
          <p:nvPr>
            <p:ph type="subTitle" idx="1"/>
          </p:nvPr>
        </p:nvSpPr>
        <p:spPr>
          <a:xfrm>
            <a:off x="1524000" y="3449637"/>
            <a:ext cx="9144000" cy="1095469"/>
          </a:xfrm>
        </p:spPr>
        <p:txBody>
          <a:bodyPr>
            <a:normAutofit/>
          </a:bodyPr>
          <a:lstStyle>
            <a:lvl1pPr marL="0" indent="0" algn="ctr">
              <a:buNone/>
              <a:defRPr sz="32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36892154-D568-4587-BBEB-81D42FA81C07}"/>
              </a:ext>
            </a:extLst>
          </p:cNvPr>
          <p:cNvSpPr>
            <a:spLocks noGrp="1"/>
          </p:cNvSpPr>
          <p:nvPr>
            <p:ph type="dt" sz="half" idx="10"/>
          </p:nvPr>
        </p:nvSpPr>
        <p:spPr>
          <a:xfrm>
            <a:off x="4652683" y="4690751"/>
            <a:ext cx="2743200" cy="365125"/>
          </a:xfrm>
          <a:prstGeom prst="rect">
            <a:avLst/>
          </a:prstGeom>
        </p:spPr>
        <p:txBody>
          <a:bodyPr/>
          <a:lstStyle>
            <a:lvl1pPr algn="ctr">
              <a:defRPr sz="2400">
                <a:solidFill>
                  <a:schemeClr val="accent2"/>
                </a:solidFill>
              </a:defRPr>
            </a:lvl1pPr>
          </a:lstStyle>
          <a:p>
            <a:endParaRPr lang="sv-SE"/>
          </a:p>
        </p:txBody>
      </p:sp>
    </p:spTree>
    <p:extLst>
      <p:ext uri="{BB962C8B-B14F-4D97-AF65-F5344CB8AC3E}">
        <p14:creationId xmlns:p14="http://schemas.microsoft.com/office/powerpoint/2010/main" val="740122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ubrik och punktlis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44F5DB-CE3E-46A2-ADAD-92FD689A72E7}"/>
              </a:ext>
            </a:extLst>
          </p:cNvPr>
          <p:cNvSpPr>
            <a:spLocks noGrp="1"/>
          </p:cNvSpPr>
          <p:nvPr>
            <p:ph type="title"/>
          </p:nvPr>
        </p:nvSpPr>
        <p:spPr>
          <a:xfrm>
            <a:off x="1057689" y="1072800"/>
            <a:ext cx="10076400" cy="986400"/>
          </a:xfrm>
        </p:spPr>
        <p:txBody>
          <a:bodyPr/>
          <a:lstStyle>
            <a:lvl1pPr>
              <a:defRPr spc="0" baseline="0">
                <a:solidFill>
                  <a:schemeClr val="accent2"/>
                </a:solidFill>
              </a:defRPr>
            </a:lvl1pPr>
          </a:lstStyle>
          <a:p>
            <a:r>
              <a:rPr lang="sv-SE"/>
              <a:t>Klicka här för att ändra mall för rubrikformat</a:t>
            </a:r>
          </a:p>
        </p:txBody>
      </p:sp>
      <p:sp>
        <p:nvSpPr>
          <p:cNvPr id="7" name="Platshållare för text 6">
            <a:extLst>
              <a:ext uri="{FF2B5EF4-FFF2-40B4-BE49-F238E27FC236}">
                <a16:creationId xmlns:a16="http://schemas.microsoft.com/office/drawing/2014/main" id="{B4F7D4FB-8F14-46C4-A42A-1C2F32553C5B}"/>
              </a:ext>
            </a:extLst>
          </p:cNvPr>
          <p:cNvSpPr>
            <a:spLocks noGrp="1"/>
          </p:cNvSpPr>
          <p:nvPr>
            <p:ph type="body" sz="quarter" idx="10"/>
          </p:nvPr>
        </p:nvSpPr>
        <p:spPr>
          <a:xfrm>
            <a:off x="1057275" y="2142000"/>
            <a:ext cx="10077450" cy="3726000"/>
          </a:xfrm>
        </p:spPr>
        <p:txBody>
          <a:bodyPr vert="horz" lIns="91440" tIns="45720" rIns="91440" bIns="45720" rtlCol="0">
            <a:normAutofit/>
          </a:bodyPr>
          <a:lstStyle>
            <a:lvl1pPr>
              <a:defRPr lang="sv-SE" sz="2000" kern="1200" dirty="0">
                <a:solidFill>
                  <a:schemeClr val="tx1"/>
                </a:solidFill>
                <a:latin typeface="+mn-lt"/>
                <a:ea typeface="+mn-ea"/>
                <a:cs typeface="+mn-cs"/>
              </a:defRPr>
            </a:lvl1pPr>
            <a:lvl2pPr>
              <a:defRPr lang="sv-SE" dirty="0"/>
            </a:lvl2pPr>
            <a:lvl3pPr>
              <a:defRPr lang="sv-SE" dirty="0"/>
            </a:lvl3pPr>
            <a:lvl4pPr>
              <a:defRPr lang="sv-SE" dirty="0"/>
            </a:lvl4pPr>
            <a:lvl5pPr>
              <a:defRPr lang="sv-SE" dirty="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0678204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44F5DB-CE3E-46A2-ADAD-92FD689A72E7}"/>
              </a:ext>
            </a:extLst>
          </p:cNvPr>
          <p:cNvSpPr>
            <a:spLocks noGrp="1"/>
          </p:cNvSpPr>
          <p:nvPr>
            <p:ph type="title"/>
          </p:nvPr>
        </p:nvSpPr>
        <p:spPr/>
        <p:txBody>
          <a:bodyPr/>
          <a:lstStyle>
            <a:lvl1pPr>
              <a:defRPr spc="0" baseline="0">
                <a:solidFill>
                  <a:schemeClr val="accent2"/>
                </a:solidFill>
              </a:defRPr>
            </a:lvl1pPr>
          </a:lstStyle>
          <a:p>
            <a:r>
              <a:rPr lang="sv-SE"/>
              <a:t>Klicka här för att ändra mall för rubrikformat</a:t>
            </a:r>
          </a:p>
        </p:txBody>
      </p:sp>
    </p:spTree>
    <p:extLst>
      <p:ext uri="{BB962C8B-B14F-4D97-AF65-F5344CB8AC3E}">
        <p14:creationId xmlns:p14="http://schemas.microsoft.com/office/powerpoint/2010/main" val="3304405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mall för rubrikformat</a:t>
            </a:r>
          </a:p>
        </p:txBody>
      </p:sp>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1839825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44F5DB-CE3E-46A2-ADAD-92FD689A72E7}"/>
              </a:ext>
            </a:extLst>
          </p:cNvPr>
          <p:cNvSpPr>
            <a:spLocks noGrp="1"/>
          </p:cNvSpPr>
          <p:nvPr>
            <p:ph type="title" hasCustomPrompt="1"/>
          </p:nvPr>
        </p:nvSpPr>
        <p:spPr>
          <a:xfrm>
            <a:off x="1057689" y="1072800"/>
            <a:ext cx="5038311" cy="986400"/>
          </a:xfrm>
        </p:spPr>
        <p:txBody>
          <a:bodyPr/>
          <a:lstStyle>
            <a:lvl1pPr>
              <a:defRPr spc="0" baseline="0">
                <a:solidFill>
                  <a:schemeClr val="accent2"/>
                </a:solidFill>
              </a:defRPr>
            </a:lvl1pPr>
          </a:lstStyle>
          <a:p>
            <a:r>
              <a:rPr lang="sv-SE"/>
              <a:t>Rubrik</a:t>
            </a:r>
          </a:p>
        </p:txBody>
      </p:sp>
      <p:sp>
        <p:nvSpPr>
          <p:cNvPr id="7" name="Platshållare för text 6">
            <a:extLst>
              <a:ext uri="{FF2B5EF4-FFF2-40B4-BE49-F238E27FC236}">
                <a16:creationId xmlns:a16="http://schemas.microsoft.com/office/drawing/2014/main" id="{B4F7D4FB-8F14-46C4-A42A-1C2F32553C5B}"/>
              </a:ext>
            </a:extLst>
          </p:cNvPr>
          <p:cNvSpPr>
            <a:spLocks noGrp="1"/>
          </p:cNvSpPr>
          <p:nvPr>
            <p:ph type="body" sz="quarter" idx="10"/>
          </p:nvPr>
        </p:nvSpPr>
        <p:spPr>
          <a:xfrm>
            <a:off x="1057275" y="2142000"/>
            <a:ext cx="5038725" cy="3734925"/>
          </a:xfrm>
        </p:spPr>
        <p:txBody>
          <a:bodyPr/>
          <a:lstStyle>
            <a:lvl1pPr>
              <a:spcBef>
                <a:spcPts val="2000"/>
              </a:spcBef>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Platshållare för innehåll 8">
            <a:extLst>
              <a:ext uri="{FF2B5EF4-FFF2-40B4-BE49-F238E27FC236}">
                <a16:creationId xmlns:a16="http://schemas.microsoft.com/office/drawing/2014/main" id="{0EF3484F-C0EB-4C8E-AD2E-628D125978F4}"/>
              </a:ext>
            </a:extLst>
          </p:cNvPr>
          <p:cNvSpPr>
            <a:spLocks noGrp="1"/>
          </p:cNvSpPr>
          <p:nvPr>
            <p:ph sz="quarter" idx="11" hasCustomPrompt="1"/>
          </p:nvPr>
        </p:nvSpPr>
        <p:spPr>
          <a:xfrm>
            <a:off x="6657975" y="1052513"/>
            <a:ext cx="4478338" cy="4824412"/>
          </a:xfrm>
        </p:spPr>
        <p:txBody>
          <a:bodyPr/>
          <a:lstStyle>
            <a:lvl1pPr marL="0" indent="0">
              <a:buNone/>
              <a:defRPr baseline="0"/>
            </a:lvl1pPr>
          </a:lstStyle>
          <a:p>
            <a:pPr lvl="0"/>
            <a:r>
              <a:rPr lang="sv-SE"/>
              <a:t>Använd denna rutan för främst diagram, tabell eller </a:t>
            </a:r>
            <a:r>
              <a:rPr lang="sv-SE" err="1"/>
              <a:t>SmartArt</a:t>
            </a:r>
            <a:r>
              <a:rPr lang="sv-SE"/>
              <a:t>. Klicka på ikonerna nedan…</a:t>
            </a:r>
          </a:p>
        </p:txBody>
      </p:sp>
    </p:spTree>
    <p:extLst>
      <p:ext uri="{BB962C8B-B14F-4D97-AF65-F5344CB8AC3E}">
        <p14:creationId xmlns:p14="http://schemas.microsoft.com/office/powerpoint/2010/main" val="39595281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84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ch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44F5DB-CE3E-46A2-ADAD-92FD689A72E7}"/>
              </a:ext>
            </a:extLst>
          </p:cNvPr>
          <p:cNvSpPr>
            <a:spLocks noGrp="1"/>
          </p:cNvSpPr>
          <p:nvPr>
            <p:ph type="title" hasCustomPrompt="1"/>
          </p:nvPr>
        </p:nvSpPr>
        <p:spPr>
          <a:xfrm>
            <a:off x="1057689" y="1072800"/>
            <a:ext cx="5352943" cy="986400"/>
          </a:xfrm>
        </p:spPr>
        <p:txBody>
          <a:bodyPr anchor="t" anchorCtr="0"/>
          <a:lstStyle>
            <a:lvl1pPr>
              <a:defRPr spc="0" baseline="0">
                <a:solidFill>
                  <a:schemeClr val="accent2"/>
                </a:solidFill>
              </a:defRPr>
            </a:lvl1pPr>
          </a:lstStyle>
          <a:p>
            <a:r>
              <a:rPr lang="sv-SE"/>
              <a:t>Rubrik</a:t>
            </a:r>
          </a:p>
        </p:txBody>
      </p:sp>
      <p:sp>
        <p:nvSpPr>
          <p:cNvPr id="7" name="Platshållare för text 6">
            <a:extLst>
              <a:ext uri="{FF2B5EF4-FFF2-40B4-BE49-F238E27FC236}">
                <a16:creationId xmlns:a16="http://schemas.microsoft.com/office/drawing/2014/main" id="{B4F7D4FB-8F14-46C4-A42A-1C2F32553C5B}"/>
              </a:ext>
            </a:extLst>
          </p:cNvPr>
          <p:cNvSpPr>
            <a:spLocks noGrp="1"/>
          </p:cNvSpPr>
          <p:nvPr>
            <p:ph type="body" sz="quarter" idx="10"/>
          </p:nvPr>
        </p:nvSpPr>
        <p:spPr>
          <a:xfrm>
            <a:off x="1057274" y="2143432"/>
            <a:ext cx="5353358" cy="3724568"/>
          </a:xfrm>
        </p:spPr>
        <p:txBody>
          <a:bodyPr/>
          <a:lstStyle>
            <a:lvl1pPr>
              <a:spcBef>
                <a:spcPts val="2000"/>
              </a:spcBef>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bild 3"/>
          <p:cNvSpPr>
            <a:spLocks noGrp="1"/>
          </p:cNvSpPr>
          <p:nvPr>
            <p:ph type="pic" sz="quarter" idx="12" hasCustomPrompt="1"/>
          </p:nvPr>
        </p:nvSpPr>
        <p:spPr>
          <a:xfrm>
            <a:off x="6624000" y="1072800"/>
            <a:ext cx="4512313" cy="4791600"/>
          </a:xfrm>
        </p:spPr>
        <p:txBody>
          <a:bodyPr anchor="ctr" anchorCtr="0">
            <a:normAutofit/>
          </a:bodyPr>
          <a:lstStyle>
            <a:lvl1pPr marL="0" indent="0" algn="ctr">
              <a:buNone/>
              <a:defRPr sz="1800"/>
            </a:lvl1pPr>
          </a:lstStyle>
          <a:p>
            <a:r>
              <a:rPr lang="sv-SE"/>
              <a:t>Klicka på ikonen </a:t>
            </a:r>
            <a:br>
              <a:rPr lang="sv-SE"/>
            </a:br>
            <a:br>
              <a:rPr lang="sv-SE"/>
            </a:br>
            <a:br>
              <a:rPr lang="sv-SE"/>
            </a:br>
            <a:r>
              <a:rPr lang="sv-SE"/>
              <a:t>för att infoga en bild</a:t>
            </a:r>
          </a:p>
        </p:txBody>
      </p:sp>
    </p:spTree>
    <p:extLst>
      <p:ext uri="{BB962C8B-B14F-4D97-AF65-F5344CB8AC3E}">
        <p14:creationId xmlns:p14="http://schemas.microsoft.com/office/powerpoint/2010/main" val="39555699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ch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44F5DB-CE3E-46A2-ADAD-92FD689A72E7}"/>
              </a:ext>
            </a:extLst>
          </p:cNvPr>
          <p:cNvSpPr>
            <a:spLocks noGrp="1"/>
          </p:cNvSpPr>
          <p:nvPr>
            <p:ph type="title" hasCustomPrompt="1"/>
          </p:nvPr>
        </p:nvSpPr>
        <p:spPr>
          <a:xfrm>
            <a:off x="6001458" y="1072800"/>
            <a:ext cx="5134856" cy="986400"/>
          </a:xfrm>
        </p:spPr>
        <p:txBody>
          <a:bodyPr anchor="t" anchorCtr="0"/>
          <a:lstStyle>
            <a:lvl1pPr>
              <a:defRPr spc="0" baseline="0">
                <a:solidFill>
                  <a:schemeClr val="accent2"/>
                </a:solidFill>
              </a:defRPr>
            </a:lvl1pPr>
          </a:lstStyle>
          <a:p>
            <a:r>
              <a:rPr lang="sv-SE"/>
              <a:t>Rubrik</a:t>
            </a:r>
          </a:p>
        </p:txBody>
      </p:sp>
      <p:sp>
        <p:nvSpPr>
          <p:cNvPr id="7" name="Platshållare för text 6">
            <a:extLst>
              <a:ext uri="{FF2B5EF4-FFF2-40B4-BE49-F238E27FC236}">
                <a16:creationId xmlns:a16="http://schemas.microsoft.com/office/drawing/2014/main" id="{B4F7D4FB-8F14-46C4-A42A-1C2F32553C5B}"/>
              </a:ext>
            </a:extLst>
          </p:cNvPr>
          <p:cNvSpPr>
            <a:spLocks noGrp="1"/>
          </p:cNvSpPr>
          <p:nvPr>
            <p:ph type="body" sz="quarter" idx="10"/>
          </p:nvPr>
        </p:nvSpPr>
        <p:spPr>
          <a:xfrm>
            <a:off x="6001042" y="2143432"/>
            <a:ext cx="5135271" cy="3724568"/>
          </a:xfrm>
        </p:spPr>
        <p:txBody>
          <a:bodyPr/>
          <a:lstStyle>
            <a:lvl1pPr>
              <a:spcBef>
                <a:spcPts val="2000"/>
              </a:spcBef>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bild 3"/>
          <p:cNvSpPr>
            <a:spLocks noGrp="1"/>
          </p:cNvSpPr>
          <p:nvPr>
            <p:ph type="pic" sz="quarter" idx="12" hasCustomPrompt="1"/>
          </p:nvPr>
        </p:nvSpPr>
        <p:spPr>
          <a:xfrm>
            <a:off x="1057274" y="1072800"/>
            <a:ext cx="4730400" cy="4791600"/>
          </a:xfrm>
        </p:spPr>
        <p:txBody>
          <a:bodyPr anchor="ctr" anchorCtr="0">
            <a:normAutofit/>
          </a:bodyPr>
          <a:lstStyle>
            <a:lvl1pPr marL="0" indent="0" algn="ctr">
              <a:buNone/>
              <a:defRPr sz="1800"/>
            </a:lvl1pPr>
          </a:lstStyle>
          <a:p>
            <a:r>
              <a:rPr lang="sv-SE"/>
              <a:t>Klicka på ikonen </a:t>
            </a:r>
            <a:br>
              <a:rPr lang="sv-SE"/>
            </a:br>
            <a:br>
              <a:rPr lang="sv-SE"/>
            </a:br>
            <a:br>
              <a:rPr lang="sv-SE"/>
            </a:br>
            <a:r>
              <a:rPr lang="sv-SE"/>
              <a:t>för att infoga en bild</a:t>
            </a:r>
          </a:p>
        </p:txBody>
      </p:sp>
    </p:spTree>
    <p:extLst>
      <p:ext uri="{BB962C8B-B14F-4D97-AF65-F5344CB8AC3E}">
        <p14:creationId xmlns:p14="http://schemas.microsoft.com/office/powerpoint/2010/main" val="32980605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vå bild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44F5DB-CE3E-46A2-ADAD-92FD689A72E7}"/>
              </a:ext>
            </a:extLst>
          </p:cNvPr>
          <p:cNvSpPr>
            <a:spLocks noGrp="1"/>
          </p:cNvSpPr>
          <p:nvPr>
            <p:ph type="title" hasCustomPrompt="1"/>
          </p:nvPr>
        </p:nvSpPr>
        <p:spPr>
          <a:xfrm>
            <a:off x="1057688" y="1072800"/>
            <a:ext cx="10078625" cy="986400"/>
          </a:xfrm>
        </p:spPr>
        <p:txBody>
          <a:bodyPr anchor="t" anchorCtr="0"/>
          <a:lstStyle>
            <a:lvl1pPr>
              <a:defRPr spc="0" baseline="0">
                <a:solidFill>
                  <a:schemeClr val="accent2"/>
                </a:solidFill>
              </a:defRPr>
            </a:lvl1pPr>
          </a:lstStyle>
          <a:p>
            <a:r>
              <a:rPr lang="sv-SE"/>
              <a:t>Rubrik</a:t>
            </a:r>
          </a:p>
        </p:txBody>
      </p:sp>
      <p:sp>
        <p:nvSpPr>
          <p:cNvPr id="8" name="Platshållare för bild 3"/>
          <p:cNvSpPr>
            <a:spLocks noGrp="1"/>
          </p:cNvSpPr>
          <p:nvPr>
            <p:ph type="pic" sz="quarter" idx="13" hasCustomPrompt="1"/>
          </p:nvPr>
        </p:nvSpPr>
        <p:spPr>
          <a:xfrm>
            <a:off x="1058400" y="2173911"/>
            <a:ext cx="4870800" cy="3243600"/>
          </a:xfrm>
        </p:spPr>
        <p:txBody>
          <a:bodyPr anchor="ctr" anchorCtr="0">
            <a:normAutofit/>
          </a:bodyPr>
          <a:lstStyle>
            <a:lvl1pPr marL="0" marR="0" indent="0" algn="ctr" defTabSz="914400" rtl="0" eaLnBrk="1" fontAlgn="auto" latinLnBrk="0" hangingPunct="1">
              <a:lnSpc>
                <a:spcPct val="90000"/>
              </a:lnSpc>
              <a:spcBef>
                <a:spcPts val="2000"/>
              </a:spcBef>
              <a:spcAft>
                <a:spcPts val="0"/>
              </a:spcAft>
              <a:buClrTx/>
              <a:buSzTx/>
              <a:buFontTx/>
              <a:buNone/>
              <a:tabLst/>
              <a:defRPr sz="1800"/>
            </a:lvl1pPr>
          </a:lstStyle>
          <a:p>
            <a:pPr marL="0" marR="0" lvl="0" indent="0" algn="ctr" defTabSz="914400" rtl="0" eaLnBrk="1" fontAlgn="auto" latinLnBrk="0" hangingPunct="1">
              <a:lnSpc>
                <a:spcPct val="90000"/>
              </a:lnSpc>
              <a:spcBef>
                <a:spcPts val="2000"/>
              </a:spcBef>
              <a:spcAft>
                <a:spcPts val="0"/>
              </a:spcAft>
              <a:buClrTx/>
              <a:buSzTx/>
              <a:buFontTx/>
              <a:buNone/>
              <a:tabLst/>
              <a:defRPr/>
            </a:pPr>
            <a:r>
              <a:rPr lang="sv-SE"/>
              <a:t>Klicka på ikonen </a:t>
            </a:r>
            <a:br>
              <a:rPr lang="sv-SE"/>
            </a:br>
            <a:br>
              <a:rPr lang="sv-SE"/>
            </a:br>
            <a:br>
              <a:rPr lang="sv-SE"/>
            </a:br>
            <a:r>
              <a:rPr lang="sv-SE"/>
              <a:t>för att infoga en bild</a:t>
            </a:r>
          </a:p>
        </p:txBody>
      </p:sp>
      <p:sp>
        <p:nvSpPr>
          <p:cNvPr id="9" name="Platshållare för bild 3"/>
          <p:cNvSpPr>
            <a:spLocks noGrp="1"/>
          </p:cNvSpPr>
          <p:nvPr>
            <p:ph type="pic" sz="quarter" idx="14" hasCustomPrompt="1"/>
          </p:nvPr>
        </p:nvSpPr>
        <p:spPr>
          <a:xfrm>
            <a:off x="6262800" y="2173911"/>
            <a:ext cx="4870800" cy="3243600"/>
          </a:xfrm>
        </p:spPr>
        <p:txBody>
          <a:bodyPr anchor="ctr" anchorCtr="0">
            <a:normAutofit/>
          </a:bodyPr>
          <a:lstStyle>
            <a:lvl1pPr marL="0" marR="0" indent="0" algn="ctr" defTabSz="914400" rtl="0" eaLnBrk="1" fontAlgn="auto" latinLnBrk="0" hangingPunct="1">
              <a:lnSpc>
                <a:spcPct val="90000"/>
              </a:lnSpc>
              <a:spcBef>
                <a:spcPts val="2000"/>
              </a:spcBef>
              <a:spcAft>
                <a:spcPts val="0"/>
              </a:spcAft>
              <a:buClrTx/>
              <a:buSzTx/>
              <a:buFontTx/>
              <a:buNone/>
              <a:tabLst/>
              <a:defRPr sz="1800"/>
            </a:lvl1pPr>
          </a:lstStyle>
          <a:p>
            <a:pPr marL="0" marR="0" lvl="0" indent="0" algn="ctr" defTabSz="914400" rtl="0" eaLnBrk="1" fontAlgn="auto" latinLnBrk="0" hangingPunct="1">
              <a:lnSpc>
                <a:spcPct val="90000"/>
              </a:lnSpc>
              <a:spcBef>
                <a:spcPts val="2000"/>
              </a:spcBef>
              <a:spcAft>
                <a:spcPts val="0"/>
              </a:spcAft>
              <a:buClrTx/>
              <a:buSzTx/>
              <a:buFontTx/>
              <a:buNone/>
              <a:tabLst/>
              <a:defRPr/>
            </a:pPr>
            <a:r>
              <a:rPr lang="sv-SE"/>
              <a:t>Klicka på ikonen </a:t>
            </a:r>
            <a:br>
              <a:rPr lang="sv-SE"/>
            </a:br>
            <a:br>
              <a:rPr lang="sv-SE"/>
            </a:br>
            <a:br>
              <a:rPr lang="sv-SE"/>
            </a:br>
            <a:r>
              <a:rPr lang="sv-SE"/>
              <a:t>för att infoga en bild</a:t>
            </a:r>
          </a:p>
        </p:txBody>
      </p:sp>
    </p:spTree>
    <p:extLst>
      <p:ext uri="{BB962C8B-B14F-4D97-AF65-F5344CB8AC3E}">
        <p14:creationId xmlns:p14="http://schemas.microsoft.com/office/powerpoint/2010/main" val="1973394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gen bild">
    <p:spTree>
      <p:nvGrpSpPr>
        <p:cNvPr id="1" name=""/>
        <p:cNvGrpSpPr/>
        <p:nvPr/>
      </p:nvGrpSpPr>
      <p:grpSpPr>
        <a:xfrm>
          <a:off x="0" y="0"/>
          <a:ext cx="0" cy="0"/>
          <a:chOff x="0" y="0"/>
          <a:chExt cx="0" cy="0"/>
        </a:xfrm>
      </p:grpSpPr>
      <p:pic>
        <p:nvPicPr>
          <p:cNvPr id="5" name="Bildobjekt 4" hidden="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288"/>
            <a:ext cx="12192516" cy="6857711"/>
          </a:xfrm>
          <a:prstGeom prst="rect">
            <a:avLst/>
          </a:prstGeom>
        </p:spPr>
      </p:pic>
      <p:sp>
        <p:nvSpPr>
          <p:cNvPr id="4" name="Platshållare för bild 3"/>
          <p:cNvSpPr>
            <a:spLocks noGrp="1"/>
          </p:cNvSpPr>
          <p:nvPr>
            <p:ph type="pic" sz="quarter" idx="12" hasCustomPrompt="1"/>
          </p:nvPr>
        </p:nvSpPr>
        <p:spPr>
          <a:xfrm>
            <a:off x="-258" y="0"/>
            <a:ext cx="12192258" cy="6096000"/>
          </a:xfrm>
        </p:spPr>
        <p:txBody>
          <a:bodyPr anchor="ctr" anchorCtr="0"/>
          <a:lstStyle>
            <a:lvl1pPr marL="0" indent="0" algn="ctr">
              <a:buNone/>
              <a:defRPr/>
            </a:lvl1pPr>
          </a:lstStyle>
          <a:p>
            <a:r>
              <a:rPr lang="sv-SE"/>
              <a:t>Klicka på ikonen</a:t>
            </a:r>
            <a:br>
              <a:rPr lang="sv-SE"/>
            </a:br>
            <a:br>
              <a:rPr lang="sv-SE"/>
            </a:br>
            <a:br>
              <a:rPr lang="sv-SE"/>
            </a:br>
            <a:r>
              <a:rPr lang="sv-SE"/>
              <a:t>för att infoga en bild</a:t>
            </a:r>
          </a:p>
        </p:txBody>
      </p:sp>
    </p:spTree>
    <p:extLst>
      <p:ext uri="{BB962C8B-B14F-4D97-AF65-F5344CB8AC3E}">
        <p14:creationId xmlns:p14="http://schemas.microsoft.com/office/powerpoint/2010/main" val="10973785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vsnittsrubrik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1F6FBE9-C579-4954-AF87-8F3074C239BC}"/>
              </a:ext>
            </a:extLst>
          </p:cNvPr>
          <p:cNvSpPr>
            <a:spLocks noGrp="1"/>
          </p:cNvSpPr>
          <p:nvPr>
            <p:ph type="ctrTitle" hasCustomPrompt="1"/>
          </p:nvPr>
        </p:nvSpPr>
        <p:spPr>
          <a:xfrm>
            <a:off x="1524000" y="1887965"/>
            <a:ext cx="9144000" cy="1638000"/>
          </a:xfrm>
        </p:spPr>
        <p:txBody>
          <a:bodyPr anchor="b">
            <a:normAutofit/>
          </a:bodyPr>
          <a:lstStyle>
            <a:lvl1pPr algn="ctr">
              <a:defRPr sz="5400" b="1" spc="0" baseline="0">
                <a:solidFill>
                  <a:schemeClr val="accent2"/>
                </a:solidFill>
              </a:defRPr>
            </a:lvl1pPr>
          </a:lstStyle>
          <a:p>
            <a:r>
              <a:rPr lang="sv-SE"/>
              <a:t>Avsnittsrubrik</a:t>
            </a:r>
          </a:p>
        </p:txBody>
      </p:sp>
    </p:spTree>
    <p:extLst>
      <p:ext uri="{BB962C8B-B14F-4D97-AF65-F5344CB8AC3E}">
        <p14:creationId xmlns:p14="http://schemas.microsoft.com/office/powerpoint/2010/main" val="30757474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Rubrik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p:nvPr>
        </p:nvSpPr>
        <p:spPr>
          <a:xfrm>
            <a:off x="1731696" y="2626153"/>
            <a:ext cx="8728608" cy="1349829"/>
          </a:xfrm>
          <a:prstGeom prst="rect">
            <a:avLst/>
          </a:prstGeom>
        </p:spPr>
        <p:txBody>
          <a:bodyPr anchor="ctr" anchorCtr="0">
            <a:noAutofit/>
          </a:bodyPr>
          <a:lstStyle>
            <a:lvl1pPr algn="l">
              <a:lnSpc>
                <a:spcPct val="90000"/>
              </a:lnSpc>
              <a:defRPr sz="4200" kern="0" spc="0" baseline="0">
                <a:solidFill>
                  <a:schemeClr val="bg1"/>
                </a:solidFill>
              </a:defRPr>
            </a:lvl1pPr>
          </a:lstStyle>
          <a:p>
            <a:r>
              <a:rPr lang="sv-SE"/>
              <a:t>Klicka här för att ändra mall för rubrikformat</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731696" y="4165601"/>
            <a:ext cx="8728608" cy="251417"/>
          </a:xfrm>
        </p:spPr>
        <p:txBody>
          <a:bodyPr>
            <a:noAutofit/>
          </a:bodyPr>
          <a:lstStyle>
            <a:lvl1pPr marL="0" indent="0">
              <a:lnSpc>
                <a:spcPct val="100000"/>
              </a:lnSpc>
              <a:spcBef>
                <a:spcPts val="0"/>
              </a:spcBef>
              <a:buNone/>
              <a:defRPr sz="18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731696" y="4606637"/>
            <a:ext cx="8728608" cy="251417"/>
          </a:xfrm>
        </p:spPr>
        <p:txBody>
          <a:bodyPr>
            <a:noAutofit/>
          </a:bodyPr>
          <a:lstStyle>
            <a:lvl1pPr marL="0" indent="0">
              <a:lnSpc>
                <a:spcPct val="100000"/>
              </a:lnSpc>
              <a:spcBef>
                <a:spcPts val="0"/>
              </a:spcBef>
              <a:buNone/>
              <a:defRPr sz="14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latin typeface="+mn-lt"/>
              </a:rPr>
              <a:t>Hållbar stad – öppen för värld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21604457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56AE382-6D43-4751-9CE2-2A4899C59678}"/>
              </a:ext>
            </a:extLst>
          </p:cNvPr>
          <p:cNvSpPr>
            <a:spLocks noGrp="1"/>
          </p:cNvSpPr>
          <p:nvPr>
            <p:ph type="title"/>
          </p:nvPr>
        </p:nvSpPr>
        <p:spPr/>
        <p:txBody>
          <a:bodyPr/>
          <a:lstStyle/>
          <a:p>
            <a:r>
              <a:rPr lang="sv-SE"/>
              <a:t>Klicka här för att ändra mall för rubrikformat</a:t>
            </a:r>
          </a:p>
        </p:txBody>
      </p:sp>
      <p:sp>
        <p:nvSpPr>
          <p:cNvPr id="8" name="Content Placeholder 2">
            <a:extLst>
              <a:ext uri="{FF2B5EF4-FFF2-40B4-BE49-F238E27FC236}">
                <a16:creationId xmlns:a16="http://schemas.microsoft.com/office/drawing/2014/main" id="{143E3ABC-9643-4C0C-A216-D9FDF5F8C34E}"/>
              </a:ext>
            </a:extLst>
          </p:cNvPr>
          <p:cNvSpPr>
            <a:spLocks noGrp="1"/>
          </p:cNvSpPr>
          <p:nvPr>
            <p:ph idx="11"/>
          </p:nvPr>
        </p:nvSpPr>
        <p:spPr>
          <a:xfrm>
            <a:off x="1056000" y="1738313"/>
            <a:ext cx="10080000" cy="4175124"/>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AF1C70CC-B8D4-4719-BB1B-23D6C9B7187C}"/>
              </a:ext>
            </a:extLst>
          </p:cNvPr>
          <p:cNvSpPr>
            <a:spLocks noGrp="1"/>
          </p:cNvSpPr>
          <p:nvPr>
            <p:ph type="sldNum" sz="quarter" idx="12"/>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8982953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424537-5ECE-4D36-9AE9-88D8AFB54949}"/>
              </a:ext>
            </a:extLst>
          </p:cNvPr>
          <p:cNvSpPr>
            <a:spLocks noGrp="1"/>
          </p:cNvSpPr>
          <p:nvPr>
            <p:ph type="title"/>
          </p:nvPr>
        </p:nvSpPr>
        <p:spPr/>
        <p:txBody>
          <a:bodyPr/>
          <a:lstStyle/>
          <a:p>
            <a:r>
              <a:rPr lang="sv-SE"/>
              <a:t>Klicka här för att ändra mall för rubrikformat</a:t>
            </a:r>
          </a:p>
        </p:txBody>
      </p:sp>
      <p:sp>
        <p:nvSpPr>
          <p:cNvPr id="3" name="Content Placeholder 2"/>
          <p:cNvSpPr>
            <a:spLocks noGrp="1"/>
          </p:cNvSpPr>
          <p:nvPr>
            <p:ph sz="half" idx="1"/>
          </p:nvPr>
        </p:nvSpPr>
        <p:spPr>
          <a:xfrm>
            <a:off x="407988" y="1736729"/>
            <a:ext cx="5400000" cy="417671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4" name="Content Placeholder 3"/>
          <p:cNvSpPr>
            <a:spLocks noGrp="1"/>
          </p:cNvSpPr>
          <p:nvPr>
            <p:ph sz="half" idx="2"/>
          </p:nvPr>
        </p:nvSpPr>
        <p:spPr>
          <a:xfrm>
            <a:off x="6379250" y="1736729"/>
            <a:ext cx="5400000" cy="417671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bildnummer 4">
            <a:extLst>
              <a:ext uri="{FF2B5EF4-FFF2-40B4-BE49-F238E27FC236}">
                <a16:creationId xmlns:a16="http://schemas.microsoft.com/office/drawing/2014/main" id="{EC9B43C6-89FD-4564-BB62-9B67C1AE2E6A}"/>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3860522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BCE7E41F-F5AB-42BF-88B5-ED5B44A6461E}"/>
              </a:ext>
            </a:extLst>
          </p:cNvPr>
          <p:cNvSpPr>
            <a:spLocks noGrp="1"/>
          </p:cNvSpPr>
          <p:nvPr>
            <p:ph type="title"/>
          </p:nvPr>
        </p:nvSpPr>
        <p:spPr/>
        <p:txBody>
          <a:bodyPr/>
          <a:lstStyle/>
          <a:p>
            <a:r>
              <a:rPr lang="sv-SE"/>
              <a:t>Klicka här för att ändra mall för rubrikformat</a:t>
            </a:r>
          </a:p>
        </p:txBody>
      </p:sp>
      <p:sp>
        <p:nvSpPr>
          <p:cNvPr id="3" name="Text Placeholder 2"/>
          <p:cNvSpPr>
            <a:spLocks noGrp="1"/>
          </p:cNvSpPr>
          <p:nvPr>
            <p:ph type="body" idx="1"/>
          </p:nvPr>
        </p:nvSpPr>
        <p:spPr>
          <a:xfrm>
            <a:off x="407988" y="1588563"/>
            <a:ext cx="527808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Redigera format för bakgrundstext</a:t>
            </a:r>
          </a:p>
        </p:txBody>
      </p:sp>
      <p:sp>
        <p:nvSpPr>
          <p:cNvPr id="4" name="Content Placeholder 3"/>
          <p:cNvSpPr>
            <a:spLocks noGrp="1"/>
          </p:cNvSpPr>
          <p:nvPr>
            <p:ph sz="half" idx="2"/>
          </p:nvPr>
        </p:nvSpPr>
        <p:spPr>
          <a:xfrm>
            <a:off x="407988" y="2281031"/>
            <a:ext cx="5278080" cy="352468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5" name="Text Placeholder 4"/>
          <p:cNvSpPr>
            <a:spLocks noGrp="1"/>
          </p:cNvSpPr>
          <p:nvPr>
            <p:ph type="body" sz="quarter" idx="3"/>
          </p:nvPr>
        </p:nvSpPr>
        <p:spPr>
          <a:xfrm>
            <a:off x="6432000" y="1591385"/>
            <a:ext cx="5280000" cy="648720"/>
          </a:xfrm>
        </p:spPr>
        <p:txBody>
          <a:bodyPr anchor="t" anchorCtr="0">
            <a:normAutofit/>
          </a:bodyPr>
          <a:lstStyle>
            <a:lvl1pPr marL="0" indent="0">
              <a:spcBef>
                <a:spcPts val="0"/>
              </a:spcBef>
              <a:buNone/>
              <a:defRPr sz="20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sv-SE"/>
              <a:t>Redigera format för bakgrundstext</a:t>
            </a:r>
          </a:p>
        </p:txBody>
      </p:sp>
      <p:sp>
        <p:nvSpPr>
          <p:cNvPr id="6" name="Content Placeholder 5"/>
          <p:cNvSpPr>
            <a:spLocks noGrp="1"/>
          </p:cNvSpPr>
          <p:nvPr>
            <p:ph sz="quarter" idx="4"/>
          </p:nvPr>
        </p:nvSpPr>
        <p:spPr>
          <a:xfrm>
            <a:off x="6432000" y="2281035"/>
            <a:ext cx="5280000" cy="3524685"/>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2" name="Platshållare för bildnummer 1">
            <a:extLst>
              <a:ext uri="{FF2B5EF4-FFF2-40B4-BE49-F238E27FC236}">
                <a16:creationId xmlns:a16="http://schemas.microsoft.com/office/drawing/2014/main" id="{5B0B39BD-A593-4A83-AD46-53A96C2F78AD}"/>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2326099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mall för rubrik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17075" y="1736728"/>
            <a:ext cx="5678925"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7598925" y="1738313"/>
            <a:ext cx="4176000" cy="4175125"/>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5" name="Platshållare för bildnummer 4">
            <a:extLst>
              <a:ext uri="{FF2B5EF4-FFF2-40B4-BE49-F238E27FC236}">
                <a16:creationId xmlns:a16="http://schemas.microsoft.com/office/drawing/2014/main" id="{BA6D7259-E2CF-428A-9B5C-9AEE444FC13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4815549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mall för rubrikformat</a:t>
            </a:r>
          </a:p>
        </p:txBody>
      </p:sp>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0743854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EDB076-0118-4581-B17D-C1A0602FB948}"/>
              </a:ext>
            </a:extLst>
          </p:cNvPr>
          <p:cNvSpPr>
            <a:spLocks noGrp="1"/>
          </p:cNvSpPr>
          <p:nvPr>
            <p:ph type="title"/>
          </p:nvPr>
        </p:nvSpPr>
        <p:spPr/>
        <p:txBody>
          <a:bodyPr/>
          <a:lstStyle/>
          <a:p>
            <a:r>
              <a:rPr lang="sv-SE"/>
              <a:t>Klicka här för att ändra mall för rubrikformat</a:t>
            </a:r>
          </a:p>
        </p:txBody>
      </p:sp>
      <p:sp>
        <p:nvSpPr>
          <p:cNvPr id="6" name="Content Placeholder 2">
            <a:extLst>
              <a:ext uri="{FF2B5EF4-FFF2-40B4-BE49-F238E27FC236}">
                <a16:creationId xmlns:a16="http://schemas.microsoft.com/office/drawing/2014/main" id="{51FAA0E3-3FDA-41A6-B9F8-73A1FEF31347}"/>
              </a:ext>
            </a:extLst>
          </p:cNvPr>
          <p:cNvSpPr>
            <a:spLocks noGrp="1"/>
          </p:cNvSpPr>
          <p:nvPr>
            <p:ph sz="half" idx="10"/>
          </p:nvPr>
        </p:nvSpPr>
        <p:spPr>
          <a:xfrm>
            <a:off x="417075" y="1736728"/>
            <a:ext cx="5678925"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7598925" y="1738313"/>
            <a:ext cx="4176000" cy="4175125"/>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AB6397E3-2F6A-46E7-B952-96596182496A}"/>
              </a:ext>
            </a:extLst>
          </p:cNvPr>
          <p:cNvSpPr>
            <a:spLocks noGrp="1"/>
          </p:cNvSpPr>
          <p:nvPr>
            <p:ph type="sldNum" sz="quarter" idx="11"/>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0172548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00F4CB-80BD-4C46-8862-E3F5646FDE7A}"/>
              </a:ext>
            </a:extLst>
          </p:cNvPr>
          <p:cNvSpPr>
            <a:spLocks noGrp="1"/>
          </p:cNvSpPr>
          <p:nvPr>
            <p:ph type="title"/>
          </p:nvPr>
        </p:nvSpPr>
        <p:spPr/>
        <p:txBody>
          <a:bodyPr/>
          <a:lstStyle/>
          <a:p>
            <a:r>
              <a:rPr lang="sv-SE"/>
              <a:t>Klicka här för att ändra mall för rubrikformat</a:t>
            </a:r>
          </a:p>
        </p:txBody>
      </p:sp>
      <p:sp>
        <p:nvSpPr>
          <p:cNvPr id="5" name="Content Placeholder 2">
            <a:extLst>
              <a:ext uri="{FF2B5EF4-FFF2-40B4-BE49-F238E27FC236}">
                <a16:creationId xmlns:a16="http://schemas.microsoft.com/office/drawing/2014/main" id="{D18EAA5A-4340-4EE5-A1A8-3200B98C0962}"/>
              </a:ext>
            </a:extLst>
          </p:cNvPr>
          <p:cNvSpPr>
            <a:spLocks noGrp="1"/>
          </p:cNvSpPr>
          <p:nvPr>
            <p:ph sz="half" idx="10"/>
          </p:nvPr>
        </p:nvSpPr>
        <p:spPr>
          <a:xfrm>
            <a:off x="6096000" y="1736728"/>
            <a:ext cx="5688013" cy="419462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407988" y="1738313"/>
            <a:ext cx="4176000" cy="4175125"/>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DEAD5FAA-1657-4061-B125-FAABE5DDE224}"/>
              </a:ext>
            </a:extLst>
          </p:cNvPr>
          <p:cNvSpPr>
            <a:spLocks noGrp="1"/>
          </p:cNvSpPr>
          <p:nvPr>
            <p:ph type="sldNum" sz="quarter" idx="11"/>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8837837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C800227-24F3-424A-950F-9031EC7717A1}"/>
              </a:ext>
            </a:extLst>
          </p:cNvPr>
          <p:cNvSpPr>
            <a:spLocks noGrp="1"/>
          </p:cNvSpPr>
          <p:nvPr>
            <p:ph type="title"/>
          </p:nvPr>
        </p:nvSpPr>
        <p:spPr/>
        <p:txBody>
          <a:bodyPr/>
          <a:lstStyle/>
          <a:p>
            <a:r>
              <a:rPr lang="sv-SE"/>
              <a:t>Klicka här för att ändra mall för rubrikformat</a:t>
            </a:r>
          </a:p>
        </p:txBody>
      </p:sp>
      <p:sp>
        <p:nvSpPr>
          <p:cNvPr id="3" name="Picture Placeholder 2"/>
          <p:cNvSpPr>
            <a:spLocks noGrp="1"/>
          </p:cNvSpPr>
          <p:nvPr>
            <p:ph type="pic" idx="1" hasCustomPrompt="1"/>
          </p:nvPr>
        </p:nvSpPr>
        <p:spPr>
          <a:xfrm>
            <a:off x="407988"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Text Placeholder 3"/>
          <p:cNvSpPr>
            <a:spLocks noGrp="1"/>
          </p:cNvSpPr>
          <p:nvPr>
            <p:ph type="body" sz="half" idx="2"/>
          </p:nvPr>
        </p:nvSpPr>
        <p:spPr>
          <a:xfrm>
            <a:off x="407988"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10" name="Picture Placeholder 2">
            <a:extLst>
              <a:ext uri="{FF2B5EF4-FFF2-40B4-BE49-F238E27FC236}">
                <a16:creationId xmlns:a16="http://schemas.microsoft.com/office/drawing/2014/main" id="{F5F04B5A-F0FB-4FC9-9F5F-CDA6CEE251C7}"/>
              </a:ext>
            </a:extLst>
          </p:cNvPr>
          <p:cNvSpPr>
            <a:spLocks noGrp="1"/>
          </p:cNvSpPr>
          <p:nvPr>
            <p:ph type="pic" idx="12" hasCustomPrompt="1"/>
          </p:nvPr>
        </p:nvSpPr>
        <p:spPr>
          <a:xfrm>
            <a:off x="4296000"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5" name="Text Placeholder 3">
            <a:extLst>
              <a:ext uri="{FF2B5EF4-FFF2-40B4-BE49-F238E27FC236}">
                <a16:creationId xmlns:a16="http://schemas.microsoft.com/office/drawing/2014/main" id="{A5F93C07-C166-474C-8E0B-4E9C3BBCB337}"/>
              </a:ext>
            </a:extLst>
          </p:cNvPr>
          <p:cNvSpPr>
            <a:spLocks noGrp="1"/>
          </p:cNvSpPr>
          <p:nvPr>
            <p:ph type="body" sz="half" idx="15"/>
          </p:nvPr>
        </p:nvSpPr>
        <p:spPr>
          <a:xfrm>
            <a:off x="4296000"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11" name="Picture Placeholder 2">
            <a:extLst>
              <a:ext uri="{FF2B5EF4-FFF2-40B4-BE49-F238E27FC236}">
                <a16:creationId xmlns:a16="http://schemas.microsoft.com/office/drawing/2014/main" id="{A7F97845-F21E-448F-BCE4-594A545AB8CB}"/>
              </a:ext>
            </a:extLst>
          </p:cNvPr>
          <p:cNvSpPr>
            <a:spLocks noGrp="1"/>
          </p:cNvSpPr>
          <p:nvPr>
            <p:ph type="pic" idx="13" hasCustomPrompt="1"/>
          </p:nvPr>
        </p:nvSpPr>
        <p:spPr>
          <a:xfrm>
            <a:off x="8184013"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4" name="Text Placeholder 3">
            <a:extLst>
              <a:ext uri="{FF2B5EF4-FFF2-40B4-BE49-F238E27FC236}">
                <a16:creationId xmlns:a16="http://schemas.microsoft.com/office/drawing/2014/main" id="{5F230963-9997-4CAE-9B9D-4F53D8044D29}"/>
              </a:ext>
            </a:extLst>
          </p:cNvPr>
          <p:cNvSpPr>
            <a:spLocks noGrp="1"/>
          </p:cNvSpPr>
          <p:nvPr>
            <p:ph type="body" sz="half" idx="14"/>
          </p:nvPr>
        </p:nvSpPr>
        <p:spPr>
          <a:xfrm>
            <a:off x="8184013"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Redigera format för bakgrundstext</a:t>
            </a:r>
          </a:p>
        </p:txBody>
      </p:sp>
      <p:sp>
        <p:nvSpPr>
          <p:cNvPr id="5" name="Platshållare för bildnummer 4">
            <a:extLst>
              <a:ext uri="{FF2B5EF4-FFF2-40B4-BE49-F238E27FC236}">
                <a16:creationId xmlns:a16="http://schemas.microsoft.com/office/drawing/2014/main" id="{23227AAC-52A1-439E-A66E-B8A4CE23E2A5}"/>
              </a:ext>
            </a:extLst>
          </p:cNvPr>
          <p:cNvSpPr>
            <a:spLocks noGrp="1"/>
          </p:cNvSpPr>
          <p:nvPr>
            <p:ph type="sldNum" sz="quarter" idx="16"/>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0888264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ild helsida">
    <p:spTree>
      <p:nvGrpSpPr>
        <p:cNvPr id="1" name=""/>
        <p:cNvGrpSpPr/>
        <p:nvPr/>
      </p:nvGrpSpPr>
      <p:grpSpPr>
        <a:xfrm>
          <a:off x="0" y="0"/>
          <a:ext cx="0" cy="0"/>
          <a:chOff x="0" y="0"/>
          <a:chExt cx="0" cy="0"/>
        </a:xfrm>
      </p:grpSpPr>
      <p:sp>
        <p:nvSpPr>
          <p:cNvPr id="5" name="Platshållare för bild 4"/>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14278132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ld helsida med rubrik">
    <p:spTree>
      <p:nvGrpSpPr>
        <p:cNvPr id="1" name=""/>
        <p:cNvGrpSpPr/>
        <p:nvPr/>
      </p:nvGrpSpPr>
      <p:grpSpPr>
        <a:xfrm>
          <a:off x="0" y="0"/>
          <a:ext cx="0" cy="0"/>
          <a:chOff x="0" y="0"/>
          <a:chExt cx="0" cy="0"/>
        </a:xfrm>
      </p:grpSpPr>
      <p:sp>
        <p:nvSpPr>
          <p:cNvPr id="2" name="Platshållare för sidfot 1">
            <a:extLst>
              <a:ext uri="{FF2B5EF4-FFF2-40B4-BE49-F238E27FC236}">
                <a16:creationId xmlns:a16="http://schemas.microsoft.com/office/drawing/2014/main" id="{4C2CB002-9FCD-48CA-BEF4-9C216A36070A}"/>
              </a:ext>
            </a:extLst>
          </p:cNvPr>
          <p:cNvSpPr>
            <a:spLocks noGrp="1"/>
          </p:cNvSpPr>
          <p:nvPr>
            <p:ph type="ftr" sz="quarter" idx="11"/>
          </p:nvPr>
        </p:nvSpPr>
        <p:spPr>
          <a:xfrm>
            <a:off x="479999" y="6376989"/>
            <a:ext cx="5616000" cy="147636"/>
          </a:xfrm>
          <a:prstGeom prst="rect">
            <a:avLst/>
          </a:prstGeom>
        </p:spPr>
        <p:txBody>
          <a:bodyPr/>
          <a:lstStyle/>
          <a:p>
            <a:endParaRPr lang="sv-SE"/>
          </a:p>
        </p:txBody>
      </p:sp>
      <p:sp>
        <p:nvSpPr>
          <p:cNvPr id="4" name="Platshållare för bild 5">
            <a:extLst>
              <a:ext uri="{FF2B5EF4-FFF2-40B4-BE49-F238E27FC236}">
                <a16:creationId xmlns:a16="http://schemas.microsoft.com/office/drawing/2014/main" id="{1566CF40-59BE-4449-B880-5CCAFCC9D997}"/>
              </a:ext>
            </a:extLst>
          </p:cNvPr>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6" name="Title 1">
            <a:extLst>
              <a:ext uri="{FF2B5EF4-FFF2-40B4-BE49-F238E27FC236}">
                <a16:creationId xmlns:a16="http://schemas.microsoft.com/office/drawing/2014/main" id="{5F556A3A-7138-45B2-8593-FAB5296ADD6C}"/>
              </a:ext>
            </a:extLst>
          </p:cNvPr>
          <p:cNvSpPr>
            <a:spLocks noGrp="1"/>
          </p:cNvSpPr>
          <p:nvPr>
            <p:ph type="ctrTitle"/>
          </p:nvPr>
        </p:nvSpPr>
        <p:spPr>
          <a:xfrm>
            <a:off x="1528841" y="2404809"/>
            <a:ext cx="9134323" cy="1113092"/>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spTree>
    <p:extLst>
      <p:ext uri="{BB962C8B-B14F-4D97-AF65-F5344CB8AC3E}">
        <p14:creationId xmlns:p14="http://schemas.microsoft.com/office/powerpoint/2010/main" val="1581927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bildnummer 1">
            <a:extLst>
              <a:ext uri="{FF2B5EF4-FFF2-40B4-BE49-F238E27FC236}">
                <a16:creationId xmlns:a16="http://schemas.microsoft.com/office/drawing/2014/main" id="{4BC2FFEF-6434-4E63-AD0D-37B93846A0B7}"/>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7428259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Helt 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5718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vsnittsrubrik med bild">
    <p:spTree>
      <p:nvGrpSpPr>
        <p:cNvPr id="1" name=""/>
        <p:cNvGrpSpPr/>
        <p:nvPr/>
      </p:nvGrpSpPr>
      <p:grpSpPr>
        <a:xfrm>
          <a:off x="0" y="0"/>
          <a:ext cx="0" cy="0"/>
          <a:chOff x="0" y="0"/>
          <a:chExt cx="0" cy="0"/>
        </a:xfrm>
      </p:grpSpPr>
      <p:sp>
        <p:nvSpPr>
          <p:cNvPr id="8" name="Platshållare för bild 5">
            <a:extLst>
              <a:ext uri="{FF2B5EF4-FFF2-40B4-BE49-F238E27FC236}">
                <a16:creationId xmlns:a16="http://schemas.microsoft.com/office/drawing/2014/main" id="{E89F1A3B-CD83-40C2-B654-7491BD29FCD5}"/>
              </a:ext>
            </a:extLst>
          </p:cNvPr>
          <p:cNvSpPr>
            <a:spLocks noGrp="1"/>
          </p:cNvSpPr>
          <p:nvPr>
            <p:ph type="pic" sz="quarter" idx="11" hasCustomPrompt="1"/>
          </p:nvPr>
        </p:nvSpPr>
        <p:spPr>
          <a:xfrm>
            <a:off x="407989" y="404812"/>
            <a:ext cx="11376024" cy="5508625"/>
          </a:xfrm>
          <a:prstGeom prst="round2SameRect">
            <a:avLst>
              <a:gd name="adj1" fmla="val 0"/>
              <a:gd name="adj2" fmla="val 0"/>
            </a:avLst>
          </a:prstGeom>
          <a:solidFill>
            <a:schemeClr val="bg1">
              <a:lumMod val="85000"/>
            </a:schemeClr>
          </a:solidFill>
        </p:spPr>
        <p:txBody>
          <a:bodyPr anchor="ctr" anchorCtr="0">
            <a:normAutofit/>
          </a:bodyPr>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sz="1600">
                <a:solidFill>
                  <a:schemeClr val="tx1"/>
                </a:solidFill>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br>
              <a:rPr lang="sv-SE"/>
            </a:br>
            <a:br>
              <a:rPr lang="sv-SE"/>
            </a:br>
            <a:br>
              <a:rPr lang="sv-SE"/>
            </a:br>
            <a:r>
              <a:rPr lang="sv-SE"/>
              <a:t>Klicka på ikonen ovan</a:t>
            </a:r>
            <a:br>
              <a:rPr lang="sv-SE"/>
            </a:br>
            <a:r>
              <a:rPr lang="sv-SE"/>
              <a:t>för att lägga till en bild</a:t>
            </a:r>
            <a:endParaRPr lang="en-US"/>
          </a:p>
        </p:txBody>
      </p:sp>
      <p:sp>
        <p:nvSpPr>
          <p:cNvPr id="9" name="Title 1">
            <a:extLst>
              <a:ext uri="{FF2B5EF4-FFF2-40B4-BE49-F238E27FC236}">
                <a16:creationId xmlns:a16="http://schemas.microsoft.com/office/drawing/2014/main" id="{EAB74EFB-B5F9-4503-84BF-A1C8C3809B6F}"/>
              </a:ext>
            </a:extLst>
          </p:cNvPr>
          <p:cNvSpPr>
            <a:spLocks noGrp="1"/>
          </p:cNvSpPr>
          <p:nvPr>
            <p:ph type="ctrTitle"/>
          </p:nvPr>
        </p:nvSpPr>
        <p:spPr>
          <a:xfrm>
            <a:off x="1879600" y="1973603"/>
            <a:ext cx="8483640" cy="885112"/>
          </a:xfrm>
          <a:prstGeom prst="rect">
            <a:avLst/>
          </a:prstGeom>
        </p:spPr>
        <p:txBody>
          <a:bodyPr anchor="ctr" anchorCtr="0">
            <a:noAutofit/>
          </a:bodyPr>
          <a:lstStyle>
            <a:lvl1pPr algn="ctr">
              <a:lnSpc>
                <a:spcPct val="90000"/>
              </a:lnSpc>
              <a:defRPr sz="4000">
                <a:solidFill>
                  <a:schemeClr val="bg1"/>
                </a:solidFill>
              </a:defRPr>
            </a:lvl1pPr>
          </a:lstStyle>
          <a:p>
            <a:r>
              <a:rPr lang="sv-SE"/>
              <a:t>Klicka här för att ändra mall för rubrikformat</a:t>
            </a:r>
            <a:endParaRPr lang="en-US"/>
          </a:p>
        </p:txBody>
      </p:sp>
      <p:sp>
        <p:nvSpPr>
          <p:cNvPr id="6" name="textruta 5">
            <a:extLst>
              <a:ext uri="{FF2B5EF4-FFF2-40B4-BE49-F238E27FC236}">
                <a16:creationId xmlns:a16="http://schemas.microsoft.com/office/drawing/2014/main" id="{BE03C4AA-7F69-47DB-B0C7-C398C29343E8}"/>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t>Hållbar stad – öppen för världen</a:t>
            </a:r>
          </a:p>
        </p:txBody>
      </p:sp>
      <p:pic>
        <p:nvPicPr>
          <p:cNvPr id="7" name="Bildobjekt 6" descr="Logo" title="Logo">
            <a:extLst>
              <a:ext uri="{FF2B5EF4-FFF2-40B4-BE49-F238E27FC236}">
                <a16:creationId xmlns:a16="http://schemas.microsoft.com/office/drawing/2014/main" id="{A42DC399-9929-4DB1-86A7-EDD1619A0A0E}"/>
              </a:ext>
            </a:extLst>
          </p:cNvPr>
          <p:cNvPicPr>
            <a:picLocks noChangeAspect="1"/>
          </p:cNvPicPr>
          <p:nvPr userDrawn="1"/>
        </p:nvPicPr>
        <p:blipFill>
          <a:blip r:embed="rId2"/>
          <a:stretch>
            <a:fillRect/>
          </a:stretch>
        </p:blipFill>
        <p:spPr>
          <a:xfrm>
            <a:off x="10498641" y="6168924"/>
            <a:ext cx="1280271" cy="426757"/>
          </a:xfrm>
          <a:prstGeom prst="rect">
            <a:avLst/>
          </a:prstGeom>
        </p:spPr>
      </p:pic>
    </p:spTree>
    <p:extLst>
      <p:ext uri="{BB962C8B-B14F-4D97-AF65-F5344CB8AC3E}">
        <p14:creationId xmlns:p14="http://schemas.microsoft.com/office/powerpoint/2010/main" val="10468621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vsnittsrubrik">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966CA57-627C-4882-9601-245D15D92392}"/>
              </a:ext>
            </a:extLst>
          </p:cNvPr>
          <p:cNvSpPr/>
          <p:nvPr userDrawn="1"/>
        </p:nvSpPr>
        <p:spPr>
          <a:xfrm>
            <a:off x="407988" y="404813"/>
            <a:ext cx="11376025" cy="5508000"/>
          </a:xfrm>
          <a:prstGeom prst="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sz="1800"/>
          </a:p>
        </p:txBody>
      </p:sp>
      <p:sp>
        <p:nvSpPr>
          <p:cNvPr id="2" name="Title 1"/>
          <p:cNvSpPr>
            <a:spLocks noGrp="1"/>
          </p:cNvSpPr>
          <p:nvPr>
            <p:ph type="ctrTitle"/>
          </p:nvPr>
        </p:nvSpPr>
        <p:spPr>
          <a:xfrm>
            <a:off x="1528841" y="2404809"/>
            <a:ext cx="9134323" cy="1349829"/>
          </a:xfrm>
          <a:prstGeom prst="rect">
            <a:avLst/>
          </a:prstGeom>
        </p:spPr>
        <p:txBody>
          <a:bodyPr anchor="ctr" anchorCtr="0">
            <a:noAutofit/>
          </a:bodyPr>
          <a:lstStyle>
            <a:lvl1pPr algn="ctr">
              <a:lnSpc>
                <a:spcPct val="90000"/>
              </a:lnSpc>
              <a:defRPr sz="4500">
                <a:solidFill>
                  <a:schemeClr val="bg1"/>
                </a:solidFill>
              </a:defRPr>
            </a:lvl1pPr>
          </a:lstStyle>
          <a:p>
            <a:r>
              <a:rPr lang="sv-SE"/>
              <a:t>Klicka här för att ändra mall för rubrikformat</a:t>
            </a:r>
            <a:endParaRPr lang="en-US"/>
          </a:p>
        </p:txBody>
      </p:sp>
      <p:pic>
        <p:nvPicPr>
          <p:cNvPr id="6" name="Bildobjekt 5" descr="Logo" title="Logo">
            <a:extLst>
              <a:ext uri="{FF2B5EF4-FFF2-40B4-BE49-F238E27FC236}">
                <a16:creationId xmlns:a16="http://schemas.microsoft.com/office/drawing/2014/main" id="{1BFA490F-F636-4FBD-9551-5FE7BB924C4D}"/>
              </a:ext>
            </a:extLst>
          </p:cNvPr>
          <p:cNvPicPr>
            <a:picLocks noChangeAspect="1"/>
          </p:cNvPicPr>
          <p:nvPr userDrawn="1"/>
        </p:nvPicPr>
        <p:blipFill>
          <a:blip r:embed="rId2"/>
          <a:stretch>
            <a:fillRect/>
          </a:stretch>
        </p:blipFill>
        <p:spPr>
          <a:xfrm>
            <a:off x="10498641" y="6168924"/>
            <a:ext cx="1280271" cy="426757"/>
          </a:xfrm>
          <a:prstGeom prst="rect">
            <a:avLst/>
          </a:prstGeom>
        </p:spPr>
      </p:pic>
      <p:sp>
        <p:nvSpPr>
          <p:cNvPr id="8" name="textruta 7">
            <a:extLst>
              <a:ext uri="{FF2B5EF4-FFF2-40B4-BE49-F238E27FC236}">
                <a16:creationId xmlns:a16="http://schemas.microsoft.com/office/drawing/2014/main" id="{F54FBE38-BAA0-4913-A593-C4237FC13E33}"/>
              </a:ext>
            </a:extLst>
          </p:cNvPr>
          <p:cNvSpPr txBox="1"/>
          <p:nvPr userDrawn="1"/>
        </p:nvSpPr>
        <p:spPr>
          <a:xfrm>
            <a:off x="407988" y="6453188"/>
            <a:ext cx="8640000" cy="144000"/>
          </a:xfrm>
          <a:prstGeom prst="rect">
            <a:avLst/>
          </a:prstGeom>
          <a:noFill/>
        </p:spPr>
        <p:txBody>
          <a:bodyPr wrap="square" lIns="0" tIns="0" rIns="0" bIns="0" rtlCol="0" anchor="ctr" anchorCtr="0">
            <a:noAutofit/>
          </a:bodyPr>
          <a:lstStyle/>
          <a:p>
            <a:r>
              <a:rPr lang="sv-SE" sz="1050">
                <a:solidFill>
                  <a:schemeClr val="tx1">
                    <a:lumMod val="95000"/>
                    <a:lumOff val="5000"/>
                  </a:schemeClr>
                </a:solidFill>
              </a:rPr>
              <a:t>Hållbar stad – öppen för världen</a:t>
            </a:r>
          </a:p>
        </p:txBody>
      </p:sp>
    </p:spTree>
    <p:extLst>
      <p:ext uri="{BB962C8B-B14F-4D97-AF65-F5344CB8AC3E}">
        <p14:creationId xmlns:p14="http://schemas.microsoft.com/office/powerpoint/2010/main" val="1919234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00F4CB-80BD-4C46-8862-E3F5646FDE7A}"/>
              </a:ext>
            </a:extLst>
          </p:cNvPr>
          <p:cNvSpPr>
            <a:spLocks noGrp="1"/>
          </p:cNvSpPr>
          <p:nvPr>
            <p:ph type="title"/>
          </p:nvPr>
        </p:nvSpPr>
        <p:spPr/>
        <p:txBody>
          <a:bodyPr/>
          <a:lstStyle/>
          <a:p>
            <a:r>
              <a:rPr lang="sv-SE"/>
              <a:t>Klicka här för att ändra mall för rubrikformat</a:t>
            </a:r>
          </a:p>
        </p:txBody>
      </p:sp>
      <p:sp>
        <p:nvSpPr>
          <p:cNvPr id="5" name="Content Placeholder 2">
            <a:extLst>
              <a:ext uri="{FF2B5EF4-FFF2-40B4-BE49-F238E27FC236}">
                <a16:creationId xmlns:a16="http://schemas.microsoft.com/office/drawing/2014/main" id="{D18EAA5A-4340-4EE5-A1A8-3200B98C0962}"/>
              </a:ext>
            </a:extLst>
          </p:cNvPr>
          <p:cNvSpPr>
            <a:spLocks noGrp="1"/>
          </p:cNvSpPr>
          <p:nvPr>
            <p:ph sz="half" idx="10"/>
          </p:nvPr>
        </p:nvSpPr>
        <p:spPr>
          <a:xfrm>
            <a:off x="6096000" y="1736728"/>
            <a:ext cx="5688013" cy="41946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3" name="Picture Placeholder 2"/>
          <p:cNvSpPr>
            <a:spLocks noGrp="1"/>
          </p:cNvSpPr>
          <p:nvPr>
            <p:ph type="pic" idx="1" hasCustomPrompt="1"/>
          </p:nvPr>
        </p:nvSpPr>
        <p:spPr>
          <a:xfrm>
            <a:off x="407988" y="1738313"/>
            <a:ext cx="4176000" cy="4175125"/>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Platshållare för bildnummer 3">
            <a:extLst>
              <a:ext uri="{FF2B5EF4-FFF2-40B4-BE49-F238E27FC236}">
                <a16:creationId xmlns:a16="http://schemas.microsoft.com/office/drawing/2014/main" id="{DEAD5FAA-1657-4061-B125-FAABE5DDE224}"/>
              </a:ext>
            </a:extLst>
          </p:cNvPr>
          <p:cNvSpPr>
            <a:spLocks noGrp="1"/>
          </p:cNvSpPr>
          <p:nvPr>
            <p:ph type="sldNum" sz="quarter" idx="11"/>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36544503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vsluts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pic>
        <p:nvPicPr>
          <p:cNvPr id="13" name="Bildobjekt 12" descr="Logo" title="Logo">
            <a:extLst>
              <a:ext uri="{FF2B5EF4-FFF2-40B4-BE49-F238E27FC236}">
                <a16:creationId xmlns:a16="http://schemas.microsoft.com/office/drawing/2014/main" id="{8FA31A6C-4824-4084-8D71-178D8B56BB48}"/>
              </a:ext>
            </a:extLst>
          </p:cNvPr>
          <p:cNvPicPr>
            <a:picLocks noChangeAspect="1"/>
          </p:cNvPicPr>
          <p:nvPr userDrawn="1"/>
        </p:nvPicPr>
        <p:blipFill>
          <a:blip r:embed="rId2"/>
          <a:stretch>
            <a:fillRect/>
          </a:stretch>
        </p:blipFill>
        <p:spPr>
          <a:xfrm>
            <a:off x="10297795" y="401983"/>
            <a:ext cx="1481456" cy="499915"/>
          </a:xfrm>
          <a:prstGeom prst="rect">
            <a:avLst/>
          </a:prstGeom>
        </p:spPr>
      </p:pic>
      <p:sp>
        <p:nvSpPr>
          <p:cNvPr id="8" name="Rubrik 3">
            <a:extLst>
              <a:ext uri="{FF2B5EF4-FFF2-40B4-BE49-F238E27FC236}">
                <a16:creationId xmlns:a16="http://schemas.microsoft.com/office/drawing/2014/main" id="{48B20EB8-4FF0-4D86-B782-FE843B459F2B}"/>
              </a:ext>
            </a:extLst>
          </p:cNvPr>
          <p:cNvSpPr>
            <a:spLocks noGrp="1"/>
          </p:cNvSpPr>
          <p:nvPr>
            <p:ph type="title" hasCustomPrompt="1"/>
          </p:nvPr>
        </p:nvSpPr>
        <p:spPr>
          <a:xfrm>
            <a:off x="1420650" y="2399545"/>
            <a:ext cx="6148878" cy="309600"/>
          </a:xfrm>
        </p:spPr>
        <p:txBody>
          <a:bodyPr>
            <a:normAutofit/>
          </a:bodyPr>
          <a:lstStyle>
            <a:lvl1pPr>
              <a:defRPr sz="1700">
                <a:solidFill>
                  <a:schemeClr val="bg1"/>
                </a:solidFill>
              </a:defRPr>
            </a:lvl1pPr>
          </a:lstStyle>
          <a:p>
            <a:r>
              <a:rPr lang="sv-SE"/>
              <a:t>Kontakt</a:t>
            </a:r>
          </a:p>
        </p:txBody>
      </p:sp>
      <p:sp>
        <p:nvSpPr>
          <p:cNvPr id="15" name="Platshållare för text 4">
            <a:extLst>
              <a:ext uri="{FF2B5EF4-FFF2-40B4-BE49-F238E27FC236}">
                <a16:creationId xmlns:a16="http://schemas.microsoft.com/office/drawing/2014/main" id="{483A67E9-807F-424F-890D-A3A5CA39AF09}"/>
              </a:ext>
            </a:extLst>
          </p:cNvPr>
          <p:cNvSpPr>
            <a:spLocks noGrp="1"/>
          </p:cNvSpPr>
          <p:nvPr>
            <p:ph type="body" sz="quarter" idx="11" hasCustomPrompt="1"/>
          </p:nvPr>
        </p:nvSpPr>
        <p:spPr>
          <a:xfrm>
            <a:off x="1420649" y="2830624"/>
            <a:ext cx="6148878" cy="2971086"/>
          </a:xfrm>
        </p:spPr>
        <p:txBody>
          <a:bodyPr numCol="1" spcCol="180000">
            <a:noAutofit/>
          </a:bodyPr>
          <a:lstStyle>
            <a:lvl1pPr marL="0" indent="0">
              <a:lnSpc>
                <a:spcPct val="110000"/>
              </a:lnSpc>
              <a:spcBef>
                <a:spcPts val="0"/>
              </a:spcBef>
              <a:buNone/>
              <a:defRPr sz="1600" b="1" kern="0" baseline="0">
                <a:solidFill>
                  <a:schemeClr val="bg1"/>
                </a:solidFill>
                <a:latin typeface="+mn-lt"/>
              </a:defRPr>
            </a:lvl1pPr>
          </a:lstStyle>
          <a:p>
            <a:pPr lvl="0"/>
            <a:r>
              <a:rPr lang="sv-SE"/>
              <a:t>Avdelning</a:t>
            </a:r>
            <a:br>
              <a:rPr lang="sv-SE"/>
            </a:br>
            <a:r>
              <a:rPr lang="sv-SE"/>
              <a:t>Område, Göteborgs Stad</a:t>
            </a:r>
            <a:br>
              <a:rPr lang="sv-SE"/>
            </a:br>
            <a:r>
              <a:rPr lang="sv-SE"/>
              <a:t>Namn</a:t>
            </a:r>
            <a:br>
              <a:rPr lang="sv-SE"/>
            </a:br>
            <a:r>
              <a:rPr lang="sv-SE"/>
              <a:t>namn@namn.se</a:t>
            </a:r>
          </a:p>
        </p:txBody>
      </p:sp>
      <p:sp>
        <p:nvSpPr>
          <p:cNvPr id="7" name="textruta 6">
            <a:extLst>
              <a:ext uri="{FF2B5EF4-FFF2-40B4-BE49-F238E27FC236}">
                <a16:creationId xmlns:a16="http://schemas.microsoft.com/office/drawing/2014/main" id="{266C4A4B-0FFF-4609-BF3A-89A12B42C121}"/>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a:solidFill>
                  <a:schemeClr val="tx1">
                    <a:lumMod val="95000"/>
                    <a:lumOff val="5000"/>
                  </a:schemeClr>
                </a:solidFill>
                <a:latin typeface="+mn-lt"/>
              </a:rPr>
              <a:t>Hållbar stad – öppen för världen</a:t>
            </a:r>
          </a:p>
        </p:txBody>
      </p:sp>
    </p:spTree>
    <p:extLst>
      <p:ext uri="{BB962C8B-B14F-4D97-AF65-F5344CB8AC3E}">
        <p14:creationId xmlns:p14="http://schemas.microsoft.com/office/powerpoint/2010/main" val="27609394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ogotyp">
    <p:spTree>
      <p:nvGrpSpPr>
        <p:cNvPr id="1" name=""/>
        <p:cNvGrpSpPr/>
        <p:nvPr/>
      </p:nvGrpSpPr>
      <p:grpSpPr>
        <a:xfrm>
          <a:off x="0" y="0"/>
          <a:ext cx="0" cy="0"/>
          <a:chOff x="0" y="0"/>
          <a:chExt cx="0" cy="0"/>
        </a:xfrm>
      </p:grpSpPr>
      <p:pic>
        <p:nvPicPr>
          <p:cNvPr id="3" name="Bildobjekt 2" descr="Logo" title="Logo">
            <a:extLst>
              <a:ext uri="{FF2B5EF4-FFF2-40B4-BE49-F238E27FC236}">
                <a16:creationId xmlns:a16="http://schemas.microsoft.com/office/drawing/2014/main" id="{1F12769C-ECF3-448E-A565-83EEEC398EEF}"/>
              </a:ext>
            </a:extLst>
          </p:cNvPr>
          <p:cNvPicPr>
            <a:picLocks noChangeAspect="1"/>
          </p:cNvPicPr>
          <p:nvPr userDrawn="1"/>
        </p:nvPicPr>
        <p:blipFill>
          <a:blip r:embed="rId2"/>
          <a:stretch>
            <a:fillRect/>
          </a:stretch>
        </p:blipFill>
        <p:spPr>
          <a:xfrm>
            <a:off x="5382706" y="2300663"/>
            <a:ext cx="1426588" cy="2261812"/>
          </a:xfrm>
          <a:prstGeom prst="rect">
            <a:avLst/>
          </a:prstGeom>
        </p:spPr>
      </p:pic>
    </p:spTree>
    <p:extLst>
      <p:ext uri="{BB962C8B-B14F-4D97-AF65-F5344CB8AC3E}">
        <p14:creationId xmlns:p14="http://schemas.microsoft.com/office/powerpoint/2010/main" val="22684071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16755741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ubrik och innehåll">
    <p:bg>
      <p:bgPr>
        <a:solidFill>
          <a:srgbClr val="F6F5F1"/>
        </a:solidFill>
        <a:effectLst/>
      </p:bgPr>
    </p:bg>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2" name="Rubrik 1">
            <a:extLst>
              <a:ext uri="{FF2B5EF4-FFF2-40B4-BE49-F238E27FC236}">
                <a16:creationId xmlns:a16="http://schemas.microsoft.com/office/drawing/2014/main" id="{8E9F8E1C-D67B-B864-85DC-39383FED61B9}"/>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a:p>
        </p:txBody>
      </p:sp>
    </p:spTree>
    <p:extLst>
      <p:ext uri="{BB962C8B-B14F-4D97-AF65-F5344CB8AC3E}">
        <p14:creationId xmlns:p14="http://schemas.microsoft.com/office/powerpoint/2010/main" val="8395922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Rubrik + två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32809470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7922673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 1/3 bild höger">
    <p:bg>
      <p:bgPr>
        <a:solidFill>
          <a:srgbClr val="F6F5F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0979C0-7088-BC71-A9C3-FD1FCD12D015}"/>
              </a:ext>
            </a:extLst>
          </p:cNvPr>
          <p:cNvGraphicFramePr>
            <a:graphicFrameLocks noChangeAspect="1"/>
          </p:cNvGraphicFramePr>
          <p:nvPr userDrawn="1">
            <p:custDataLst>
              <p:tags r:id="rId1"/>
            </p:custDataLst>
            <p:extLst>
              <p:ext uri="{D42A27DB-BD31-4B8C-83A1-F6EECF244321}">
                <p14:modId xmlns:p14="http://schemas.microsoft.com/office/powerpoint/2010/main" val="45106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12" name="think-cell data - do not delete" hidden="1">
                        <a:extLst>
                          <a:ext uri="{FF2B5EF4-FFF2-40B4-BE49-F238E27FC236}">
                            <a16:creationId xmlns:a16="http://schemas.microsoft.com/office/drawing/2014/main" id="{BB0979C0-7088-BC71-A9C3-FD1FCD12D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3225800" cy="1325563"/>
          </a:xfrm>
        </p:spPr>
        <p:txBody>
          <a:bodyPr vert="horz"/>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3225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4241800" y="1"/>
            <a:ext cx="79502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5"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9941028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r>
              <a:rPr lang="sv-SE"/>
              <a:t>Klicka på ikonen för att lägga till en bild</a:t>
            </a:r>
          </a:p>
        </p:txBody>
      </p:sp>
    </p:spTree>
    <p:extLst>
      <p:ext uri="{BB962C8B-B14F-4D97-AF65-F5344CB8AC3E}">
        <p14:creationId xmlns:p14="http://schemas.microsoft.com/office/powerpoint/2010/main" val="13255701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xar runt hexagon">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innehåll 6">
            <a:extLst>
              <a:ext uri="{FF2B5EF4-FFF2-40B4-BE49-F238E27FC236}">
                <a16:creationId xmlns:a16="http://schemas.microsoft.com/office/drawing/2014/main" id="{EE230758-7D58-4375-F337-9297DD40CE1B}"/>
              </a:ext>
            </a:extLst>
          </p:cNvPr>
          <p:cNvSpPr>
            <a:spLocks noGrp="1"/>
          </p:cNvSpPr>
          <p:nvPr>
            <p:ph sz="quarter" idx="13"/>
          </p:nvPr>
        </p:nvSpPr>
        <p:spPr>
          <a:xfrm>
            <a:off x="4400323" y="2366169"/>
            <a:ext cx="3206977" cy="2757488"/>
          </a:xfrm>
          <a:prstGeom prst="hexagon">
            <a:avLst/>
          </a:prstGeom>
          <a:solidFill>
            <a:schemeClr val="accent1"/>
          </a:solidFill>
        </p:spPr>
        <p:txBody>
          <a:bodyPr anchor="ctr"/>
          <a:lstStyle>
            <a:lvl1pPr marL="0" indent="0" algn="ctr">
              <a:buNone/>
              <a:defRPr>
                <a:solidFill>
                  <a:schemeClr val="bg1"/>
                </a:solidFill>
              </a:defRPr>
            </a:lvl1pPr>
            <a:lvl2pPr marL="271462" indent="0" algn="ctr">
              <a:buNone/>
              <a:defRPr>
                <a:solidFill>
                  <a:schemeClr val="bg1"/>
                </a:solidFill>
              </a:defRPr>
            </a:lvl2pPr>
            <a:lvl3pPr marL="533400" indent="0" algn="ctr">
              <a:buNone/>
              <a:defRPr>
                <a:solidFill>
                  <a:schemeClr val="bg1"/>
                </a:solidFill>
              </a:defRPr>
            </a:lvl3pPr>
            <a:lvl4pPr marL="806450" indent="0" algn="ctr">
              <a:buNone/>
              <a:defRPr>
                <a:solidFill>
                  <a:schemeClr val="bg1"/>
                </a:solidFill>
              </a:defRPr>
            </a:lvl4pPr>
            <a:lvl5pPr marL="1077912" indent="0" algn="ctr">
              <a:buNone/>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9">
            <a:extLst>
              <a:ext uri="{FF2B5EF4-FFF2-40B4-BE49-F238E27FC236}">
                <a16:creationId xmlns:a16="http://schemas.microsoft.com/office/drawing/2014/main" id="{5F0FACCF-362E-5318-D726-A24E4D239955}"/>
              </a:ext>
            </a:extLst>
          </p:cNvPr>
          <p:cNvSpPr>
            <a:spLocks noGrp="1"/>
          </p:cNvSpPr>
          <p:nvPr>
            <p:ph type="body" sz="quarter" idx="14"/>
          </p:nvPr>
        </p:nvSpPr>
        <p:spPr>
          <a:xfrm>
            <a:off x="8283575" y="1808163"/>
            <a:ext cx="2357438" cy="1116012"/>
          </a:xfrm>
          <a:prstGeom prst="borderCallout1">
            <a:avLst>
              <a:gd name="adj1" fmla="val 18750"/>
              <a:gd name="adj2" fmla="val -8333"/>
              <a:gd name="adj3" fmla="val 43692"/>
              <a:gd name="adj4" fmla="val -53513"/>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1" name="Platshållare för text 9">
            <a:extLst>
              <a:ext uri="{FF2B5EF4-FFF2-40B4-BE49-F238E27FC236}">
                <a16:creationId xmlns:a16="http://schemas.microsoft.com/office/drawing/2014/main" id="{48DA029A-6476-C96E-AEC8-8E075036B218}"/>
              </a:ext>
            </a:extLst>
          </p:cNvPr>
          <p:cNvSpPr>
            <a:spLocks noGrp="1"/>
          </p:cNvSpPr>
          <p:nvPr>
            <p:ph type="body" sz="quarter" idx="15"/>
          </p:nvPr>
        </p:nvSpPr>
        <p:spPr>
          <a:xfrm>
            <a:off x="8994775" y="3244851"/>
            <a:ext cx="2357438" cy="1116012"/>
          </a:xfrm>
          <a:prstGeom prst="borderCallout1">
            <a:avLst>
              <a:gd name="adj1" fmla="val 18750"/>
              <a:gd name="adj2" fmla="val -8333"/>
              <a:gd name="adj3" fmla="val 47472"/>
              <a:gd name="adj4" fmla="val -51878"/>
            </a:avLst>
          </a:prstGeom>
          <a:solidFill>
            <a:schemeClr val="accent1">
              <a:lumMod val="20000"/>
              <a:lumOff val="80000"/>
            </a:schemeClr>
          </a:solidFill>
          <a:ln>
            <a:solidFill>
              <a:schemeClr val="accent1"/>
            </a:solidFill>
          </a:ln>
        </p:spPr>
        <p:txBody>
          <a:bodyPr anchor="ctr"/>
          <a:lstStyle>
            <a:lvl1pPr marL="0" indent="0">
              <a:buNone/>
              <a:defRPr/>
            </a:lvl1pPr>
            <a:lvl2pPr marL="271462" indent="0">
              <a:buNone/>
              <a:defRPr/>
            </a:lvl2pPr>
          </a:lstStyle>
          <a:p>
            <a:pPr lvl="0"/>
            <a:r>
              <a:rPr lang="sv-SE"/>
              <a:t>Klicka här för att ändra format på bakgrundstexten</a:t>
            </a:r>
          </a:p>
        </p:txBody>
      </p:sp>
      <p:sp>
        <p:nvSpPr>
          <p:cNvPr id="12" name="Platshållare för text 9">
            <a:extLst>
              <a:ext uri="{FF2B5EF4-FFF2-40B4-BE49-F238E27FC236}">
                <a16:creationId xmlns:a16="http://schemas.microsoft.com/office/drawing/2014/main" id="{48F0AF9E-2F6D-3E5E-7E3F-AF08659A9318}"/>
              </a:ext>
            </a:extLst>
          </p:cNvPr>
          <p:cNvSpPr>
            <a:spLocks noGrp="1"/>
          </p:cNvSpPr>
          <p:nvPr>
            <p:ph type="body" sz="quarter" idx="16"/>
          </p:nvPr>
        </p:nvSpPr>
        <p:spPr>
          <a:xfrm>
            <a:off x="8399690" y="4681538"/>
            <a:ext cx="2357438" cy="1116012"/>
          </a:xfrm>
          <a:prstGeom prst="borderCallout1">
            <a:avLst>
              <a:gd name="adj1" fmla="val 18750"/>
              <a:gd name="adj2" fmla="val -8333"/>
              <a:gd name="adj3" fmla="val 39669"/>
              <a:gd name="adj4" fmla="val -54956"/>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3" name="Platshållare för text 9">
            <a:extLst>
              <a:ext uri="{FF2B5EF4-FFF2-40B4-BE49-F238E27FC236}">
                <a16:creationId xmlns:a16="http://schemas.microsoft.com/office/drawing/2014/main" id="{637324AD-AA23-8A34-0DF8-0D7FCEB45F78}"/>
              </a:ext>
            </a:extLst>
          </p:cNvPr>
          <p:cNvSpPr>
            <a:spLocks noGrp="1"/>
          </p:cNvSpPr>
          <p:nvPr>
            <p:ph type="body" sz="quarter" idx="17"/>
          </p:nvPr>
        </p:nvSpPr>
        <p:spPr>
          <a:xfrm>
            <a:off x="1482725" y="1808163"/>
            <a:ext cx="2357438" cy="1116012"/>
          </a:xfrm>
          <a:prstGeom prst="borderCallout1">
            <a:avLst>
              <a:gd name="adj1" fmla="val 23952"/>
              <a:gd name="adj2" fmla="val 103721"/>
              <a:gd name="adj3" fmla="val 46496"/>
              <a:gd name="adj4" fmla="val 148450"/>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4" name="Platshållare för text 9">
            <a:extLst>
              <a:ext uri="{FF2B5EF4-FFF2-40B4-BE49-F238E27FC236}">
                <a16:creationId xmlns:a16="http://schemas.microsoft.com/office/drawing/2014/main" id="{5131142D-0AE0-D28E-12EC-67B64020D836}"/>
              </a:ext>
            </a:extLst>
          </p:cNvPr>
          <p:cNvSpPr>
            <a:spLocks noGrp="1"/>
          </p:cNvSpPr>
          <p:nvPr>
            <p:ph type="body" sz="quarter" idx="18"/>
          </p:nvPr>
        </p:nvSpPr>
        <p:spPr>
          <a:xfrm>
            <a:off x="839788" y="3248820"/>
            <a:ext cx="2357438" cy="1116012"/>
          </a:xfrm>
          <a:prstGeom prst="borderCallout1">
            <a:avLst>
              <a:gd name="adj1" fmla="val 23952"/>
              <a:gd name="adj2" fmla="val 103721"/>
              <a:gd name="adj3" fmla="val 42269"/>
              <a:gd name="adj4" fmla="val 143909"/>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
        <p:nvSpPr>
          <p:cNvPr id="15" name="Platshållare för text 9">
            <a:extLst>
              <a:ext uri="{FF2B5EF4-FFF2-40B4-BE49-F238E27FC236}">
                <a16:creationId xmlns:a16="http://schemas.microsoft.com/office/drawing/2014/main" id="{9CD9AB60-5A8F-BC76-E11B-07F8977903C9}"/>
              </a:ext>
            </a:extLst>
          </p:cNvPr>
          <p:cNvSpPr>
            <a:spLocks noGrp="1"/>
          </p:cNvSpPr>
          <p:nvPr>
            <p:ph type="body" sz="quarter" idx="19"/>
          </p:nvPr>
        </p:nvSpPr>
        <p:spPr>
          <a:xfrm>
            <a:off x="1482725" y="4689476"/>
            <a:ext cx="2357438" cy="1116012"/>
          </a:xfrm>
          <a:prstGeom prst="borderCallout1">
            <a:avLst>
              <a:gd name="adj1" fmla="val 23952"/>
              <a:gd name="adj2" fmla="val 103721"/>
              <a:gd name="adj3" fmla="val 39668"/>
              <a:gd name="adj4" fmla="val 146987"/>
            </a:avLst>
          </a:prstGeom>
          <a:solidFill>
            <a:schemeClr val="accent1">
              <a:lumMod val="20000"/>
              <a:lumOff val="80000"/>
            </a:schemeClr>
          </a:solidFill>
          <a:ln>
            <a:solidFill>
              <a:schemeClr val="accent1"/>
            </a:solidFill>
          </a:ln>
        </p:spPr>
        <p:txBody>
          <a:bodyPr anchor="ctr"/>
          <a:lstStyle>
            <a:lvl1pPr marL="0" indent="0">
              <a:buNone/>
              <a:defRPr/>
            </a:lvl1pPr>
          </a:lstStyle>
          <a:p>
            <a:pPr lvl="0"/>
            <a:r>
              <a:rPr lang="sv-SE"/>
              <a:t>Klicka här för att ändra format på bakgrundstexten</a:t>
            </a:r>
          </a:p>
        </p:txBody>
      </p:sp>
    </p:spTree>
    <p:extLst>
      <p:ext uri="{BB962C8B-B14F-4D97-AF65-F5344CB8AC3E}">
        <p14:creationId xmlns:p14="http://schemas.microsoft.com/office/powerpoint/2010/main" val="26443473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 3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2497667" y="1825626"/>
            <a:ext cx="8856133" cy="1189997"/>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2497667" y="3199780"/>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2497667" y="4573935"/>
            <a:ext cx="8856133" cy="1237306"/>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224434"/>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14" name="Platshållare för innehåll 2">
            <a:extLst>
              <a:ext uri="{FF2B5EF4-FFF2-40B4-BE49-F238E27FC236}">
                <a16:creationId xmlns:a16="http://schemas.microsoft.com/office/drawing/2014/main" id="{54D02B75-5286-2C0C-947B-C59D87FDF82F}"/>
              </a:ext>
            </a:extLst>
          </p:cNvPr>
          <p:cNvSpPr>
            <a:spLocks noGrp="1"/>
          </p:cNvSpPr>
          <p:nvPr>
            <p:ph sz="half" idx="18"/>
          </p:nvPr>
        </p:nvSpPr>
        <p:spPr>
          <a:xfrm>
            <a:off x="838200" y="4623241"/>
            <a:ext cx="1397000" cy="1188000"/>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7664886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C800227-24F3-424A-950F-9031EC7717A1}"/>
              </a:ext>
            </a:extLst>
          </p:cNvPr>
          <p:cNvSpPr>
            <a:spLocks noGrp="1"/>
          </p:cNvSpPr>
          <p:nvPr>
            <p:ph type="title"/>
          </p:nvPr>
        </p:nvSpPr>
        <p:spPr/>
        <p:txBody>
          <a:bodyPr/>
          <a:lstStyle/>
          <a:p>
            <a:r>
              <a:rPr lang="sv-SE"/>
              <a:t>Klicka här för att ändra mall för rubrikformat</a:t>
            </a:r>
          </a:p>
        </p:txBody>
      </p:sp>
      <p:sp>
        <p:nvSpPr>
          <p:cNvPr id="3" name="Picture Placeholder 2"/>
          <p:cNvSpPr>
            <a:spLocks noGrp="1"/>
          </p:cNvSpPr>
          <p:nvPr>
            <p:ph type="pic" idx="1" hasCustomPrompt="1"/>
          </p:nvPr>
        </p:nvSpPr>
        <p:spPr>
          <a:xfrm>
            <a:off x="407988"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4" name="Text Placeholder 3"/>
          <p:cNvSpPr>
            <a:spLocks noGrp="1"/>
          </p:cNvSpPr>
          <p:nvPr>
            <p:ph type="body" sz="half" idx="2"/>
          </p:nvPr>
        </p:nvSpPr>
        <p:spPr>
          <a:xfrm>
            <a:off x="407988"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10" name="Picture Placeholder 2">
            <a:extLst>
              <a:ext uri="{FF2B5EF4-FFF2-40B4-BE49-F238E27FC236}">
                <a16:creationId xmlns:a16="http://schemas.microsoft.com/office/drawing/2014/main" id="{F5F04B5A-F0FB-4FC9-9F5F-CDA6CEE251C7}"/>
              </a:ext>
            </a:extLst>
          </p:cNvPr>
          <p:cNvSpPr>
            <a:spLocks noGrp="1"/>
          </p:cNvSpPr>
          <p:nvPr>
            <p:ph type="pic" idx="12" hasCustomPrompt="1"/>
          </p:nvPr>
        </p:nvSpPr>
        <p:spPr>
          <a:xfrm>
            <a:off x="4296000"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5" name="Text Placeholder 3">
            <a:extLst>
              <a:ext uri="{FF2B5EF4-FFF2-40B4-BE49-F238E27FC236}">
                <a16:creationId xmlns:a16="http://schemas.microsoft.com/office/drawing/2014/main" id="{A5F93C07-C166-474C-8E0B-4E9C3BBCB337}"/>
              </a:ext>
            </a:extLst>
          </p:cNvPr>
          <p:cNvSpPr>
            <a:spLocks noGrp="1"/>
          </p:cNvSpPr>
          <p:nvPr>
            <p:ph type="body" sz="half" idx="15"/>
          </p:nvPr>
        </p:nvSpPr>
        <p:spPr>
          <a:xfrm>
            <a:off x="4296000"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11" name="Picture Placeholder 2">
            <a:extLst>
              <a:ext uri="{FF2B5EF4-FFF2-40B4-BE49-F238E27FC236}">
                <a16:creationId xmlns:a16="http://schemas.microsoft.com/office/drawing/2014/main" id="{A7F97845-F21E-448F-BCE4-594A545AB8CB}"/>
              </a:ext>
            </a:extLst>
          </p:cNvPr>
          <p:cNvSpPr>
            <a:spLocks noGrp="1"/>
          </p:cNvSpPr>
          <p:nvPr>
            <p:ph type="pic" idx="13" hasCustomPrompt="1"/>
          </p:nvPr>
        </p:nvSpPr>
        <p:spPr>
          <a:xfrm>
            <a:off x="8184013" y="1738313"/>
            <a:ext cx="3600000" cy="3660464"/>
          </a:xfrm>
          <a:solidFill>
            <a:schemeClr val="bg1">
              <a:lumMod val="85000"/>
            </a:schemeClr>
          </a:solidFill>
        </p:spPr>
        <p:txBody>
          <a:bodyPr anchor="ctr" anchorCtr="0">
            <a:normAutofit/>
          </a:bodyPr>
          <a:lstStyle>
            <a:lvl1pPr marL="0" indent="0" algn="ctr">
              <a:buNone/>
              <a:defRPr sz="20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sv-SE"/>
              <a:t>Klicka på ikonen </a:t>
            </a:r>
            <a:br>
              <a:rPr lang="sv-SE"/>
            </a:br>
            <a:br>
              <a:rPr lang="sv-SE"/>
            </a:br>
            <a:r>
              <a:rPr lang="sv-SE"/>
              <a:t>för att lägga till en bild</a:t>
            </a:r>
            <a:endParaRPr lang="en-US"/>
          </a:p>
        </p:txBody>
      </p:sp>
      <p:sp>
        <p:nvSpPr>
          <p:cNvPr id="14" name="Text Placeholder 3">
            <a:extLst>
              <a:ext uri="{FF2B5EF4-FFF2-40B4-BE49-F238E27FC236}">
                <a16:creationId xmlns:a16="http://schemas.microsoft.com/office/drawing/2014/main" id="{5F230963-9997-4CAE-9B9D-4F53D8044D29}"/>
              </a:ext>
            </a:extLst>
          </p:cNvPr>
          <p:cNvSpPr>
            <a:spLocks noGrp="1"/>
          </p:cNvSpPr>
          <p:nvPr>
            <p:ph type="body" sz="half" idx="14"/>
          </p:nvPr>
        </p:nvSpPr>
        <p:spPr>
          <a:xfrm>
            <a:off x="8184013" y="5528974"/>
            <a:ext cx="3600000" cy="384464"/>
          </a:xfrm>
        </p:spPr>
        <p:txBody>
          <a:bodyPr>
            <a:normAutofit/>
          </a:bodyPr>
          <a:lstStyle>
            <a:lvl1pPr marL="0" indent="0">
              <a:buFont typeface="Arial" panose="020B0604020202020204" pitchFamily="34" charset="0"/>
              <a:buNone/>
              <a:defRPr sz="1400"/>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sv-SE"/>
              <a:t>Klicka här för att ändra format på bakgrundstexten</a:t>
            </a:r>
          </a:p>
        </p:txBody>
      </p:sp>
      <p:sp>
        <p:nvSpPr>
          <p:cNvPr id="6" name="Platshållare för bildnummer 5">
            <a:extLst>
              <a:ext uri="{FF2B5EF4-FFF2-40B4-BE49-F238E27FC236}">
                <a16:creationId xmlns:a16="http://schemas.microsoft.com/office/drawing/2014/main" id="{344BB15C-87DA-407B-A8B6-CA070A8D70E5}"/>
              </a:ext>
            </a:extLst>
          </p:cNvPr>
          <p:cNvSpPr>
            <a:spLocks noGrp="1"/>
          </p:cNvSpPr>
          <p:nvPr>
            <p:ph type="sldNum" sz="quarter" idx="16"/>
          </p:nvPr>
        </p:nvSpPr>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10088029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 2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3323771" y="1825625"/>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3323771" y="3915457"/>
            <a:ext cx="8030029" cy="1890000"/>
          </a:xfrm>
        </p:spPr>
        <p:txBody>
          <a:bodyPr>
            <a:noAutofit/>
          </a:bodyPr>
          <a:lstStyle/>
          <a:p>
            <a:pPr lvl="0"/>
            <a:r>
              <a:rPr lang="sv-SE"/>
              <a:t>Klicka här för att ändra format på bakgrundstexten</a:t>
            </a:r>
          </a:p>
          <a:p>
            <a:pPr lvl="1"/>
            <a:r>
              <a:rPr lang="sv-SE"/>
              <a:t>Nivå två</a:t>
            </a:r>
          </a:p>
          <a:p>
            <a:pPr lvl="2"/>
            <a:r>
              <a:rPr lang="sv-SE"/>
              <a:t>Nivå tre</a:t>
            </a:r>
          </a:p>
        </p:txBody>
      </p:sp>
      <p:sp>
        <p:nvSpPr>
          <p:cNvPr id="13" name="Platshållare för innehåll 2">
            <a:extLst>
              <a:ext uri="{FF2B5EF4-FFF2-40B4-BE49-F238E27FC236}">
                <a16:creationId xmlns:a16="http://schemas.microsoft.com/office/drawing/2014/main" id="{EF716A03-6C7A-2959-AC61-4F31BF3E8739}"/>
              </a:ext>
            </a:extLst>
          </p:cNvPr>
          <p:cNvSpPr>
            <a:spLocks noGrp="1"/>
          </p:cNvSpPr>
          <p:nvPr>
            <p:ph sz="half" idx="17"/>
          </p:nvPr>
        </p:nvSpPr>
        <p:spPr>
          <a:xfrm>
            <a:off x="838200" y="3915457"/>
            <a:ext cx="2222536" cy="1890031"/>
          </a:xfrm>
          <a:prstGeom prst="hexagon">
            <a:avLst/>
          </a:prstGeom>
          <a:solidFill>
            <a:schemeClr val="accent1"/>
          </a:solidFill>
        </p:spPr>
        <p:txBody>
          <a:bodyPr lIns="144000" rIns="144000" anchor="ctr">
            <a:noAutofit/>
          </a:bodyPr>
          <a:lstStyle>
            <a:lvl1pPr marL="0" indent="0" algn="ctr">
              <a:buNone/>
              <a:defRPr>
                <a:solidFill>
                  <a:schemeClr val="bg1"/>
                </a:solidFill>
              </a:defRPr>
            </a:lvl1pPr>
            <a:lvl2pPr marL="271462" indent="0">
              <a:buNone/>
              <a:defRPr/>
            </a:lvl2pPr>
          </a:lstStyle>
          <a:p>
            <a:pPr lvl="0"/>
            <a:r>
              <a:rPr lang="sv-SE"/>
              <a:t>Klicka här för att ändra format på bakgrundstexten</a:t>
            </a:r>
          </a:p>
        </p:txBody>
      </p:sp>
    </p:spTree>
    <p:extLst>
      <p:ext uri="{BB962C8B-B14F-4D97-AF65-F5344CB8AC3E}">
        <p14:creationId xmlns:p14="http://schemas.microsoft.com/office/powerpoint/2010/main" val="10925133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gosida">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C6180E-8AA2-3277-A3FD-4A6BA40792B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D931F59B-69AB-F1B0-50AC-534A5C740925}"/>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4" name="Platshållare för sidfot 3">
            <a:extLst>
              <a:ext uri="{FF2B5EF4-FFF2-40B4-BE49-F238E27FC236}">
                <a16:creationId xmlns:a16="http://schemas.microsoft.com/office/drawing/2014/main" id="{FFC706FC-B74A-7873-C1E2-2FF12B8356C3}"/>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4FB78EA-4B44-1A7E-57D6-0B28CCEA4FB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E38DADB9-19A8-55AA-664E-3EF6ED455336}"/>
              </a:ext>
            </a:extLst>
          </p:cNvPr>
          <p:cNvSpPr/>
          <p:nvPr userDrawn="1"/>
        </p:nvSpPr>
        <p:spPr>
          <a:xfrm>
            <a:off x="839788" y="1808163"/>
            <a:ext cx="10512425" cy="4068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9634060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6F5F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09792E-A871-10CC-323D-74260B7C2E36}"/>
              </a:ext>
            </a:extLst>
          </p:cNvPr>
          <p:cNvGraphicFramePr>
            <a:graphicFrameLocks noChangeAspect="1"/>
          </p:cNvGraphicFramePr>
          <p:nvPr userDrawn="1">
            <p:custDataLst>
              <p:tags r:id="rId1"/>
            </p:custDataLst>
            <p:extLst>
              <p:ext uri="{D42A27DB-BD31-4B8C-83A1-F6EECF244321}">
                <p14:modId xmlns:p14="http://schemas.microsoft.com/office/powerpoint/2010/main" val="226237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B909792E-A871-10CC-323D-74260B7C2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ubrik 1">
            <a:extLst>
              <a:ext uri="{FF2B5EF4-FFF2-40B4-BE49-F238E27FC236}">
                <a16:creationId xmlns:a16="http://schemas.microsoft.com/office/drawing/2014/main" id="{95DE5F71-E0FB-60E8-E42D-0CA0AE954CBD}"/>
              </a:ext>
            </a:extLst>
          </p:cNvPr>
          <p:cNvSpPr>
            <a:spLocks noGrp="1"/>
          </p:cNvSpPr>
          <p:nvPr>
            <p:ph type="title"/>
          </p:nvPr>
        </p:nvSpPr>
        <p:spPr>
          <a:xfrm>
            <a:off x="838200" y="365125"/>
            <a:ext cx="10515600" cy="1325563"/>
          </a:xfrm>
        </p:spPr>
        <p:txBody>
          <a:bodyPr/>
          <a:lstStyle/>
          <a:p>
            <a:r>
              <a:rPr lang="sv-SE"/>
              <a:t>Klicka här för att ändra mall för rubrikformat</a:t>
            </a:r>
            <a:endParaRPr lang="en-GB"/>
          </a:p>
        </p:txBody>
      </p:sp>
    </p:spTree>
    <p:extLst>
      <p:ext uri="{BB962C8B-B14F-4D97-AF65-F5344CB8AC3E}">
        <p14:creationId xmlns:p14="http://schemas.microsoft.com/office/powerpoint/2010/main" val="31802778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339296161"/>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40397725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ramsida ver 6">
    <p:spTree>
      <p:nvGrpSpPr>
        <p:cNvPr id="1" name=""/>
        <p:cNvGrpSpPr/>
        <p:nvPr/>
      </p:nvGrpSpPr>
      <p:grpSpPr>
        <a:xfrm>
          <a:off x="0" y="0"/>
          <a:ext cx="0" cy="0"/>
          <a:chOff x="0" y="0"/>
          <a:chExt cx="0" cy="0"/>
        </a:xfrm>
      </p:grpSpPr>
      <p:pic>
        <p:nvPicPr>
          <p:cNvPr id="4" name="Bildobjekt 3" descr="En bild som visar himmel, utomhus, flera&#10;&#10;Automatiskt genererad beskrivning">
            <a:extLst>
              <a:ext uri="{FF2B5EF4-FFF2-40B4-BE49-F238E27FC236}">
                <a16:creationId xmlns:a16="http://schemas.microsoft.com/office/drawing/2014/main" id="{AB68B31A-1E54-4F66-A3F8-68DCC3EA208C}"/>
              </a:ext>
            </a:extLst>
          </p:cNvPr>
          <p:cNvPicPr>
            <a:picLocks noChangeAspect="1"/>
          </p:cNvPicPr>
          <p:nvPr userDrawn="1"/>
        </p:nvPicPr>
        <p:blipFill>
          <a:blip r:embed="rId2"/>
          <a:stretch>
            <a:fillRect/>
          </a:stretch>
        </p:blipFill>
        <p:spPr>
          <a:xfrm>
            <a:off x="706" y="0"/>
            <a:ext cx="12190588"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9473514" y="551915"/>
            <a:ext cx="1846734" cy="1612020"/>
          </a:xfrm>
          <a:prstGeom prst="hexagon">
            <a:avLst/>
          </a:prstGeom>
          <a:solidFill>
            <a:schemeClr val="accent5"/>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1938311"/>
            <a:ext cx="6607816" cy="1655762"/>
          </a:xfrm>
        </p:spPr>
        <p:txBody>
          <a:bodyPr anchor="ctr">
            <a:normAutofit/>
          </a:bodyPr>
          <a:lstStyle>
            <a:lvl1pPr algn="ctr">
              <a:lnSpc>
                <a:spcPts val="4200"/>
              </a:lnSpc>
              <a:defRPr sz="4000">
                <a:solidFill>
                  <a:schemeClr val="tx2"/>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8838610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7981121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7126710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40502993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36256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988549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ild helsida">
    <p:spTree>
      <p:nvGrpSpPr>
        <p:cNvPr id="1" name=""/>
        <p:cNvGrpSpPr/>
        <p:nvPr/>
      </p:nvGrpSpPr>
      <p:grpSpPr>
        <a:xfrm>
          <a:off x="0" y="0"/>
          <a:ext cx="0" cy="0"/>
          <a:chOff x="0" y="0"/>
          <a:chExt cx="0" cy="0"/>
        </a:xfrm>
      </p:grpSpPr>
      <p:sp>
        <p:nvSpPr>
          <p:cNvPr id="5" name="Platshållare för bild 4"/>
          <p:cNvSpPr>
            <a:spLocks noGrp="1"/>
          </p:cNvSpPr>
          <p:nvPr>
            <p:ph type="pic" sz="quarter" idx="10" hasCustomPrompt="1"/>
          </p:nvPr>
        </p:nvSpPr>
        <p:spPr>
          <a:xfrm>
            <a:off x="0" y="0"/>
            <a:ext cx="12192000" cy="6858000"/>
          </a:xfrm>
          <a:prstGeom prst="round2SameRect">
            <a:avLst>
              <a:gd name="adj1" fmla="val 0"/>
              <a:gd name="adj2" fmla="val 0"/>
            </a:avLst>
          </a:prstGeom>
          <a:solidFill>
            <a:schemeClr val="bg1">
              <a:lumMod val="85000"/>
            </a:schemeClr>
          </a:solidFill>
        </p:spPr>
        <p:txBody>
          <a:bodyPr anchor="ctr" anchorCtr="0"/>
          <a:lstStyle>
            <a:lvl1pPr marL="0" marR="0" indent="0" algn="ctr" defTabSz="914332" rtl="0" eaLnBrk="1" fontAlgn="auto" latinLnBrk="0" hangingPunct="1">
              <a:lnSpc>
                <a:spcPct val="100000"/>
              </a:lnSpc>
              <a:spcBef>
                <a:spcPts val="1843"/>
              </a:spcBef>
              <a:spcAft>
                <a:spcPts val="0"/>
              </a:spcAft>
              <a:buClrTx/>
              <a:buSzTx/>
              <a:buFont typeface="Arial" panose="020B0604020202020204" pitchFamily="34" charset="0"/>
              <a:buNone/>
              <a:tabLst/>
              <a:defRPr/>
            </a:lvl1pPr>
          </a:lstStyle>
          <a:p>
            <a:pPr marL="0" marR="0" lvl="0" indent="0" algn="l" defTabSz="914332" rtl="0" eaLnBrk="1" fontAlgn="auto" latinLnBrk="0" hangingPunct="1">
              <a:lnSpc>
                <a:spcPct val="100000"/>
              </a:lnSpc>
              <a:spcBef>
                <a:spcPts val="1843"/>
              </a:spcBef>
              <a:spcAft>
                <a:spcPts val="0"/>
              </a:spcAft>
              <a:buClrTx/>
              <a:buSzTx/>
              <a:buFont typeface="Arial" panose="020B0604020202020204" pitchFamily="34" charset="0"/>
              <a:buNone/>
              <a:tabLst/>
              <a:defRPr/>
            </a:pPr>
            <a:r>
              <a:rPr lang="sv-SE"/>
              <a:t>Klicka på ikonen </a:t>
            </a:r>
            <a:br>
              <a:rPr lang="sv-SE"/>
            </a:br>
            <a:br>
              <a:rPr lang="sv-SE"/>
            </a:br>
            <a:r>
              <a:rPr lang="sv-SE"/>
              <a:t>för att lägga till en bild</a:t>
            </a:r>
            <a:endParaRPr lang="en-US"/>
          </a:p>
        </p:txBody>
      </p:sp>
    </p:spTree>
    <p:extLst>
      <p:ext uri="{BB962C8B-B14F-4D97-AF65-F5344CB8AC3E}">
        <p14:creationId xmlns:p14="http://schemas.microsoft.com/office/powerpoint/2010/main" val="14684120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39273057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3">
    <p:bg>
      <p:bgPr>
        <a:solidFill>
          <a:srgbClr val="E5EDF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140904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4">
    <p:bg>
      <p:bgPr>
        <a:solidFill>
          <a:srgbClr val="D9E7DE"/>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8743770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5">
    <p:bg>
      <p:bgPr>
        <a:solidFill>
          <a:srgbClr val="F6F5F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tx2"/>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tx2"/>
                </a:solidFill>
              </a:rPr>
              <a:t>Business region göteborg – en del av göteborgs stad i samarbete med regionen</a:t>
            </a:r>
          </a:p>
        </p:txBody>
      </p:sp>
      <p:pic>
        <p:nvPicPr>
          <p:cNvPr id="6" name="Bildobjekt 5">
            <a:extLst>
              <a:ext uri="{FF2B5EF4-FFF2-40B4-BE49-F238E27FC236}">
                <a16:creationId xmlns:a16="http://schemas.microsoft.com/office/drawing/2014/main" id="{4EDE55F3-42D1-4742-8B98-92A9F4116A34}"/>
              </a:ext>
            </a:extLst>
          </p:cNvPr>
          <p:cNvPicPr>
            <a:picLocks noChangeAspect="1"/>
          </p:cNvPicPr>
          <p:nvPr userDrawn="1"/>
        </p:nvPicPr>
        <p:blipFill>
          <a:blip r:embed="rId5"/>
          <a:stretch>
            <a:fillRect/>
          </a:stretch>
        </p:blipFill>
        <p:spPr>
          <a:xfrm>
            <a:off x="4726494" y="2547569"/>
            <a:ext cx="2739012" cy="1762861"/>
          </a:xfrm>
          <a:prstGeom prst="rect">
            <a:avLst/>
          </a:prstGeom>
        </p:spPr>
      </p:pic>
    </p:spTree>
    <p:extLst>
      <p:ext uri="{BB962C8B-B14F-4D97-AF65-F5344CB8AC3E}">
        <p14:creationId xmlns:p14="http://schemas.microsoft.com/office/powerpoint/2010/main" val="28299825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o not used slides added after this slid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7D998-5772-F48A-F7BA-7A582AB6156C}"/>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C1D3092D-94D7-9404-4A40-A77D358363E0}"/>
              </a:ext>
            </a:extLst>
          </p:cNvPr>
          <p:cNvSpPr>
            <a:spLocks noGrp="1"/>
          </p:cNvSpPr>
          <p:nvPr>
            <p:ph type="dt" sz="half" idx="10"/>
          </p:nvPr>
        </p:nvSpPr>
        <p:spPr/>
        <p:txBody>
          <a:bodyPr/>
          <a:lstStyle/>
          <a:p>
            <a:fld id="{F5AD5718-60B2-496E-9FAD-9B02076132A9}" type="datetimeFigureOut">
              <a:rPr lang="en-GB" smtClean="0"/>
              <a:t>04/11/2025</a:t>
            </a:fld>
            <a:endParaRPr lang="en-GB"/>
          </a:p>
        </p:txBody>
      </p:sp>
      <p:sp>
        <p:nvSpPr>
          <p:cNvPr id="4" name="Platshållare för sidfot 3">
            <a:extLst>
              <a:ext uri="{FF2B5EF4-FFF2-40B4-BE49-F238E27FC236}">
                <a16:creationId xmlns:a16="http://schemas.microsoft.com/office/drawing/2014/main" id="{1BF36466-2F05-E603-8DBB-B6F898FF3CE6}"/>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DD30648-32FD-D873-CF12-497647853A3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6" name="Rektangel 5">
            <a:extLst>
              <a:ext uri="{FF2B5EF4-FFF2-40B4-BE49-F238E27FC236}">
                <a16:creationId xmlns:a16="http://schemas.microsoft.com/office/drawing/2014/main" id="{57C68154-B8A1-0A31-BE87-13D5715A10B1}"/>
              </a:ext>
            </a:extLst>
          </p:cNvPr>
          <p:cNvSpPr/>
          <p:nvPr userDrawn="1"/>
        </p:nvSpPr>
        <p:spPr>
          <a:xfrm>
            <a:off x="0" y="0"/>
            <a:ext cx="12192000"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600"/>
              <a:t>ANVÄND INTE MALLSIDOR EFTER DENNA SIDA</a:t>
            </a:r>
            <a:endParaRPr lang="sv-SE" sz="6600"/>
          </a:p>
        </p:txBody>
      </p:sp>
    </p:spTree>
    <p:extLst>
      <p:ext uri="{BB962C8B-B14F-4D97-AF65-F5344CB8AC3E}">
        <p14:creationId xmlns:p14="http://schemas.microsoft.com/office/powerpoint/2010/main" val="293735186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hasCustomPrompt="1"/>
          </p:nvPr>
        </p:nvSpPr>
        <p:spPr>
          <a:xfrm>
            <a:off x="1731696" y="2626153"/>
            <a:ext cx="8728608" cy="1349829"/>
          </a:xfrm>
          <a:prstGeom prst="rect">
            <a:avLst/>
          </a:prstGeom>
        </p:spPr>
        <p:txBody>
          <a:bodyPr anchor="ctr" anchorCtr="0">
            <a:noAutofit/>
          </a:bodyPr>
          <a:lstStyle>
            <a:lvl1pPr algn="l">
              <a:lnSpc>
                <a:spcPct val="90000"/>
              </a:lnSpc>
              <a:defRPr sz="6000" kern="0" spc="0" baseline="0">
                <a:solidFill>
                  <a:schemeClr val="bg1"/>
                </a:solidFill>
              </a:defRPr>
            </a:lvl1pPr>
          </a:lstStyle>
          <a:p>
            <a:r>
              <a:rPr lang="sv-SE"/>
              <a:t>Rubrik</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731696" y="4165601"/>
            <a:ext cx="8728608" cy="251417"/>
          </a:xfrm>
        </p:spPr>
        <p:txBody>
          <a:bodyPr>
            <a:noAutofit/>
          </a:bodyPr>
          <a:lstStyle>
            <a:lvl1pPr marL="0" indent="0">
              <a:lnSpc>
                <a:spcPct val="100000"/>
              </a:lnSpc>
              <a:spcBef>
                <a:spcPts val="0"/>
              </a:spcBef>
              <a:buNone/>
              <a:defRPr sz="20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731696" y="4606637"/>
            <a:ext cx="8728608" cy="251417"/>
          </a:xfrm>
        </p:spPr>
        <p:txBody>
          <a:bodyPr>
            <a:noAutofit/>
          </a:bodyPr>
          <a:lstStyle>
            <a:lvl1pPr marL="0" indent="0">
              <a:lnSpc>
                <a:spcPct val="100000"/>
              </a:lnSpc>
              <a:spcBef>
                <a:spcPts val="0"/>
              </a:spcBef>
              <a:buNone/>
              <a:defRPr sz="16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1588045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Rubrikbi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hasCustomPrompt="1"/>
          </p:nvPr>
        </p:nvSpPr>
        <p:spPr>
          <a:xfrm>
            <a:off x="1731696" y="2626153"/>
            <a:ext cx="8728608" cy="1349829"/>
          </a:xfrm>
          <a:prstGeom prst="rect">
            <a:avLst/>
          </a:prstGeom>
        </p:spPr>
        <p:txBody>
          <a:bodyPr anchor="ctr" anchorCtr="0">
            <a:noAutofit/>
          </a:bodyPr>
          <a:lstStyle>
            <a:lvl1pPr algn="l">
              <a:lnSpc>
                <a:spcPct val="90000"/>
              </a:lnSpc>
              <a:defRPr sz="6000" kern="0" spc="0" baseline="0">
                <a:solidFill>
                  <a:schemeClr val="bg1"/>
                </a:solidFill>
              </a:defRPr>
            </a:lvl1pPr>
          </a:lstStyle>
          <a:p>
            <a:r>
              <a:rPr lang="sv-SE"/>
              <a:t>Rubrik</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731696" y="4165601"/>
            <a:ext cx="8728608" cy="251417"/>
          </a:xfrm>
        </p:spPr>
        <p:txBody>
          <a:bodyPr>
            <a:noAutofit/>
          </a:bodyPr>
          <a:lstStyle>
            <a:lvl1pPr marL="0" indent="0">
              <a:lnSpc>
                <a:spcPct val="100000"/>
              </a:lnSpc>
              <a:spcBef>
                <a:spcPts val="0"/>
              </a:spcBef>
              <a:buNone/>
              <a:defRPr sz="20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731696" y="4606637"/>
            <a:ext cx="8728608" cy="251417"/>
          </a:xfrm>
        </p:spPr>
        <p:txBody>
          <a:bodyPr>
            <a:noAutofit/>
          </a:bodyPr>
          <a:lstStyle>
            <a:lvl1pPr marL="0" indent="0">
              <a:lnSpc>
                <a:spcPct val="100000"/>
              </a:lnSpc>
              <a:spcBef>
                <a:spcPts val="0"/>
              </a:spcBef>
              <a:buNone/>
              <a:defRPr sz="16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spTree>
    <p:extLst>
      <p:ext uri="{BB962C8B-B14F-4D97-AF65-F5344CB8AC3E}">
        <p14:creationId xmlns:p14="http://schemas.microsoft.com/office/powerpoint/2010/main" val="266379195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_Rubrikbild_violet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hasCustomPrompt="1"/>
          </p:nvPr>
        </p:nvSpPr>
        <p:spPr>
          <a:xfrm>
            <a:off x="1635902" y="3057840"/>
            <a:ext cx="6854955" cy="1349829"/>
          </a:xfrm>
          <a:prstGeom prst="rect">
            <a:avLst/>
          </a:prstGeom>
        </p:spPr>
        <p:txBody>
          <a:bodyPr anchor="ctr" anchorCtr="0">
            <a:noAutofit/>
          </a:bodyPr>
          <a:lstStyle>
            <a:lvl1pPr algn="l">
              <a:lnSpc>
                <a:spcPct val="90000"/>
              </a:lnSpc>
              <a:defRPr sz="6000" kern="0" spc="0" baseline="0">
                <a:solidFill>
                  <a:schemeClr val="bg1"/>
                </a:solidFill>
              </a:defRPr>
            </a:lvl1pPr>
          </a:lstStyle>
          <a:p>
            <a:r>
              <a:rPr lang="sv-SE"/>
              <a:t>Rubrik</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635902" y="4597288"/>
            <a:ext cx="6854955" cy="251417"/>
          </a:xfrm>
        </p:spPr>
        <p:txBody>
          <a:bodyPr>
            <a:noAutofit/>
          </a:bodyPr>
          <a:lstStyle>
            <a:lvl1pPr marL="0" indent="0">
              <a:lnSpc>
                <a:spcPct val="100000"/>
              </a:lnSpc>
              <a:spcBef>
                <a:spcPts val="0"/>
              </a:spcBef>
              <a:buNone/>
              <a:defRPr sz="20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635902" y="5038324"/>
            <a:ext cx="6854955" cy="251417"/>
          </a:xfrm>
        </p:spPr>
        <p:txBody>
          <a:bodyPr>
            <a:noAutofit/>
          </a:bodyPr>
          <a:lstStyle>
            <a:lvl1pPr marL="0" indent="0">
              <a:lnSpc>
                <a:spcPct val="100000"/>
              </a:lnSpc>
              <a:spcBef>
                <a:spcPts val="0"/>
              </a:spcBef>
              <a:buNone/>
              <a:defRPr sz="16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grpSp>
        <p:nvGrpSpPr>
          <p:cNvPr id="4" name="Grupp 3">
            <a:extLst>
              <a:ext uri="{FF2B5EF4-FFF2-40B4-BE49-F238E27FC236}">
                <a16:creationId xmlns:a16="http://schemas.microsoft.com/office/drawing/2014/main" id="{9D0C3CEE-92A0-928E-C16A-9D037657434A}"/>
              </a:ext>
            </a:extLst>
          </p:cNvPr>
          <p:cNvGrpSpPr/>
          <p:nvPr userDrawn="1"/>
        </p:nvGrpSpPr>
        <p:grpSpPr>
          <a:xfrm>
            <a:off x="8368210" y="1144857"/>
            <a:ext cx="3411040" cy="2155912"/>
            <a:chOff x="8368210" y="1144857"/>
            <a:chExt cx="3411040" cy="2155912"/>
          </a:xfrm>
          <a:solidFill>
            <a:schemeClr val="bg2"/>
          </a:solidFill>
        </p:grpSpPr>
        <p:sp>
          <p:nvSpPr>
            <p:cNvPr id="7" name="Frihandsfigur: Form 6">
              <a:extLst>
                <a:ext uri="{FF2B5EF4-FFF2-40B4-BE49-F238E27FC236}">
                  <a16:creationId xmlns:a16="http://schemas.microsoft.com/office/drawing/2014/main" id="{7CE6FD6F-F443-631A-EBE4-6222476753B7}"/>
                </a:ext>
              </a:extLst>
            </p:cNvPr>
            <p:cNvSpPr/>
            <p:nvPr/>
          </p:nvSpPr>
          <p:spPr>
            <a:xfrm>
              <a:off x="8368210" y="1539204"/>
              <a:ext cx="2381680" cy="521590"/>
            </a:xfrm>
            <a:custGeom>
              <a:avLst/>
              <a:gdLst>
                <a:gd name="connsiteX0" fmla="*/ 2122185 w 2381680"/>
                <a:gd name="connsiteY0" fmla="*/ 63 h 521590"/>
                <a:gd name="connsiteX1" fmla="*/ 1898954 w 2381680"/>
                <a:gd name="connsiteY1" fmla="*/ 123947 h 521590"/>
                <a:gd name="connsiteX2" fmla="*/ 1811018 w 2381680"/>
                <a:gd name="connsiteY2" fmla="*/ 173652 h 521590"/>
                <a:gd name="connsiteX3" fmla="*/ 1810764 w 2381680"/>
                <a:gd name="connsiteY3" fmla="*/ 173652 h 521590"/>
                <a:gd name="connsiteX4" fmla="*/ 1723272 w 2381680"/>
                <a:gd name="connsiteY4" fmla="*/ 124581 h 521590"/>
                <a:gd name="connsiteX5" fmla="*/ 1500866 w 2381680"/>
                <a:gd name="connsiteY5" fmla="*/ 0 h 521590"/>
                <a:gd name="connsiteX6" fmla="*/ 1278459 w 2381680"/>
                <a:gd name="connsiteY6" fmla="*/ 124581 h 521590"/>
                <a:gd name="connsiteX7" fmla="*/ 1190967 w 2381680"/>
                <a:gd name="connsiteY7" fmla="*/ 173652 h 521590"/>
                <a:gd name="connsiteX8" fmla="*/ 1190713 w 2381680"/>
                <a:gd name="connsiteY8" fmla="*/ 173652 h 521590"/>
                <a:gd name="connsiteX9" fmla="*/ 1103222 w 2381680"/>
                <a:gd name="connsiteY9" fmla="*/ 124581 h 521590"/>
                <a:gd name="connsiteX10" fmla="*/ 880815 w 2381680"/>
                <a:gd name="connsiteY10" fmla="*/ 0 h 521590"/>
                <a:gd name="connsiteX11" fmla="*/ 658408 w 2381680"/>
                <a:gd name="connsiteY11" fmla="*/ 124581 h 521590"/>
                <a:gd name="connsiteX12" fmla="*/ 570916 w 2381680"/>
                <a:gd name="connsiteY12" fmla="*/ 173652 h 521590"/>
                <a:gd name="connsiteX13" fmla="*/ 570662 w 2381680"/>
                <a:gd name="connsiteY13" fmla="*/ 173652 h 521590"/>
                <a:gd name="connsiteX14" fmla="*/ 482727 w 2381680"/>
                <a:gd name="connsiteY14" fmla="*/ 123947 h 521590"/>
                <a:gd name="connsiteX15" fmla="*/ 259496 w 2381680"/>
                <a:gd name="connsiteY15" fmla="*/ 63 h 521590"/>
                <a:gd name="connsiteX16" fmla="*/ 0 w 2381680"/>
                <a:gd name="connsiteY16" fmla="*/ 260827 h 521590"/>
                <a:gd name="connsiteX17" fmla="*/ 260764 w 2381680"/>
                <a:gd name="connsiteY17" fmla="*/ 521591 h 521590"/>
                <a:gd name="connsiteX18" fmla="*/ 483171 w 2381680"/>
                <a:gd name="connsiteY18" fmla="*/ 397010 h 521590"/>
                <a:gd name="connsiteX19" fmla="*/ 570662 w 2381680"/>
                <a:gd name="connsiteY19" fmla="*/ 347939 h 521590"/>
                <a:gd name="connsiteX20" fmla="*/ 570916 w 2381680"/>
                <a:gd name="connsiteY20" fmla="*/ 347939 h 521590"/>
                <a:gd name="connsiteX21" fmla="*/ 658408 w 2381680"/>
                <a:gd name="connsiteY21" fmla="*/ 397010 h 521590"/>
                <a:gd name="connsiteX22" fmla="*/ 880815 w 2381680"/>
                <a:gd name="connsiteY22" fmla="*/ 521591 h 521590"/>
                <a:gd name="connsiteX23" fmla="*/ 1103222 w 2381680"/>
                <a:gd name="connsiteY23" fmla="*/ 397010 h 521590"/>
                <a:gd name="connsiteX24" fmla="*/ 1190713 w 2381680"/>
                <a:gd name="connsiteY24" fmla="*/ 347939 h 521590"/>
                <a:gd name="connsiteX25" fmla="*/ 1190967 w 2381680"/>
                <a:gd name="connsiteY25" fmla="*/ 347939 h 521590"/>
                <a:gd name="connsiteX26" fmla="*/ 1278459 w 2381680"/>
                <a:gd name="connsiteY26" fmla="*/ 397010 h 521590"/>
                <a:gd name="connsiteX27" fmla="*/ 1500866 w 2381680"/>
                <a:gd name="connsiteY27" fmla="*/ 521591 h 521590"/>
                <a:gd name="connsiteX28" fmla="*/ 1723272 w 2381680"/>
                <a:gd name="connsiteY28" fmla="*/ 397010 h 521590"/>
                <a:gd name="connsiteX29" fmla="*/ 1810764 w 2381680"/>
                <a:gd name="connsiteY29" fmla="*/ 347939 h 521590"/>
                <a:gd name="connsiteX30" fmla="*/ 1811018 w 2381680"/>
                <a:gd name="connsiteY30" fmla="*/ 347939 h 521590"/>
                <a:gd name="connsiteX31" fmla="*/ 1898510 w 2381680"/>
                <a:gd name="connsiteY31" fmla="*/ 397010 h 521590"/>
                <a:gd name="connsiteX32" fmla="*/ 2120917 w 2381680"/>
                <a:gd name="connsiteY32" fmla="*/ 521591 h 521590"/>
                <a:gd name="connsiteX33" fmla="*/ 2381680 w 2381680"/>
                <a:gd name="connsiteY33" fmla="*/ 260827 h 521590"/>
                <a:gd name="connsiteX34" fmla="*/ 2122185 w 2381680"/>
                <a:gd name="connsiteY34" fmla="*/ 63 h 52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81680" h="521590">
                  <a:moveTo>
                    <a:pt x="2122185" y="63"/>
                  </a:moveTo>
                  <a:cubicBezTo>
                    <a:pt x="2027845" y="-380"/>
                    <a:pt x="1945045" y="49262"/>
                    <a:pt x="1898954" y="123947"/>
                  </a:cubicBezTo>
                  <a:cubicBezTo>
                    <a:pt x="1880060" y="154569"/>
                    <a:pt x="1847029" y="173652"/>
                    <a:pt x="1811018" y="173652"/>
                  </a:cubicBezTo>
                  <a:lnTo>
                    <a:pt x="1810764" y="173652"/>
                  </a:lnTo>
                  <a:cubicBezTo>
                    <a:pt x="1775070" y="173652"/>
                    <a:pt x="1741975" y="155076"/>
                    <a:pt x="1723272" y="124581"/>
                  </a:cubicBezTo>
                  <a:cubicBezTo>
                    <a:pt x="1677434" y="49896"/>
                    <a:pt x="1594951" y="0"/>
                    <a:pt x="1500866" y="0"/>
                  </a:cubicBezTo>
                  <a:cubicBezTo>
                    <a:pt x="1406780" y="0"/>
                    <a:pt x="1324360" y="49832"/>
                    <a:pt x="1278459" y="124581"/>
                  </a:cubicBezTo>
                  <a:cubicBezTo>
                    <a:pt x="1259756" y="155013"/>
                    <a:pt x="1226661" y="173652"/>
                    <a:pt x="1190967" y="173652"/>
                  </a:cubicBezTo>
                  <a:lnTo>
                    <a:pt x="1190713" y="173652"/>
                  </a:lnTo>
                  <a:cubicBezTo>
                    <a:pt x="1155019" y="173652"/>
                    <a:pt x="1121925" y="155076"/>
                    <a:pt x="1103222" y="124581"/>
                  </a:cubicBezTo>
                  <a:cubicBezTo>
                    <a:pt x="1057383" y="49896"/>
                    <a:pt x="974900" y="0"/>
                    <a:pt x="880815" y="0"/>
                  </a:cubicBezTo>
                  <a:cubicBezTo>
                    <a:pt x="786729" y="0"/>
                    <a:pt x="704309" y="49832"/>
                    <a:pt x="658408" y="124581"/>
                  </a:cubicBezTo>
                  <a:cubicBezTo>
                    <a:pt x="639705" y="155013"/>
                    <a:pt x="606610" y="173652"/>
                    <a:pt x="570916" y="173652"/>
                  </a:cubicBezTo>
                  <a:lnTo>
                    <a:pt x="570662" y="173652"/>
                  </a:lnTo>
                  <a:cubicBezTo>
                    <a:pt x="534651" y="173652"/>
                    <a:pt x="501683" y="154569"/>
                    <a:pt x="482727" y="123947"/>
                  </a:cubicBezTo>
                  <a:cubicBezTo>
                    <a:pt x="436572" y="49262"/>
                    <a:pt x="353835" y="-380"/>
                    <a:pt x="259496" y="63"/>
                  </a:cubicBezTo>
                  <a:cubicBezTo>
                    <a:pt x="115768" y="761"/>
                    <a:pt x="0" y="117100"/>
                    <a:pt x="0" y="260827"/>
                  </a:cubicBezTo>
                  <a:cubicBezTo>
                    <a:pt x="0" y="404555"/>
                    <a:pt x="116719" y="521591"/>
                    <a:pt x="260764" y="521591"/>
                  </a:cubicBezTo>
                  <a:cubicBezTo>
                    <a:pt x="354849" y="521591"/>
                    <a:pt x="437269" y="471759"/>
                    <a:pt x="483171" y="397010"/>
                  </a:cubicBezTo>
                  <a:cubicBezTo>
                    <a:pt x="501874" y="366578"/>
                    <a:pt x="534968" y="347939"/>
                    <a:pt x="570662" y="347939"/>
                  </a:cubicBezTo>
                  <a:lnTo>
                    <a:pt x="570916" y="347939"/>
                  </a:lnTo>
                  <a:cubicBezTo>
                    <a:pt x="606610" y="347939"/>
                    <a:pt x="639705" y="366515"/>
                    <a:pt x="658408" y="397010"/>
                  </a:cubicBezTo>
                  <a:cubicBezTo>
                    <a:pt x="704246" y="471695"/>
                    <a:pt x="786729" y="521591"/>
                    <a:pt x="880815" y="521591"/>
                  </a:cubicBezTo>
                  <a:cubicBezTo>
                    <a:pt x="974900" y="521591"/>
                    <a:pt x="1057320" y="471759"/>
                    <a:pt x="1103222" y="397010"/>
                  </a:cubicBezTo>
                  <a:cubicBezTo>
                    <a:pt x="1121925" y="366578"/>
                    <a:pt x="1155019" y="347939"/>
                    <a:pt x="1190713" y="347939"/>
                  </a:cubicBezTo>
                  <a:lnTo>
                    <a:pt x="1190967" y="347939"/>
                  </a:lnTo>
                  <a:cubicBezTo>
                    <a:pt x="1226661" y="347939"/>
                    <a:pt x="1259756" y="366515"/>
                    <a:pt x="1278459" y="397010"/>
                  </a:cubicBezTo>
                  <a:cubicBezTo>
                    <a:pt x="1324297" y="471695"/>
                    <a:pt x="1406780" y="521591"/>
                    <a:pt x="1500866" y="521591"/>
                  </a:cubicBezTo>
                  <a:cubicBezTo>
                    <a:pt x="1594951" y="521591"/>
                    <a:pt x="1677371" y="471759"/>
                    <a:pt x="1723272" y="397010"/>
                  </a:cubicBezTo>
                  <a:cubicBezTo>
                    <a:pt x="1741975" y="366578"/>
                    <a:pt x="1775070" y="347939"/>
                    <a:pt x="1810764" y="347939"/>
                  </a:cubicBezTo>
                  <a:lnTo>
                    <a:pt x="1811018" y="347939"/>
                  </a:lnTo>
                  <a:cubicBezTo>
                    <a:pt x="1846712" y="347939"/>
                    <a:pt x="1879807" y="366515"/>
                    <a:pt x="1898510" y="397010"/>
                  </a:cubicBezTo>
                  <a:cubicBezTo>
                    <a:pt x="1944348" y="471695"/>
                    <a:pt x="2026831" y="521591"/>
                    <a:pt x="2120917" y="521591"/>
                  </a:cubicBezTo>
                  <a:cubicBezTo>
                    <a:pt x="2264961" y="521591"/>
                    <a:pt x="2381680" y="404872"/>
                    <a:pt x="2381680" y="260827"/>
                  </a:cubicBezTo>
                  <a:cubicBezTo>
                    <a:pt x="2381680" y="117100"/>
                    <a:pt x="2265912" y="761"/>
                    <a:pt x="2122185" y="63"/>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47CBD90C-089D-69DC-A8AF-857DD6CB302C}"/>
                </a:ext>
              </a:extLst>
            </p:cNvPr>
            <p:cNvSpPr/>
            <p:nvPr/>
          </p:nvSpPr>
          <p:spPr>
            <a:xfrm>
              <a:off x="10833197" y="1529250"/>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7 h 541688"/>
                <a:gd name="connsiteX6" fmla="*/ 20161 w 541688"/>
                <a:gd name="connsiteY6" fmla="*/ 270844 h 541688"/>
                <a:gd name="connsiteX7" fmla="*/ 270844 w 541688"/>
                <a:gd name="connsiteY7" fmla="*/ 20161 h 541688"/>
                <a:gd name="connsiteX8" fmla="*/ 521528 w 541688"/>
                <a:gd name="connsiteY8" fmla="*/ 270844 h 541688"/>
                <a:gd name="connsiteX9" fmla="*/ 270844 w 541688"/>
                <a:gd name="connsiteY9" fmla="*/ 521527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4" y="541689"/>
                    <a:pt x="541689" y="420214"/>
                    <a:pt x="541689" y="270844"/>
                  </a:cubicBezTo>
                  <a:cubicBezTo>
                    <a:pt x="541689" y="121474"/>
                    <a:pt x="420214" y="0"/>
                    <a:pt x="270844" y="0"/>
                  </a:cubicBezTo>
                  <a:close/>
                  <a:moveTo>
                    <a:pt x="270844" y="521527"/>
                  </a:moveTo>
                  <a:cubicBezTo>
                    <a:pt x="132633" y="521527"/>
                    <a:pt x="20161" y="409056"/>
                    <a:pt x="20161" y="270844"/>
                  </a:cubicBezTo>
                  <a:cubicBezTo>
                    <a:pt x="20161" y="132633"/>
                    <a:pt x="132633" y="20161"/>
                    <a:pt x="270844" y="20161"/>
                  </a:cubicBezTo>
                  <a:cubicBezTo>
                    <a:pt x="409056" y="20161"/>
                    <a:pt x="521528" y="132633"/>
                    <a:pt x="521528" y="270844"/>
                  </a:cubicBezTo>
                  <a:cubicBezTo>
                    <a:pt x="521528" y="409056"/>
                    <a:pt x="409056" y="521527"/>
                    <a:pt x="270844" y="521527"/>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941C3104-3BCF-3F2D-C2A2-0224DC4FE686}"/>
                </a:ext>
              </a:extLst>
            </p:cNvPr>
            <p:cNvSpPr/>
            <p:nvPr/>
          </p:nvSpPr>
          <p:spPr>
            <a:xfrm>
              <a:off x="8973235" y="2148540"/>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8 h 541688"/>
                <a:gd name="connsiteX6" fmla="*/ 20161 w 541688"/>
                <a:gd name="connsiteY6" fmla="*/ 270844 h 541688"/>
                <a:gd name="connsiteX7" fmla="*/ 270844 w 541688"/>
                <a:gd name="connsiteY7" fmla="*/ 20161 h 541688"/>
                <a:gd name="connsiteX8" fmla="*/ 521527 w 541688"/>
                <a:gd name="connsiteY8" fmla="*/ 270844 h 541688"/>
                <a:gd name="connsiteX9" fmla="*/ 270844 w 541688"/>
                <a:gd name="connsiteY9" fmla="*/ 521528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4" y="541689"/>
                    <a:pt x="541689" y="420214"/>
                    <a:pt x="541689" y="270844"/>
                  </a:cubicBezTo>
                  <a:cubicBezTo>
                    <a:pt x="541689" y="121474"/>
                    <a:pt x="420214" y="0"/>
                    <a:pt x="270844" y="0"/>
                  </a:cubicBezTo>
                  <a:close/>
                  <a:moveTo>
                    <a:pt x="270844" y="521528"/>
                  </a:moveTo>
                  <a:cubicBezTo>
                    <a:pt x="132633" y="521528"/>
                    <a:pt x="20161" y="409056"/>
                    <a:pt x="20161" y="270844"/>
                  </a:cubicBezTo>
                  <a:cubicBezTo>
                    <a:pt x="20161" y="132633"/>
                    <a:pt x="132633" y="20161"/>
                    <a:pt x="270844" y="20161"/>
                  </a:cubicBezTo>
                  <a:cubicBezTo>
                    <a:pt x="409056" y="20161"/>
                    <a:pt x="521527" y="132633"/>
                    <a:pt x="521527" y="270844"/>
                  </a:cubicBezTo>
                  <a:cubicBezTo>
                    <a:pt x="521527" y="409056"/>
                    <a:pt x="409056" y="521528"/>
                    <a:pt x="270844" y="521528"/>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4219E7B6-1B23-BB86-AEB2-ECC11E57DDDD}"/>
                </a:ext>
              </a:extLst>
            </p:cNvPr>
            <p:cNvSpPr/>
            <p:nvPr/>
          </p:nvSpPr>
          <p:spPr>
            <a:xfrm>
              <a:off x="9593222" y="2148540"/>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8 h 541688"/>
                <a:gd name="connsiteX6" fmla="*/ 20161 w 541688"/>
                <a:gd name="connsiteY6" fmla="*/ 270844 h 541688"/>
                <a:gd name="connsiteX7" fmla="*/ 270844 w 541688"/>
                <a:gd name="connsiteY7" fmla="*/ 20161 h 541688"/>
                <a:gd name="connsiteX8" fmla="*/ 521527 w 541688"/>
                <a:gd name="connsiteY8" fmla="*/ 270844 h 541688"/>
                <a:gd name="connsiteX9" fmla="*/ 270844 w 541688"/>
                <a:gd name="connsiteY9" fmla="*/ 521528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5" y="541689"/>
                    <a:pt x="541689" y="420214"/>
                    <a:pt x="541689" y="270844"/>
                  </a:cubicBezTo>
                  <a:cubicBezTo>
                    <a:pt x="541689" y="121474"/>
                    <a:pt x="420215" y="0"/>
                    <a:pt x="270844" y="0"/>
                  </a:cubicBezTo>
                  <a:close/>
                  <a:moveTo>
                    <a:pt x="270844" y="521528"/>
                  </a:moveTo>
                  <a:cubicBezTo>
                    <a:pt x="132633" y="521528"/>
                    <a:pt x="20161" y="409056"/>
                    <a:pt x="20161" y="270844"/>
                  </a:cubicBezTo>
                  <a:cubicBezTo>
                    <a:pt x="20161" y="132633"/>
                    <a:pt x="132633" y="20161"/>
                    <a:pt x="270844" y="20161"/>
                  </a:cubicBezTo>
                  <a:cubicBezTo>
                    <a:pt x="409056" y="20161"/>
                    <a:pt x="521527" y="132633"/>
                    <a:pt x="521527" y="270844"/>
                  </a:cubicBezTo>
                  <a:cubicBezTo>
                    <a:pt x="521527" y="409056"/>
                    <a:pt x="409056" y="521528"/>
                    <a:pt x="270844" y="521528"/>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42F57175-FF98-7538-9D1D-6FD6169F19DA}"/>
                </a:ext>
              </a:extLst>
            </p:cNvPr>
            <p:cNvSpPr/>
            <p:nvPr/>
          </p:nvSpPr>
          <p:spPr>
            <a:xfrm>
              <a:off x="10223290" y="2158557"/>
              <a:ext cx="521527" cy="521527"/>
            </a:xfrm>
            <a:custGeom>
              <a:avLst/>
              <a:gdLst>
                <a:gd name="connsiteX0" fmla="*/ 521527 w 521527"/>
                <a:gd name="connsiteY0" fmla="*/ 260764 h 521527"/>
                <a:gd name="connsiteX1" fmla="*/ 260764 w 521527"/>
                <a:gd name="connsiteY1" fmla="*/ 521528 h 521527"/>
                <a:gd name="connsiteX2" fmla="*/ 0 w 521527"/>
                <a:gd name="connsiteY2" fmla="*/ 260764 h 521527"/>
                <a:gd name="connsiteX3" fmla="*/ 260764 w 521527"/>
                <a:gd name="connsiteY3" fmla="*/ 0 h 521527"/>
                <a:gd name="connsiteX4" fmla="*/ 521527 w 521527"/>
                <a:gd name="connsiteY4" fmla="*/ 260764 h 52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27" h="521527">
                  <a:moveTo>
                    <a:pt x="521527" y="260764"/>
                  </a:moveTo>
                  <a:cubicBezTo>
                    <a:pt x="521527" y="404780"/>
                    <a:pt x="404780" y="521528"/>
                    <a:pt x="260764" y="521528"/>
                  </a:cubicBezTo>
                  <a:cubicBezTo>
                    <a:pt x="116748" y="521528"/>
                    <a:pt x="0" y="404780"/>
                    <a:pt x="0" y="260764"/>
                  </a:cubicBezTo>
                  <a:cubicBezTo>
                    <a:pt x="0" y="116748"/>
                    <a:pt x="116748" y="0"/>
                    <a:pt x="260764" y="0"/>
                  </a:cubicBezTo>
                  <a:cubicBezTo>
                    <a:pt x="404780" y="0"/>
                    <a:pt x="521527" y="116748"/>
                    <a:pt x="521527" y="260764"/>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095854C8-0C30-E5E2-192B-AE5E755A558D}"/>
                </a:ext>
              </a:extLst>
            </p:cNvPr>
            <p:cNvSpPr/>
            <p:nvPr/>
          </p:nvSpPr>
          <p:spPr>
            <a:xfrm>
              <a:off x="10843278" y="2158557"/>
              <a:ext cx="521527" cy="521527"/>
            </a:xfrm>
            <a:custGeom>
              <a:avLst/>
              <a:gdLst>
                <a:gd name="connsiteX0" fmla="*/ 521528 w 521527"/>
                <a:gd name="connsiteY0" fmla="*/ 260764 h 521527"/>
                <a:gd name="connsiteX1" fmla="*/ 260764 w 521527"/>
                <a:gd name="connsiteY1" fmla="*/ 521528 h 521527"/>
                <a:gd name="connsiteX2" fmla="*/ 0 w 521527"/>
                <a:gd name="connsiteY2" fmla="*/ 260764 h 521527"/>
                <a:gd name="connsiteX3" fmla="*/ 260764 w 521527"/>
                <a:gd name="connsiteY3" fmla="*/ 0 h 521527"/>
                <a:gd name="connsiteX4" fmla="*/ 521528 w 521527"/>
                <a:gd name="connsiteY4" fmla="*/ 260764 h 52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27" h="521527">
                  <a:moveTo>
                    <a:pt x="521528" y="260764"/>
                  </a:moveTo>
                  <a:cubicBezTo>
                    <a:pt x="521528" y="404780"/>
                    <a:pt x="404780" y="521528"/>
                    <a:pt x="260764" y="521528"/>
                  </a:cubicBezTo>
                  <a:cubicBezTo>
                    <a:pt x="116748" y="521528"/>
                    <a:pt x="0" y="404780"/>
                    <a:pt x="0" y="260764"/>
                  </a:cubicBezTo>
                  <a:cubicBezTo>
                    <a:pt x="0" y="116748"/>
                    <a:pt x="116748" y="0"/>
                    <a:pt x="260764" y="0"/>
                  </a:cubicBezTo>
                  <a:cubicBezTo>
                    <a:pt x="404780" y="0"/>
                    <a:pt x="521528" y="116748"/>
                    <a:pt x="521528" y="260764"/>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97A8A10D-23A4-E4C0-F154-B382C1B67BC5}"/>
                </a:ext>
              </a:extLst>
            </p:cNvPr>
            <p:cNvSpPr/>
            <p:nvPr/>
          </p:nvSpPr>
          <p:spPr>
            <a:xfrm>
              <a:off x="9071251" y="1171358"/>
              <a:ext cx="436064" cy="216637"/>
            </a:xfrm>
            <a:custGeom>
              <a:avLst/>
              <a:gdLst>
                <a:gd name="connsiteX0" fmla="*/ 17181 w 436064"/>
                <a:gd name="connsiteY0" fmla="*/ 216637 h 216637"/>
                <a:gd name="connsiteX1" fmla="*/ 435747 w 436064"/>
                <a:gd name="connsiteY1" fmla="*/ 22190 h 216637"/>
                <a:gd name="connsiteX2" fmla="*/ 436064 w 436064"/>
                <a:gd name="connsiteY2" fmla="*/ 9383 h 216637"/>
                <a:gd name="connsiteX3" fmla="*/ 435811 w 436064"/>
                <a:gd name="connsiteY3" fmla="*/ 0 h 216637"/>
                <a:gd name="connsiteX4" fmla="*/ 0 w 436064"/>
                <a:gd name="connsiteY4" fmla="*/ 202436 h 216637"/>
                <a:gd name="connsiteX5" fmla="*/ 17118 w 436064"/>
                <a:gd name="connsiteY5" fmla="*/ 216637 h 21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064" h="216637">
                  <a:moveTo>
                    <a:pt x="17181" y="216637"/>
                  </a:moveTo>
                  <a:lnTo>
                    <a:pt x="435747" y="22190"/>
                  </a:lnTo>
                  <a:cubicBezTo>
                    <a:pt x="435938" y="17942"/>
                    <a:pt x="436064" y="13694"/>
                    <a:pt x="436064" y="9383"/>
                  </a:cubicBezTo>
                  <a:cubicBezTo>
                    <a:pt x="436064" y="6213"/>
                    <a:pt x="435938" y="3107"/>
                    <a:pt x="435811" y="0"/>
                  </a:cubicBezTo>
                  <a:lnTo>
                    <a:pt x="0" y="202436"/>
                  </a:lnTo>
                  <a:cubicBezTo>
                    <a:pt x="5516" y="207444"/>
                    <a:pt x="11222" y="212136"/>
                    <a:pt x="17118" y="216637"/>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167A54B0-B75A-856B-0382-F7CAD274CDDF}"/>
                </a:ext>
              </a:extLst>
            </p:cNvPr>
            <p:cNvSpPr/>
            <p:nvPr/>
          </p:nvSpPr>
          <p:spPr>
            <a:xfrm>
              <a:off x="9155256" y="1268550"/>
              <a:ext cx="336843" cy="165346"/>
            </a:xfrm>
            <a:custGeom>
              <a:avLst/>
              <a:gdLst>
                <a:gd name="connsiteX0" fmla="*/ 325115 w 336843"/>
                <a:gd name="connsiteY0" fmla="*/ 27642 h 165346"/>
                <a:gd name="connsiteX1" fmla="*/ 336844 w 336843"/>
                <a:gd name="connsiteY1" fmla="*/ 0 h 165346"/>
                <a:gd name="connsiteX2" fmla="*/ 0 w 336843"/>
                <a:gd name="connsiteY2" fmla="*/ 156471 h 165346"/>
                <a:gd name="connsiteX3" fmla="*/ 28720 w 336843"/>
                <a:gd name="connsiteY3" fmla="*/ 165347 h 165346"/>
                <a:gd name="connsiteX4" fmla="*/ 325115 w 336843"/>
                <a:gd name="connsiteY4" fmla="*/ 27642 h 165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843" h="165346">
                  <a:moveTo>
                    <a:pt x="325115" y="27642"/>
                  </a:moveTo>
                  <a:cubicBezTo>
                    <a:pt x="329553" y="18703"/>
                    <a:pt x="333483" y="9510"/>
                    <a:pt x="336844" y="0"/>
                  </a:cubicBezTo>
                  <a:lnTo>
                    <a:pt x="0" y="156471"/>
                  </a:lnTo>
                  <a:cubicBezTo>
                    <a:pt x="9320" y="159958"/>
                    <a:pt x="18893" y="162938"/>
                    <a:pt x="28720" y="165347"/>
                  </a:cubicBezTo>
                  <a:lnTo>
                    <a:pt x="325115" y="27642"/>
                  </a:ln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E1972F47-E300-8B5D-8349-AF78070922CC}"/>
                </a:ext>
              </a:extLst>
            </p:cNvPr>
            <p:cNvSpPr/>
            <p:nvPr/>
          </p:nvSpPr>
          <p:spPr>
            <a:xfrm>
              <a:off x="8990670" y="1144857"/>
              <a:ext cx="232550" cy="105814"/>
            </a:xfrm>
            <a:custGeom>
              <a:avLst/>
              <a:gdLst>
                <a:gd name="connsiteX0" fmla="*/ 184811 w 232550"/>
                <a:gd name="connsiteY0" fmla="*/ 0 h 105814"/>
                <a:gd name="connsiteX1" fmla="*/ 0 w 232550"/>
                <a:gd name="connsiteY1" fmla="*/ 85843 h 105814"/>
                <a:gd name="connsiteX2" fmla="*/ 4755 w 232550"/>
                <a:gd name="connsiteY2" fmla="*/ 105814 h 105814"/>
                <a:gd name="connsiteX3" fmla="*/ 232551 w 232550"/>
                <a:gd name="connsiteY3" fmla="*/ 0 h 105814"/>
                <a:gd name="connsiteX4" fmla="*/ 184811 w 232550"/>
                <a:gd name="connsiteY4" fmla="*/ 0 h 10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550" h="105814">
                  <a:moveTo>
                    <a:pt x="184811" y="0"/>
                  </a:moveTo>
                  <a:lnTo>
                    <a:pt x="0" y="85843"/>
                  </a:lnTo>
                  <a:cubicBezTo>
                    <a:pt x="1331" y="92627"/>
                    <a:pt x="2916" y="99284"/>
                    <a:pt x="4755" y="105814"/>
                  </a:cubicBezTo>
                  <a:lnTo>
                    <a:pt x="232551" y="0"/>
                  </a:lnTo>
                  <a:lnTo>
                    <a:pt x="184811" y="0"/>
                  </a:ln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1248F1AA-0901-A9C6-79E9-F4FC2F91887B}"/>
                </a:ext>
              </a:extLst>
            </p:cNvPr>
            <p:cNvSpPr/>
            <p:nvPr/>
          </p:nvSpPr>
          <p:spPr>
            <a:xfrm>
              <a:off x="9018883" y="1144857"/>
              <a:ext cx="398721" cy="180309"/>
            </a:xfrm>
            <a:custGeom>
              <a:avLst/>
              <a:gdLst>
                <a:gd name="connsiteX0" fmla="*/ 350918 w 398721"/>
                <a:gd name="connsiteY0" fmla="*/ 0 h 180309"/>
                <a:gd name="connsiteX1" fmla="*/ 0 w 398721"/>
                <a:gd name="connsiteY1" fmla="*/ 163001 h 180309"/>
                <a:gd name="connsiteX2" fmla="*/ 10524 w 398721"/>
                <a:gd name="connsiteY2" fmla="*/ 180309 h 180309"/>
                <a:gd name="connsiteX3" fmla="*/ 398722 w 398721"/>
                <a:gd name="connsiteY3" fmla="*/ 0 h 180309"/>
                <a:gd name="connsiteX4" fmla="*/ 350982 w 398721"/>
                <a:gd name="connsiteY4" fmla="*/ 0 h 1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721" h="180309">
                  <a:moveTo>
                    <a:pt x="350918" y="0"/>
                  </a:moveTo>
                  <a:lnTo>
                    <a:pt x="0" y="163001"/>
                  </a:lnTo>
                  <a:cubicBezTo>
                    <a:pt x="3297" y="168897"/>
                    <a:pt x="6784" y="174667"/>
                    <a:pt x="10524" y="180309"/>
                  </a:cubicBezTo>
                  <a:lnTo>
                    <a:pt x="398722" y="0"/>
                  </a:lnTo>
                  <a:lnTo>
                    <a:pt x="350982" y="0"/>
                  </a:ln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DB307A12-7F4F-5708-6218-C338369478A1}"/>
                </a:ext>
              </a:extLst>
            </p:cNvPr>
            <p:cNvSpPr/>
            <p:nvPr/>
          </p:nvSpPr>
          <p:spPr>
            <a:xfrm>
              <a:off x="8986359" y="1144857"/>
              <a:ext cx="42541" cy="19780"/>
            </a:xfrm>
            <a:custGeom>
              <a:avLst/>
              <a:gdLst>
                <a:gd name="connsiteX0" fmla="*/ 1965 w 42541"/>
                <a:gd name="connsiteY0" fmla="*/ 0 h 19780"/>
                <a:gd name="connsiteX1" fmla="*/ 0 w 42541"/>
                <a:gd name="connsiteY1" fmla="*/ 19781 h 19780"/>
                <a:gd name="connsiteX2" fmla="*/ 42541 w 42541"/>
                <a:gd name="connsiteY2" fmla="*/ 0 h 19780"/>
                <a:gd name="connsiteX3" fmla="*/ 1965 w 42541"/>
                <a:gd name="connsiteY3" fmla="*/ 0 h 19780"/>
              </a:gdLst>
              <a:ahLst/>
              <a:cxnLst>
                <a:cxn ang="0">
                  <a:pos x="connsiteX0" y="connsiteY0"/>
                </a:cxn>
                <a:cxn ang="0">
                  <a:pos x="connsiteX1" y="connsiteY1"/>
                </a:cxn>
                <a:cxn ang="0">
                  <a:pos x="connsiteX2" y="connsiteY2"/>
                </a:cxn>
                <a:cxn ang="0">
                  <a:pos x="connsiteX3" y="connsiteY3"/>
                </a:cxn>
              </a:cxnLst>
              <a:rect l="l" t="t" r="r" b="b"/>
              <a:pathLst>
                <a:path w="42541" h="19780">
                  <a:moveTo>
                    <a:pt x="1965" y="0"/>
                  </a:moveTo>
                  <a:cubicBezTo>
                    <a:pt x="1078" y="6530"/>
                    <a:pt x="380" y="13124"/>
                    <a:pt x="0" y="19781"/>
                  </a:cubicBezTo>
                  <a:lnTo>
                    <a:pt x="42541" y="0"/>
                  </a:lnTo>
                  <a:lnTo>
                    <a:pt x="1965" y="0"/>
                  </a:ln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3084F1B9-D363-26C5-AB90-FD9376AB08B7}"/>
                </a:ext>
              </a:extLst>
            </p:cNvPr>
            <p:cNvSpPr/>
            <p:nvPr/>
          </p:nvSpPr>
          <p:spPr>
            <a:xfrm>
              <a:off x="9608312" y="1144857"/>
              <a:ext cx="521527" cy="296648"/>
            </a:xfrm>
            <a:custGeom>
              <a:avLst/>
              <a:gdLst>
                <a:gd name="connsiteX0" fmla="*/ 2536 w 521527"/>
                <a:gd name="connsiteY0" fmla="*/ 0 h 296648"/>
                <a:gd name="connsiteX1" fmla="*/ 0 w 521527"/>
                <a:gd name="connsiteY1" fmla="*/ 35884 h 296648"/>
                <a:gd name="connsiteX2" fmla="*/ 260764 w 521527"/>
                <a:gd name="connsiteY2" fmla="*/ 296648 h 296648"/>
                <a:gd name="connsiteX3" fmla="*/ 521527 w 521527"/>
                <a:gd name="connsiteY3" fmla="*/ 35884 h 296648"/>
                <a:gd name="connsiteX4" fmla="*/ 518992 w 521527"/>
                <a:gd name="connsiteY4" fmla="*/ 0 h 296648"/>
                <a:gd name="connsiteX5" fmla="*/ 2536 w 521527"/>
                <a:gd name="connsiteY5" fmla="*/ 0 h 2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527" h="296648">
                  <a:moveTo>
                    <a:pt x="2536" y="0"/>
                  </a:moveTo>
                  <a:cubicBezTo>
                    <a:pt x="888" y="11729"/>
                    <a:pt x="0" y="23712"/>
                    <a:pt x="0" y="35884"/>
                  </a:cubicBezTo>
                  <a:cubicBezTo>
                    <a:pt x="0" y="179929"/>
                    <a:pt x="116719" y="296648"/>
                    <a:pt x="260764" y="296648"/>
                  </a:cubicBezTo>
                  <a:cubicBezTo>
                    <a:pt x="404808" y="296648"/>
                    <a:pt x="521527" y="179929"/>
                    <a:pt x="521527" y="35884"/>
                  </a:cubicBezTo>
                  <a:cubicBezTo>
                    <a:pt x="521527" y="23712"/>
                    <a:pt x="520640" y="11729"/>
                    <a:pt x="518992" y="0"/>
                  </a:cubicBezTo>
                  <a:lnTo>
                    <a:pt x="2536" y="0"/>
                  </a:ln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5124D59D-99DD-C918-E05D-E033F5B4449D}"/>
                </a:ext>
              </a:extLst>
            </p:cNvPr>
            <p:cNvSpPr/>
            <p:nvPr/>
          </p:nvSpPr>
          <p:spPr>
            <a:xfrm>
              <a:off x="10218282" y="1144857"/>
              <a:ext cx="541688" cy="306728"/>
            </a:xfrm>
            <a:custGeom>
              <a:avLst/>
              <a:gdLst>
                <a:gd name="connsiteX0" fmla="*/ 518928 w 541688"/>
                <a:gd name="connsiteY0" fmla="*/ 0 h 306728"/>
                <a:gd name="connsiteX1" fmla="*/ 521527 w 541688"/>
                <a:gd name="connsiteY1" fmla="*/ 35884 h 306728"/>
                <a:gd name="connsiteX2" fmla="*/ 270844 w 541688"/>
                <a:gd name="connsiteY2" fmla="*/ 286567 h 306728"/>
                <a:gd name="connsiteX3" fmla="*/ 20161 w 541688"/>
                <a:gd name="connsiteY3" fmla="*/ 35884 h 306728"/>
                <a:gd name="connsiteX4" fmla="*/ 22761 w 541688"/>
                <a:gd name="connsiteY4" fmla="*/ 0 h 306728"/>
                <a:gd name="connsiteX5" fmla="*/ 2472 w 541688"/>
                <a:gd name="connsiteY5" fmla="*/ 0 h 306728"/>
                <a:gd name="connsiteX6" fmla="*/ 0 w 541688"/>
                <a:gd name="connsiteY6" fmla="*/ 35884 h 306728"/>
                <a:gd name="connsiteX7" fmla="*/ 270844 w 541688"/>
                <a:gd name="connsiteY7" fmla="*/ 306729 h 306728"/>
                <a:gd name="connsiteX8" fmla="*/ 541689 w 541688"/>
                <a:gd name="connsiteY8" fmla="*/ 35884 h 306728"/>
                <a:gd name="connsiteX9" fmla="*/ 539216 w 541688"/>
                <a:gd name="connsiteY9" fmla="*/ 0 h 306728"/>
                <a:gd name="connsiteX10" fmla="*/ 518928 w 541688"/>
                <a:gd name="connsiteY10" fmla="*/ 0 h 30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688" h="306728">
                  <a:moveTo>
                    <a:pt x="518928" y="0"/>
                  </a:moveTo>
                  <a:cubicBezTo>
                    <a:pt x="520640" y="11729"/>
                    <a:pt x="521527" y="23712"/>
                    <a:pt x="521527" y="35884"/>
                  </a:cubicBezTo>
                  <a:cubicBezTo>
                    <a:pt x="521527" y="174096"/>
                    <a:pt x="409056" y="286567"/>
                    <a:pt x="270844" y="286567"/>
                  </a:cubicBezTo>
                  <a:cubicBezTo>
                    <a:pt x="132632" y="286567"/>
                    <a:pt x="20161" y="174096"/>
                    <a:pt x="20161" y="35884"/>
                  </a:cubicBezTo>
                  <a:cubicBezTo>
                    <a:pt x="20161" y="23712"/>
                    <a:pt x="21112" y="11729"/>
                    <a:pt x="22761" y="0"/>
                  </a:cubicBezTo>
                  <a:lnTo>
                    <a:pt x="2472" y="0"/>
                  </a:lnTo>
                  <a:cubicBezTo>
                    <a:pt x="887" y="11729"/>
                    <a:pt x="0" y="23712"/>
                    <a:pt x="0" y="35884"/>
                  </a:cubicBezTo>
                  <a:cubicBezTo>
                    <a:pt x="0" y="185191"/>
                    <a:pt x="121474" y="306729"/>
                    <a:pt x="270844" y="306729"/>
                  </a:cubicBezTo>
                  <a:cubicBezTo>
                    <a:pt x="420214" y="306729"/>
                    <a:pt x="541689" y="185254"/>
                    <a:pt x="541689" y="35884"/>
                  </a:cubicBezTo>
                  <a:cubicBezTo>
                    <a:pt x="541689" y="23712"/>
                    <a:pt x="540801" y="11729"/>
                    <a:pt x="539216" y="0"/>
                  </a:cubicBezTo>
                  <a:lnTo>
                    <a:pt x="518928" y="0"/>
                  </a:ln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716B9433-2511-92C6-8A8F-5DEF39A1F435}"/>
                </a:ext>
              </a:extLst>
            </p:cNvPr>
            <p:cNvSpPr/>
            <p:nvPr/>
          </p:nvSpPr>
          <p:spPr>
            <a:xfrm>
              <a:off x="10848287" y="1144857"/>
              <a:ext cx="930900" cy="296648"/>
            </a:xfrm>
            <a:custGeom>
              <a:avLst/>
              <a:gdLst>
                <a:gd name="connsiteX0" fmla="*/ 930901 w 930900"/>
                <a:gd name="connsiteY0" fmla="*/ 0 h 296648"/>
                <a:gd name="connsiteX1" fmla="*/ 2536 w 930900"/>
                <a:gd name="connsiteY1" fmla="*/ 0 h 296648"/>
                <a:gd name="connsiteX2" fmla="*/ 0 w 930900"/>
                <a:gd name="connsiteY2" fmla="*/ 35884 h 296648"/>
                <a:gd name="connsiteX3" fmla="*/ 260764 w 930900"/>
                <a:gd name="connsiteY3" fmla="*/ 296648 h 296648"/>
                <a:gd name="connsiteX4" fmla="*/ 484312 w 930900"/>
                <a:gd name="connsiteY4" fmla="*/ 170229 h 296648"/>
                <a:gd name="connsiteX5" fmla="*/ 568443 w 930900"/>
                <a:gd name="connsiteY5" fmla="*/ 123059 h 296648"/>
                <a:gd name="connsiteX6" fmla="*/ 573135 w 930900"/>
                <a:gd name="connsiteY6" fmla="*/ 123059 h 296648"/>
                <a:gd name="connsiteX7" fmla="*/ 657267 w 930900"/>
                <a:gd name="connsiteY7" fmla="*/ 170229 h 296648"/>
                <a:gd name="connsiteX8" fmla="*/ 880815 w 930900"/>
                <a:gd name="connsiteY8" fmla="*/ 296648 h 296648"/>
                <a:gd name="connsiteX9" fmla="*/ 930901 w 930900"/>
                <a:gd name="connsiteY9" fmla="*/ 291766 h 296648"/>
                <a:gd name="connsiteX10" fmla="*/ 930901 w 930900"/>
                <a:gd name="connsiteY10" fmla="*/ 0 h 2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0900" h="296648">
                  <a:moveTo>
                    <a:pt x="930901" y="0"/>
                  </a:moveTo>
                  <a:lnTo>
                    <a:pt x="2536" y="0"/>
                  </a:lnTo>
                  <a:cubicBezTo>
                    <a:pt x="951" y="11729"/>
                    <a:pt x="0" y="23712"/>
                    <a:pt x="0" y="35884"/>
                  </a:cubicBezTo>
                  <a:cubicBezTo>
                    <a:pt x="0" y="179929"/>
                    <a:pt x="116719" y="296648"/>
                    <a:pt x="260764" y="296648"/>
                  </a:cubicBezTo>
                  <a:cubicBezTo>
                    <a:pt x="355673" y="296648"/>
                    <a:pt x="438664" y="245992"/>
                    <a:pt x="484312" y="170229"/>
                  </a:cubicBezTo>
                  <a:cubicBezTo>
                    <a:pt x="502000" y="140811"/>
                    <a:pt x="534081" y="123059"/>
                    <a:pt x="568443" y="123059"/>
                  </a:cubicBezTo>
                  <a:lnTo>
                    <a:pt x="573135" y="123059"/>
                  </a:lnTo>
                  <a:cubicBezTo>
                    <a:pt x="607498" y="123059"/>
                    <a:pt x="639578" y="140811"/>
                    <a:pt x="657267" y="170229"/>
                  </a:cubicBezTo>
                  <a:cubicBezTo>
                    <a:pt x="702915" y="245992"/>
                    <a:pt x="785905" y="296648"/>
                    <a:pt x="880815" y="296648"/>
                  </a:cubicBezTo>
                  <a:cubicBezTo>
                    <a:pt x="897932" y="296648"/>
                    <a:pt x="914670" y="294936"/>
                    <a:pt x="930901" y="291766"/>
                  </a:cubicBezTo>
                  <a:lnTo>
                    <a:pt x="930901" y="0"/>
                  </a:ln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3F362739-4C3D-C9F1-98B2-1D738A6C0596}"/>
                </a:ext>
              </a:extLst>
            </p:cNvPr>
            <p:cNvSpPr/>
            <p:nvPr/>
          </p:nvSpPr>
          <p:spPr>
            <a:xfrm>
              <a:off x="11486216" y="1546812"/>
              <a:ext cx="292970" cy="158246"/>
            </a:xfrm>
            <a:custGeom>
              <a:avLst/>
              <a:gdLst>
                <a:gd name="connsiteX0" fmla="*/ 292971 w 292970"/>
                <a:gd name="connsiteY0" fmla="*/ 0 h 158246"/>
                <a:gd name="connsiteX1" fmla="*/ 12997 w 292970"/>
                <a:gd name="connsiteY1" fmla="*/ 130033 h 158246"/>
                <a:gd name="connsiteX2" fmla="*/ 0 w 292970"/>
                <a:gd name="connsiteY2" fmla="*/ 158246 h 158246"/>
                <a:gd name="connsiteX3" fmla="*/ 292907 w 292970"/>
                <a:gd name="connsiteY3" fmla="*/ 22190 h 158246"/>
                <a:gd name="connsiteX4" fmla="*/ 292907 w 292970"/>
                <a:gd name="connsiteY4" fmla="*/ 0 h 15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970" h="158246">
                  <a:moveTo>
                    <a:pt x="292971" y="0"/>
                  </a:moveTo>
                  <a:lnTo>
                    <a:pt x="12997" y="130033"/>
                  </a:lnTo>
                  <a:cubicBezTo>
                    <a:pt x="8115" y="139099"/>
                    <a:pt x="3804" y="148546"/>
                    <a:pt x="0" y="158246"/>
                  </a:cubicBezTo>
                  <a:lnTo>
                    <a:pt x="292907" y="22190"/>
                  </a:lnTo>
                  <a:lnTo>
                    <a:pt x="292907" y="0"/>
                  </a:ln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38F7ECB1-24AC-9929-DACD-0FBB9BE4C48E}"/>
                </a:ext>
              </a:extLst>
            </p:cNvPr>
            <p:cNvSpPr/>
            <p:nvPr/>
          </p:nvSpPr>
          <p:spPr>
            <a:xfrm>
              <a:off x="11468337" y="1637030"/>
              <a:ext cx="310849" cy="166551"/>
            </a:xfrm>
            <a:custGeom>
              <a:avLst/>
              <a:gdLst>
                <a:gd name="connsiteX0" fmla="*/ 310850 w 310849"/>
                <a:gd name="connsiteY0" fmla="*/ 63 h 166551"/>
                <a:gd name="connsiteX1" fmla="*/ 761 w 310849"/>
                <a:gd name="connsiteY1" fmla="*/ 144108 h 166551"/>
                <a:gd name="connsiteX2" fmla="*/ 0 w 310849"/>
                <a:gd name="connsiteY2" fmla="*/ 163001 h 166551"/>
                <a:gd name="connsiteX3" fmla="*/ 0 w 310849"/>
                <a:gd name="connsiteY3" fmla="*/ 166552 h 166551"/>
                <a:gd name="connsiteX4" fmla="*/ 310786 w 310849"/>
                <a:gd name="connsiteY4" fmla="*/ 22190 h 166551"/>
                <a:gd name="connsiteX5" fmla="*/ 310786 w 310849"/>
                <a:gd name="connsiteY5" fmla="*/ 0 h 16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49" h="166551">
                  <a:moveTo>
                    <a:pt x="310850" y="63"/>
                  </a:moveTo>
                  <a:lnTo>
                    <a:pt x="761" y="144108"/>
                  </a:lnTo>
                  <a:cubicBezTo>
                    <a:pt x="317" y="150385"/>
                    <a:pt x="0" y="156661"/>
                    <a:pt x="0" y="163001"/>
                  </a:cubicBezTo>
                  <a:cubicBezTo>
                    <a:pt x="0" y="164206"/>
                    <a:pt x="0" y="165410"/>
                    <a:pt x="0" y="166552"/>
                  </a:cubicBezTo>
                  <a:lnTo>
                    <a:pt x="310786" y="22190"/>
                  </a:lnTo>
                  <a:lnTo>
                    <a:pt x="310786" y="0"/>
                  </a:ln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02FEBDBE-2CBE-556A-6A8B-48827159087F}"/>
                </a:ext>
              </a:extLst>
            </p:cNvPr>
            <p:cNvSpPr/>
            <p:nvPr/>
          </p:nvSpPr>
          <p:spPr>
            <a:xfrm>
              <a:off x="11477150" y="1727375"/>
              <a:ext cx="302036" cy="159704"/>
            </a:xfrm>
            <a:custGeom>
              <a:avLst/>
              <a:gdLst>
                <a:gd name="connsiteX0" fmla="*/ 302037 w 302036"/>
                <a:gd name="connsiteY0" fmla="*/ 0 h 159704"/>
                <a:gd name="connsiteX1" fmla="*/ 0 w 302036"/>
                <a:gd name="connsiteY1" fmla="*/ 140304 h 159704"/>
                <a:gd name="connsiteX2" fmla="*/ 6023 w 302036"/>
                <a:gd name="connsiteY2" fmla="*/ 159704 h 159704"/>
                <a:gd name="connsiteX3" fmla="*/ 301974 w 302036"/>
                <a:gd name="connsiteY3" fmla="*/ 22253 h 159704"/>
                <a:gd name="connsiteX4" fmla="*/ 301974 w 302036"/>
                <a:gd name="connsiteY4" fmla="*/ 63 h 159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036" h="159704">
                  <a:moveTo>
                    <a:pt x="302037" y="0"/>
                  </a:moveTo>
                  <a:lnTo>
                    <a:pt x="0" y="140304"/>
                  </a:lnTo>
                  <a:cubicBezTo>
                    <a:pt x="1775" y="146898"/>
                    <a:pt x="3804" y="153301"/>
                    <a:pt x="6023" y="159704"/>
                  </a:cubicBezTo>
                  <a:lnTo>
                    <a:pt x="301974" y="22253"/>
                  </a:lnTo>
                  <a:lnTo>
                    <a:pt x="301974" y="63"/>
                  </a:ln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CE6EFA02-4418-6BE5-3EA4-DF3885D61980}"/>
                </a:ext>
              </a:extLst>
            </p:cNvPr>
            <p:cNvSpPr/>
            <p:nvPr/>
          </p:nvSpPr>
          <p:spPr>
            <a:xfrm>
              <a:off x="11510562" y="1817593"/>
              <a:ext cx="268625" cy="141445"/>
            </a:xfrm>
            <a:custGeom>
              <a:avLst/>
              <a:gdLst>
                <a:gd name="connsiteX0" fmla="*/ 268625 w 268625"/>
                <a:gd name="connsiteY0" fmla="*/ 0 h 141445"/>
                <a:gd name="connsiteX1" fmla="*/ 0 w 268625"/>
                <a:gd name="connsiteY1" fmla="*/ 124771 h 141445"/>
                <a:gd name="connsiteX2" fmla="*/ 11856 w 268625"/>
                <a:gd name="connsiteY2" fmla="*/ 141445 h 141445"/>
                <a:gd name="connsiteX3" fmla="*/ 268625 w 268625"/>
                <a:gd name="connsiteY3" fmla="*/ 22190 h 141445"/>
                <a:gd name="connsiteX4" fmla="*/ 268625 w 268625"/>
                <a:gd name="connsiteY4" fmla="*/ 0 h 141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5" h="141445">
                  <a:moveTo>
                    <a:pt x="268625" y="0"/>
                  </a:moveTo>
                  <a:lnTo>
                    <a:pt x="0" y="124771"/>
                  </a:lnTo>
                  <a:cubicBezTo>
                    <a:pt x="3741" y="130477"/>
                    <a:pt x="7671" y="136056"/>
                    <a:pt x="11856" y="141445"/>
                  </a:cubicBezTo>
                  <a:lnTo>
                    <a:pt x="268625" y="22190"/>
                  </a:lnTo>
                  <a:lnTo>
                    <a:pt x="268625" y="0"/>
                  </a:ln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993DF4BD-2063-39C1-D888-7563C9959D67}"/>
                </a:ext>
              </a:extLst>
            </p:cNvPr>
            <p:cNvSpPr/>
            <p:nvPr/>
          </p:nvSpPr>
          <p:spPr>
            <a:xfrm>
              <a:off x="11568763" y="1907874"/>
              <a:ext cx="210424" cy="111203"/>
            </a:xfrm>
            <a:custGeom>
              <a:avLst/>
              <a:gdLst>
                <a:gd name="connsiteX0" fmla="*/ 210424 w 210424"/>
                <a:gd name="connsiteY0" fmla="*/ 0 h 111203"/>
                <a:gd name="connsiteX1" fmla="*/ 0 w 210424"/>
                <a:gd name="connsiteY1" fmla="*/ 97763 h 111203"/>
                <a:gd name="connsiteX2" fmla="*/ 18830 w 210424"/>
                <a:gd name="connsiteY2" fmla="*/ 111203 h 111203"/>
                <a:gd name="connsiteX3" fmla="*/ 210424 w 210424"/>
                <a:gd name="connsiteY3" fmla="*/ 22190 h 111203"/>
                <a:gd name="connsiteX4" fmla="*/ 210424 w 210424"/>
                <a:gd name="connsiteY4" fmla="*/ 0 h 111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24" h="111203">
                  <a:moveTo>
                    <a:pt x="210424" y="0"/>
                  </a:moveTo>
                  <a:lnTo>
                    <a:pt x="0" y="97763"/>
                  </a:lnTo>
                  <a:cubicBezTo>
                    <a:pt x="6087" y="102518"/>
                    <a:pt x="12363" y="107019"/>
                    <a:pt x="18830" y="111203"/>
                  </a:cubicBezTo>
                  <a:lnTo>
                    <a:pt x="210424" y="22190"/>
                  </a:lnTo>
                  <a:lnTo>
                    <a:pt x="210424" y="0"/>
                  </a:ln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DFA27F73-5851-6184-364B-B3B05B2DB46D}"/>
                </a:ext>
              </a:extLst>
            </p:cNvPr>
            <p:cNvSpPr/>
            <p:nvPr/>
          </p:nvSpPr>
          <p:spPr>
            <a:xfrm>
              <a:off x="11632226" y="1998155"/>
              <a:ext cx="146960" cy="87365"/>
            </a:xfrm>
            <a:custGeom>
              <a:avLst/>
              <a:gdLst>
                <a:gd name="connsiteX0" fmla="*/ 146961 w 146960"/>
                <a:gd name="connsiteY0" fmla="*/ 0 h 87365"/>
                <a:gd name="connsiteX1" fmla="*/ 0 w 146960"/>
                <a:gd name="connsiteY1" fmla="*/ 68282 h 87365"/>
                <a:gd name="connsiteX2" fmla="*/ 6720 w 146960"/>
                <a:gd name="connsiteY2" fmla="*/ 87365 h 87365"/>
                <a:gd name="connsiteX3" fmla="*/ 146961 w 146960"/>
                <a:gd name="connsiteY3" fmla="*/ 22190 h 87365"/>
                <a:gd name="connsiteX4" fmla="*/ 146961 w 146960"/>
                <a:gd name="connsiteY4" fmla="*/ 0 h 87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60" h="87365">
                  <a:moveTo>
                    <a:pt x="146961" y="0"/>
                  </a:moveTo>
                  <a:lnTo>
                    <a:pt x="0" y="68282"/>
                  </a:lnTo>
                  <a:cubicBezTo>
                    <a:pt x="2853" y="74368"/>
                    <a:pt x="5135" y="80771"/>
                    <a:pt x="6720" y="87365"/>
                  </a:cubicBezTo>
                  <a:lnTo>
                    <a:pt x="146961" y="22190"/>
                  </a:lnTo>
                  <a:lnTo>
                    <a:pt x="146961" y="0"/>
                  </a:ln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83010FF0-5400-E7D6-3952-54A83B849774}"/>
                </a:ext>
              </a:extLst>
            </p:cNvPr>
            <p:cNvSpPr/>
            <p:nvPr/>
          </p:nvSpPr>
          <p:spPr>
            <a:xfrm>
              <a:off x="11595581" y="2088374"/>
              <a:ext cx="183606" cy="107462"/>
            </a:xfrm>
            <a:custGeom>
              <a:avLst/>
              <a:gdLst>
                <a:gd name="connsiteX0" fmla="*/ 183606 w 183606"/>
                <a:gd name="connsiteY0" fmla="*/ 63 h 107462"/>
                <a:gd name="connsiteX1" fmla="*/ 34616 w 183606"/>
                <a:gd name="connsiteY1" fmla="*/ 69233 h 107462"/>
                <a:gd name="connsiteX2" fmla="*/ 0 w 183606"/>
                <a:gd name="connsiteY2" fmla="*/ 107463 h 107462"/>
                <a:gd name="connsiteX3" fmla="*/ 183543 w 183606"/>
                <a:gd name="connsiteY3" fmla="*/ 22190 h 107462"/>
                <a:gd name="connsiteX4" fmla="*/ 183543 w 183606"/>
                <a:gd name="connsiteY4" fmla="*/ 0 h 107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6" h="107462">
                  <a:moveTo>
                    <a:pt x="183606" y="63"/>
                  </a:moveTo>
                  <a:lnTo>
                    <a:pt x="34616" y="69233"/>
                  </a:lnTo>
                  <a:cubicBezTo>
                    <a:pt x="26628" y="84512"/>
                    <a:pt x="14836" y="97763"/>
                    <a:pt x="0" y="107463"/>
                  </a:cubicBezTo>
                  <a:lnTo>
                    <a:pt x="183543" y="22190"/>
                  </a:lnTo>
                  <a:lnTo>
                    <a:pt x="183543" y="0"/>
                  </a:ln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1119047D-DEE6-E9ED-1ED6-6C6D1A61EC38}"/>
                </a:ext>
              </a:extLst>
            </p:cNvPr>
            <p:cNvSpPr/>
            <p:nvPr/>
          </p:nvSpPr>
          <p:spPr>
            <a:xfrm>
              <a:off x="11481144" y="2178655"/>
              <a:ext cx="298106" cy="160655"/>
            </a:xfrm>
            <a:custGeom>
              <a:avLst/>
              <a:gdLst>
                <a:gd name="connsiteX0" fmla="*/ 298043 w 298106"/>
                <a:gd name="connsiteY0" fmla="*/ 0 h 160655"/>
                <a:gd name="connsiteX1" fmla="*/ 10461 w 298106"/>
                <a:gd name="connsiteY1" fmla="*/ 133584 h 160655"/>
                <a:gd name="connsiteX2" fmla="*/ 0 w 298106"/>
                <a:gd name="connsiteY2" fmla="*/ 160655 h 160655"/>
                <a:gd name="connsiteX3" fmla="*/ 298106 w 298106"/>
                <a:gd name="connsiteY3" fmla="*/ 22190 h 160655"/>
                <a:gd name="connsiteX4" fmla="*/ 298106 w 298106"/>
                <a:gd name="connsiteY4" fmla="*/ 0 h 16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106" h="160655">
                  <a:moveTo>
                    <a:pt x="298043" y="0"/>
                  </a:moveTo>
                  <a:lnTo>
                    <a:pt x="10461" y="133584"/>
                  </a:lnTo>
                  <a:cubicBezTo>
                    <a:pt x="6467" y="142333"/>
                    <a:pt x="2980" y="151399"/>
                    <a:pt x="0" y="160655"/>
                  </a:cubicBezTo>
                  <a:lnTo>
                    <a:pt x="298106" y="22190"/>
                  </a:lnTo>
                  <a:lnTo>
                    <a:pt x="298106" y="0"/>
                  </a:ln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F9B82B1D-D55D-143C-0A5B-07C0DF185216}"/>
                </a:ext>
              </a:extLst>
            </p:cNvPr>
            <p:cNvSpPr/>
            <p:nvPr/>
          </p:nvSpPr>
          <p:spPr>
            <a:xfrm>
              <a:off x="11468337" y="2268936"/>
              <a:ext cx="310849" cy="166424"/>
            </a:xfrm>
            <a:custGeom>
              <a:avLst/>
              <a:gdLst>
                <a:gd name="connsiteX0" fmla="*/ 310850 w 310849"/>
                <a:gd name="connsiteY0" fmla="*/ 0 h 166424"/>
                <a:gd name="connsiteX1" fmla="*/ 127 w 310849"/>
                <a:gd name="connsiteY1" fmla="*/ 144362 h 166424"/>
                <a:gd name="connsiteX2" fmla="*/ 0 w 310849"/>
                <a:gd name="connsiteY2" fmla="*/ 151145 h 166424"/>
                <a:gd name="connsiteX3" fmla="*/ 444 w 310849"/>
                <a:gd name="connsiteY3" fmla="*/ 166425 h 166424"/>
                <a:gd name="connsiteX4" fmla="*/ 310850 w 310849"/>
                <a:gd name="connsiteY4" fmla="*/ 22253 h 166424"/>
                <a:gd name="connsiteX5" fmla="*/ 310850 w 310849"/>
                <a:gd name="connsiteY5" fmla="*/ 63 h 16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49" h="166424">
                  <a:moveTo>
                    <a:pt x="310850" y="0"/>
                  </a:moveTo>
                  <a:lnTo>
                    <a:pt x="127" y="144362"/>
                  </a:lnTo>
                  <a:cubicBezTo>
                    <a:pt x="127" y="146581"/>
                    <a:pt x="0" y="148863"/>
                    <a:pt x="0" y="151145"/>
                  </a:cubicBezTo>
                  <a:cubicBezTo>
                    <a:pt x="0" y="156281"/>
                    <a:pt x="190" y="161353"/>
                    <a:pt x="444" y="166425"/>
                  </a:cubicBezTo>
                  <a:lnTo>
                    <a:pt x="310850" y="22253"/>
                  </a:lnTo>
                  <a:lnTo>
                    <a:pt x="310850" y="63"/>
                  </a:ln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EF5AD112-77E5-FE1F-C675-199F5EFC9BE0}"/>
                </a:ext>
              </a:extLst>
            </p:cNvPr>
            <p:cNvSpPr/>
            <p:nvPr/>
          </p:nvSpPr>
          <p:spPr>
            <a:xfrm>
              <a:off x="11480257" y="2359154"/>
              <a:ext cx="298930" cy="157929"/>
            </a:xfrm>
            <a:custGeom>
              <a:avLst/>
              <a:gdLst>
                <a:gd name="connsiteX0" fmla="*/ 298930 w 298930"/>
                <a:gd name="connsiteY0" fmla="*/ 63 h 157929"/>
                <a:gd name="connsiteX1" fmla="*/ 0 w 298930"/>
                <a:gd name="connsiteY1" fmla="*/ 138909 h 157929"/>
                <a:gd name="connsiteX2" fmla="*/ 6784 w 298930"/>
                <a:gd name="connsiteY2" fmla="*/ 157929 h 157929"/>
                <a:gd name="connsiteX3" fmla="*/ 298930 w 298930"/>
                <a:gd name="connsiteY3" fmla="*/ 22190 h 157929"/>
                <a:gd name="connsiteX4" fmla="*/ 298930 w 298930"/>
                <a:gd name="connsiteY4" fmla="*/ 0 h 157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30" h="157929">
                  <a:moveTo>
                    <a:pt x="298930" y="63"/>
                  </a:moveTo>
                  <a:lnTo>
                    <a:pt x="0" y="138909"/>
                  </a:lnTo>
                  <a:cubicBezTo>
                    <a:pt x="2029" y="145376"/>
                    <a:pt x="4311" y="151716"/>
                    <a:pt x="6784" y="157929"/>
                  </a:cubicBezTo>
                  <a:lnTo>
                    <a:pt x="298930" y="22190"/>
                  </a:lnTo>
                  <a:lnTo>
                    <a:pt x="298930" y="0"/>
                  </a:ln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2BD762BE-FA19-D8FA-4191-5CAEC7CA0740}"/>
                </a:ext>
              </a:extLst>
            </p:cNvPr>
            <p:cNvSpPr/>
            <p:nvPr/>
          </p:nvSpPr>
          <p:spPr>
            <a:xfrm>
              <a:off x="11699176" y="3261842"/>
              <a:ext cx="80010" cy="38927"/>
            </a:xfrm>
            <a:custGeom>
              <a:avLst/>
              <a:gdLst>
                <a:gd name="connsiteX0" fmla="*/ 80011 w 80010"/>
                <a:gd name="connsiteY0" fmla="*/ 0 h 38927"/>
                <a:gd name="connsiteX1" fmla="*/ 0 w 80010"/>
                <a:gd name="connsiteY1" fmla="*/ 37152 h 38927"/>
                <a:gd name="connsiteX2" fmla="*/ 29925 w 80010"/>
                <a:gd name="connsiteY2" fmla="*/ 38927 h 38927"/>
                <a:gd name="connsiteX3" fmla="*/ 44887 w 80010"/>
                <a:gd name="connsiteY3" fmla="*/ 38484 h 38927"/>
                <a:gd name="connsiteX4" fmla="*/ 80011 w 80010"/>
                <a:gd name="connsiteY4" fmla="*/ 22190 h 38927"/>
                <a:gd name="connsiteX5" fmla="*/ 80011 w 80010"/>
                <a:gd name="connsiteY5" fmla="*/ 0 h 3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10" h="38927">
                  <a:moveTo>
                    <a:pt x="80011" y="0"/>
                  </a:moveTo>
                  <a:lnTo>
                    <a:pt x="0" y="37152"/>
                  </a:lnTo>
                  <a:cubicBezTo>
                    <a:pt x="9827" y="38294"/>
                    <a:pt x="19781" y="38927"/>
                    <a:pt x="29925" y="38927"/>
                  </a:cubicBezTo>
                  <a:cubicBezTo>
                    <a:pt x="34933" y="38927"/>
                    <a:pt x="39942" y="38737"/>
                    <a:pt x="44887" y="38484"/>
                  </a:cubicBezTo>
                  <a:lnTo>
                    <a:pt x="80011" y="22190"/>
                  </a:lnTo>
                  <a:lnTo>
                    <a:pt x="80011" y="0"/>
                  </a:ln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DE0FEB63-B7DF-B4F1-E23D-5B09FCB774BC}"/>
                </a:ext>
              </a:extLst>
            </p:cNvPr>
            <p:cNvSpPr/>
            <p:nvPr/>
          </p:nvSpPr>
          <p:spPr>
            <a:xfrm>
              <a:off x="11588987" y="3171497"/>
              <a:ext cx="190199" cy="100615"/>
            </a:xfrm>
            <a:custGeom>
              <a:avLst/>
              <a:gdLst>
                <a:gd name="connsiteX0" fmla="*/ 190200 w 190199"/>
                <a:gd name="connsiteY0" fmla="*/ 63 h 100615"/>
                <a:gd name="connsiteX1" fmla="*/ 0 w 190199"/>
                <a:gd name="connsiteY1" fmla="*/ 88379 h 100615"/>
                <a:gd name="connsiteX2" fmla="*/ 21366 w 190199"/>
                <a:gd name="connsiteY2" fmla="*/ 100616 h 100615"/>
                <a:gd name="connsiteX3" fmla="*/ 190200 w 190199"/>
                <a:gd name="connsiteY3" fmla="*/ 22190 h 100615"/>
                <a:gd name="connsiteX4" fmla="*/ 190200 w 190199"/>
                <a:gd name="connsiteY4" fmla="*/ 0 h 10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99" h="100615">
                  <a:moveTo>
                    <a:pt x="190200" y="63"/>
                  </a:moveTo>
                  <a:lnTo>
                    <a:pt x="0" y="88379"/>
                  </a:lnTo>
                  <a:cubicBezTo>
                    <a:pt x="6911" y="92817"/>
                    <a:pt x="14012" y="96875"/>
                    <a:pt x="21366" y="100616"/>
                  </a:cubicBezTo>
                  <a:lnTo>
                    <a:pt x="190200" y="22190"/>
                  </a:lnTo>
                  <a:lnTo>
                    <a:pt x="190200" y="0"/>
                  </a:ln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F875F2AE-C2E2-7D89-2369-F38DF52F537D}"/>
                </a:ext>
              </a:extLst>
            </p:cNvPr>
            <p:cNvSpPr/>
            <p:nvPr/>
          </p:nvSpPr>
          <p:spPr>
            <a:xfrm>
              <a:off x="11523369" y="3081343"/>
              <a:ext cx="255881" cy="134788"/>
            </a:xfrm>
            <a:custGeom>
              <a:avLst/>
              <a:gdLst>
                <a:gd name="connsiteX0" fmla="*/ 255818 w 255881"/>
                <a:gd name="connsiteY0" fmla="*/ 0 h 134788"/>
                <a:gd name="connsiteX1" fmla="*/ 0 w 255881"/>
                <a:gd name="connsiteY1" fmla="*/ 118811 h 134788"/>
                <a:gd name="connsiteX2" fmla="*/ 13441 w 255881"/>
                <a:gd name="connsiteY2" fmla="*/ 134788 h 134788"/>
                <a:gd name="connsiteX3" fmla="*/ 255882 w 255881"/>
                <a:gd name="connsiteY3" fmla="*/ 22190 h 134788"/>
                <a:gd name="connsiteX4" fmla="*/ 255882 w 255881"/>
                <a:gd name="connsiteY4" fmla="*/ 0 h 13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81" h="134788">
                  <a:moveTo>
                    <a:pt x="255818" y="0"/>
                  </a:moveTo>
                  <a:lnTo>
                    <a:pt x="0" y="118811"/>
                  </a:lnTo>
                  <a:cubicBezTo>
                    <a:pt x="4248" y="124327"/>
                    <a:pt x="8749" y="129653"/>
                    <a:pt x="13441" y="134788"/>
                  </a:cubicBezTo>
                  <a:lnTo>
                    <a:pt x="255882" y="22190"/>
                  </a:lnTo>
                  <a:lnTo>
                    <a:pt x="255882" y="0"/>
                  </a:ln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A18E1348-C671-3845-39F2-177D0BE5FE59}"/>
                </a:ext>
              </a:extLst>
            </p:cNvPr>
            <p:cNvSpPr/>
            <p:nvPr/>
          </p:nvSpPr>
          <p:spPr>
            <a:xfrm>
              <a:off x="11483680" y="2991061"/>
              <a:ext cx="295506" cy="155900"/>
            </a:xfrm>
            <a:custGeom>
              <a:avLst/>
              <a:gdLst>
                <a:gd name="connsiteX0" fmla="*/ 295507 w 295506"/>
                <a:gd name="connsiteY0" fmla="*/ 0 h 155900"/>
                <a:gd name="connsiteX1" fmla="*/ 0 w 295506"/>
                <a:gd name="connsiteY1" fmla="*/ 137261 h 155900"/>
                <a:gd name="connsiteX2" fmla="*/ 7608 w 295506"/>
                <a:gd name="connsiteY2" fmla="*/ 155900 h 155900"/>
                <a:gd name="connsiteX3" fmla="*/ 295507 w 295506"/>
                <a:gd name="connsiteY3" fmla="*/ 22190 h 155900"/>
                <a:gd name="connsiteX4" fmla="*/ 295507 w 295506"/>
                <a:gd name="connsiteY4" fmla="*/ 0 h 15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06" h="155900">
                  <a:moveTo>
                    <a:pt x="295507" y="0"/>
                  </a:moveTo>
                  <a:lnTo>
                    <a:pt x="0" y="137261"/>
                  </a:lnTo>
                  <a:cubicBezTo>
                    <a:pt x="2282" y="143601"/>
                    <a:pt x="4818" y="149814"/>
                    <a:pt x="7608" y="155900"/>
                  </a:cubicBezTo>
                  <a:lnTo>
                    <a:pt x="295507" y="22190"/>
                  </a:lnTo>
                  <a:lnTo>
                    <a:pt x="295507" y="0"/>
                  </a:ln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407A2B85-3B6E-228B-24A3-B073E880E040}"/>
                </a:ext>
              </a:extLst>
            </p:cNvPr>
            <p:cNvSpPr/>
            <p:nvPr/>
          </p:nvSpPr>
          <p:spPr>
            <a:xfrm>
              <a:off x="11468464" y="2900780"/>
              <a:ext cx="310722" cy="165981"/>
            </a:xfrm>
            <a:custGeom>
              <a:avLst/>
              <a:gdLst>
                <a:gd name="connsiteX0" fmla="*/ 310723 w 310722"/>
                <a:gd name="connsiteY0" fmla="*/ 0 h 165981"/>
                <a:gd name="connsiteX1" fmla="*/ 0 w 310722"/>
                <a:gd name="connsiteY1" fmla="*/ 144362 h 165981"/>
                <a:gd name="connsiteX2" fmla="*/ 1205 w 310722"/>
                <a:gd name="connsiteY2" fmla="*/ 165981 h 165981"/>
                <a:gd name="connsiteX3" fmla="*/ 310723 w 310722"/>
                <a:gd name="connsiteY3" fmla="*/ 22190 h 165981"/>
                <a:gd name="connsiteX4" fmla="*/ 310723 w 310722"/>
                <a:gd name="connsiteY4" fmla="*/ 0 h 16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22" h="165981">
                  <a:moveTo>
                    <a:pt x="310723" y="0"/>
                  </a:moveTo>
                  <a:lnTo>
                    <a:pt x="0" y="144362"/>
                  </a:lnTo>
                  <a:cubicBezTo>
                    <a:pt x="127" y="151653"/>
                    <a:pt x="507" y="158880"/>
                    <a:pt x="1205" y="165981"/>
                  </a:cubicBezTo>
                  <a:lnTo>
                    <a:pt x="310723" y="22190"/>
                  </a:lnTo>
                  <a:lnTo>
                    <a:pt x="310723" y="0"/>
                  </a:lnTo>
                  <a:close/>
                </a:path>
              </a:pathLst>
            </a:custGeom>
            <a:grpFill/>
            <a:ln w="0" cap="flat">
              <a:noFill/>
              <a:prstDash val="solid"/>
              <a:miter/>
            </a:ln>
          </p:spPr>
          <p:txBody>
            <a:bodyPr rtlCol="0" anchor="ctr"/>
            <a:lstStyle/>
            <a:p>
              <a:endParaRPr lang="sv-SE"/>
            </a:p>
          </p:txBody>
        </p:sp>
        <p:sp>
          <p:nvSpPr>
            <p:cNvPr id="39" name="Frihandsfigur: Form 38">
              <a:extLst>
                <a:ext uri="{FF2B5EF4-FFF2-40B4-BE49-F238E27FC236}">
                  <a16:creationId xmlns:a16="http://schemas.microsoft.com/office/drawing/2014/main" id="{001DD2F3-7FCE-DF33-4110-2CB2F44296FE}"/>
                </a:ext>
              </a:extLst>
            </p:cNvPr>
            <p:cNvSpPr/>
            <p:nvPr/>
          </p:nvSpPr>
          <p:spPr>
            <a:xfrm>
              <a:off x="11477023" y="2810498"/>
              <a:ext cx="302163" cy="162557"/>
            </a:xfrm>
            <a:custGeom>
              <a:avLst/>
              <a:gdLst>
                <a:gd name="connsiteX0" fmla="*/ 302164 w 302163"/>
                <a:gd name="connsiteY0" fmla="*/ 0 h 162557"/>
                <a:gd name="connsiteX1" fmla="*/ 8432 w 302163"/>
                <a:gd name="connsiteY1" fmla="*/ 136436 h 162557"/>
                <a:gd name="connsiteX2" fmla="*/ 0 w 302163"/>
                <a:gd name="connsiteY2" fmla="*/ 162557 h 162557"/>
                <a:gd name="connsiteX3" fmla="*/ 302164 w 302163"/>
                <a:gd name="connsiteY3" fmla="*/ 22190 h 162557"/>
                <a:gd name="connsiteX4" fmla="*/ 302164 w 302163"/>
                <a:gd name="connsiteY4" fmla="*/ 0 h 162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163" h="162557">
                  <a:moveTo>
                    <a:pt x="302164" y="0"/>
                  </a:moveTo>
                  <a:lnTo>
                    <a:pt x="8432" y="136436"/>
                  </a:lnTo>
                  <a:cubicBezTo>
                    <a:pt x="5199" y="144932"/>
                    <a:pt x="2346" y="153618"/>
                    <a:pt x="0" y="162557"/>
                  </a:cubicBezTo>
                  <a:lnTo>
                    <a:pt x="302164" y="22190"/>
                  </a:lnTo>
                  <a:lnTo>
                    <a:pt x="302164" y="0"/>
                  </a:lnTo>
                  <a:close/>
                </a:path>
              </a:pathLst>
            </a:custGeom>
            <a:grpFill/>
            <a:ln w="0" cap="flat">
              <a:noFill/>
              <a:prstDash val="solid"/>
              <a:miter/>
            </a:ln>
          </p:spPr>
          <p:txBody>
            <a:bodyPr rtlCol="0" anchor="ctr"/>
            <a:lstStyle/>
            <a:p>
              <a:endParaRPr lang="sv-SE"/>
            </a:p>
          </p:txBody>
        </p:sp>
        <p:sp>
          <p:nvSpPr>
            <p:cNvPr id="40" name="Frihandsfigur: Form 39">
              <a:extLst>
                <a:ext uri="{FF2B5EF4-FFF2-40B4-BE49-F238E27FC236}">
                  <a16:creationId xmlns:a16="http://schemas.microsoft.com/office/drawing/2014/main" id="{A68191C3-5567-99CD-57BA-6D7FDBB4AC71}"/>
                </a:ext>
              </a:extLst>
            </p:cNvPr>
            <p:cNvSpPr/>
            <p:nvPr/>
          </p:nvSpPr>
          <p:spPr>
            <a:xfrm>
              <a:off x="11553547" y="2720280"/>
              <a:ext cx="225703" cy="126989"/>
            </a:xfrm>
            <a:custGeom>
              <a:avLst/>
              <a:gdLst>
                <a:gd name="connsiteX0" fmla="*/ 225640 w 225703"/>
                <a:gd name="connsiteY0" fmla="*/ 0 h 126989"/>
                <a:gd name="connsiteX1" fmla="*/ 65492 w 225703"/>
                <a:gd name="connsiteY1" fmla="*/ 74368 h 126989"/>
                <a:gd name="connsiteX2" fmla="*/ 39371 w 225703"/>
                <a:gd name="connsiteY2" fmla="*/ 97382 h 126989"/>
                <a:gd name="connsiteX3" fmla="*/ 0 w 225703"/>
                <a:gd name="connsiteY3" fmla="*/ 126990 h 126989"/>
                <a:gd name="connsiteX4" fmla="*/ 225704 w 225703"/>
                <a:gd name="connsiteY4" fmla="*/ 22190 h 126989"/>
                <a:gd name="connsiteX5" fmla="*/ 225704 w 225703"/>
                <a:gd name="connsiteY5" fmla="*/ 0 h 12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703" h="126989">
                  <a:moveTo>
                    <a:pt x="225640" y="0"/>
                  </a:moveTo>
                  <a:lnTo>
                    <a:pt x="65492" y="74368"/>
                  </a:lnTo>
                  <a:cubicBezTo>
                    <a:pt x="58265" y="83307"/>
                    <a:pt x="49452" y="91169"/>
                    <a:pt x="39371" y="97382"/>
                  </a:cubicBezTo>
                  <a:cubicBezTo>
                    <a:pt x="25297" y="106005"/>
                    <a:pt x="12109" y="115958"/>
                    <a:pt x="0" y="126990"/>
                  </a:cubicBezTo>
                  <a:lnTo>
                    <a:pt x="225704" y="22190"/>
                  </a:lnTo>
                  <a:lnTo>
                    <a:pt x="225704" y="0"/>
                  </a:lnTo>
                  <a:close/>
                </a:path>
              </a:pathLst>
            </a:custGeom>
            <a:grpFill/>
            <a:ln w="0" cap="flat">
              <a:noFill/>
              <a:prstDash val="solid"/>
              <a:miter/>
            </a:ln>
          </p:spPr>
          <p:txBody>
            <a:bodyPr rtlCol="0" anchor="ctr"/>
            <a:lstStyle/>
            <a:p>
              <a:endParaRPr lang="sv-SE"/>
            </a:p>
          </p:txBody>
        </p:sp>
        <p:sp>
          <p:nvSpPr>
            <p:cNvPr id="41" name="Frihandsfigur: Form 40">
              <a:extLst>
                <a:ext uri="{FF2B5EF4-FFF2-40B4-BE49-F238E27FC236}">
                  <a16:creationId xmlns:a16="http://schemas.microsoft.com/office/drawing/2014/main" id="{9D2A70A2-ED37-EAA5-1443-E724A9FAD0E3}"/>
                </a:ext>
              </a:extLst>
            </p:cNvPr>
            <p:cNvSpPr/>
            <p:nvPr/>
          </p:nvSpPr>
          <p:spPr>
            <a:xfrm>
              <a:off x="11636220" y="2629999"/>
              <a:ext cx="142966" cy="86350"/>
            </a:xfrm>
            <a:custGeom>
              <a:avLst/>
              <a:gdLst>
                <a:gd name="connsiteX0" fmla="*/ 142967 w 142966"/>
                <a:gd name="connsiteY0" fmla="*/ 0 h 86350"/>
                <a:gd name="connsiteX1" fmla="*/ 0 w 142966"/>
                <a:gd name="connsiteY1" fmla="*/ 66380 h 86350"/>
                <a:gd name="connsiteX2" fmla="*/ 4755 w 142966"/>
                <a:gd name="connsiteY2" fmla="*/ 86351 h 86350"/>
                <a:gd name="connsiteX3" fmla="*/ 142903 w 142966"/>
                <a:gd name="connsiteY3" fmla="*/ 22190 h 86350"/>
                <a:gd name="connsiteX4" fmla="*/ 142903 w 142966"/>
                <a:gd name="connsiteY4" fmla="*/ 0 h 8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966" h="86350">
                  <a:moveTo>
                    <a:pt x="142967" y="0"/>
                  </a:moveTo>
                  <a:lnTo>
                    <a:pt x="0" y="66380"/>
                  </a:lnTo>
                  <a:cubicBezTo>
                    <a:pt x="2219" y="72847"/>
                    <a:pt x="3867" y="79503"/>
                    <a:pt x="4755" y="86351"/>
                  </a:cubicBezTo>
                  <a:lnTo>
                    <a:pt x="142903" y="22190"/>
                  </a:lnTo>
                  <a:lnTo>
                    <a:pt x="142903" y="0"/>
                  </a:lnTo>
                  <a:close/>
                </a:path>
              </a:pathLst>
            </a:custGeom>
            <a:grpFill/>
            <a:ln w="0" cap="flat">
              <a:noFill/>
              <a:prstDash val="solid"/>
              <a:miter/>
            </a:ln>
          </p:spPr>
          <p:txBody>
            <a:bodyPr rtlCol="0" anchor="ctr"/>
            <a:lstStyle/>
            <a:p>
              <a:endParaRPr lang="sv-SE"/>
            </a:p>
          </p:txBody>
        </p:sp>
        <p:sp>
          <p:nvSpPr>
            <p:cNvPr id="42" name="Frihandsfigur: Form 41">
              <a:extLst>
                <a:ext uri="{FF2B5EF4-FFF2-40B4-BE49-F238E27FC236}">
                  <a16:creationId xmlns:a16="http://schemas.microsoft.com/office/drawing/2014/main" id="{310919E0-8F17-387F-A6EB-7283C90E9F20}"/>
                </a:ext>
              </a:extLst>
            </p:cNvPr>
            <p:cNvSpPr/>
            <p:nvPr/>
          </p:nvSpPr>
          <p:spPr>
            <a:xfrm>
              <a:off x="11578526" y="2539717"/>
              <a:ext cx="200660" cy="106258"/>
            </a:xfrm>
            <a:custGeom>
              <a:avLst/>
              <a:gdLst>
                <a:gd name="connsiteX0" fmla="*/ 200661 w 200660"/>
                <a:gd name="connsiteY0" fmla="*/ 0 h 106258"/>
                <a:gd name="connsiteX1" fmla="*/ 0 w 200660"/>
                <a:gd name="connsiteY1" fmla="*/ 93198 h 106258"/>
                <a:gd name="connsiteX2" fmla="*/ 14328 w 200660"/>
                <a:gd name="connsiteY2" fmla="*/ 102708 h 106258"/>
                <a:gd name="connsiteX3" fmla="*/ 19717 w 200660"/>
                <a:gd name="connsiteY3" fmla="*/ 106258 h 106258"/>
                <a:gd name="connsiteX4" fmla="*/ 200661 w 200660"/>
                <a:gd name="connsiteY4" fmla="*/ 22190 h 106258"/>
                <a:gd name="connsiteX5" fmla="*/ 200661 w 200660"/>
                <a:gd name="connsiteY5" fmla="*/ 0 h 10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60" h="106258">
                  <a:moveTo>
                    <a:pt x="200661" y="0"/>
                  </a:moveTo>
                  <a:lnTo>
                    <a:pt x="0" y="93198"/>
                  </a:lnTo>
                  <a:cubicBezTo>
                    <a:pt x="4692" y="96495"/>
                    <a:pt x="9447" y="99665"/>
                    <a:pt x="14328" y="102708"/>
                  </a:cubicBezTo>
                  <a:cubicBezTo>
                    <a:pt x="16167" y="103849"/>
                    <a:pt x="17942" y="104990"/>
                    <a:pt x="19717" y="106258"/>
                  </a:cubicBezTo>
                  <a:lnTo>
                    <a:pt x="200661" y="22190"/>
                  </a:lnTo>
                  <a:lnTo>
                    <a:pt x="200661" y="0"/>
                  </a:lnTo>
                  <a:close/>
                </a:path>
              </a:pathLst>
            </a:custGeom>
            <a:grpFill/>
            <a:ln w="0" cap="flat">
              <a:noFill/>
              <a:prstDash val="solid"/>
              <a:miter/>
            </a:ln>
          </p:spPr>
          <p:txBody>
            <a:bodyPr rtlCol="0" anchor="ctr"/>
            <a:lstStyle/>
            <a:p>
              <a:endParaRPr lang="sv-SE"/>
            </a:p>
          </p:txBody>
        </p:sp>
        <p:sp>
          <p:nvSpPr>
            <p:cNvPr id="43" name="Frihandsfigur: Form 42">
              <a:extLst>
                <a:ext uri="{FF2B5EF4-FFF2-40B4-BE49-F238E27FC236}">
                  <a16:creationId xmlns:a16="http://schemas.microsoft.com/office/drawing/2014/main" id="{44615CDD-60ED-7C0A-17BF-639A2DE94B69}"/>
                </a:ext>
              </a:extLst>
            </p:cNvPr>
            <p:cNvSpPr/>
            <p:nvPr/>
          </p:nvSpPr>
          <p:spPr>
            <a:xfrm>
              <a:off x="11516775" y="2449499"/>
              <a:ext cx="262475" cy="138211"/>
            </a:xfrm>
            <a:custGeom>
              <a:avLst/>
              <a:gdLst>
                <a:gd name="connsiteX0" fmla="*/ 262412 w 262475"/>
                <a:gd name="connsiteY0" fmla="*/ 0 h 138211"/>
                <a:gd name="connsiteX1" fmla="*/ 0 w 262475"/>
                <a:gd name="connsiteY1" fmla="*/ 121918 h 138211"/>
                <a:gd name="connsiteX2" fmla="*/ 12680 w 262475"/>
                <a:gd name="connsiteY2" fmla="*/ 138212 h 138211"/>
                <a:gd name="connsiteX3" fmla="*/ 262476 w 262475"/>
                <a:gd name="connsiteY3" fmla="*/ 22190 h 138211"/>
                <a:gd name="connsiteX4" fmla="*/ 262476 w 262475"/>
                <a:gd name="connsiteY4" fmla="*/ 0 h 13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75" h="138211">
                  <a:moveTo>
                    <a:pt x="262412" y="0"/>
                  </a:moveTo>
                  <a:lnTo>
                    <a:pt x="0" y="121918"/>
                  </a:lnTo>
                  <a:cubicBezTo>
                    <a:pt x="3994" y="127497"/>
                    <a:pt x="8242" y="132950"/>
                    <a:pt x="12680" y="138212"/>
                  </a:cubicBezTo>
                  <a:lnTo>
                    <a:pt x="262476" y="22190"/>
                  </a:lnTo>
                  <a:lnTo>
                    <a:pt x="262476" y="0"/>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474181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_Rubrikbild_ljusrosa">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hasCustomPrompt="1"/>
          </p:nvPr>
        </p:nvSpPr>
        <p:spPr>
          <a:xfrm>
            <a:off x="1635902" y="3057840"/>
            <a:ext cx="6854955" cy="1349829"/>
          </a:xfrm>
          <a:prstGeom prst="rect">
            <a:avLst/>
          </a:prstGeom>
        </p:spPr>
        <p:txBody>
          <a:bodyPr anchor="ctr" anchorCtr="0">
            <a:noAutofit/>
          </a:bodyPr>
          <a:lstStyle>
            <a:lvl1pPr algn="l">
              <a:lnSpc>
                <a:spcPct val="90000"/>
              </a:lnSpc>
              <a:defRPr sz="6000" kern="0" spc="0" baseline="0">
                <a:solidFill>
                  <a:schemeClr val="bg1"/>
                </a:solidFill>
              </a:defRPr>
            </a:lvl1pPr>
          </a:lstStyle>
          <a:p>
            <a:r>
              <a:rPr lang="sv-SE"/>
              <a:t>Rubrik</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1635902" y="4597288"/>
            <a:ext cx="6854955" cy="251417"/>
          </a:xfrm>
        </p:spPr>
        <p:txBody>
          <a:bodyPr>
            <a:noAutofit/>
          </a:bodyPr>
          <a:lstStyle>
            <a:lvl1pPr marL="0" indent="0">
              <a:lnSpc>
                <a:spcPct val="100000"/>
              </a:lnSpc>
              <a:spcBef>
                <a:spcPts val="0"/>
              </a:spcBef>
              <a:buNone/>
              <a:defRPr sz="20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1635902" y="5038324"/>
            <a:ext cx="6854955" cy="251417"/>
          </a:xfrm>
        </p:spPr>
        <p:txBody>
          <a:bodyPr>
            <a:noAutofit/>
          </a:bodyPr>
          <a:lstStyle>
            <a:lvl1pPr marL="0" indent="0">
              <a:lnSpc>
                <a:spcPct val="100000"/>
              </a:lnSpc>
              <a:spcBef>
                <a:spcPts val="0"/>
              </a:spcBef>
              <a:buNone/>
              <a:defRPr sz="16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grpSp>
        <p:nvGrpSpPr>
          <p:cNvPr id="4" name="Grupp 3">
            <a:extLst>
              <a:ext uri="{FF2B5EF4-FFF2-40B4-BE49-F238E27FC236}">
                <a16:creationId xmlns:a16="http://schemas.microsoft.com/office/drawing/2014/main" id="{7998ED8B-8DDD-F023-8AA3-254FFDE53A5E}"/>
              </a:ext>
            </a:extLst>
          </p:cNvPr>
          <p:cNvGrpSpPr/>
          <p:nvPr userDrawn="1"/>
        </p:nvGrpSpPr>
        <p:grpSpPr>
          <a:xfrm>
            <a:off x="8368210" y="1144857"/>
            <a:ext cx="3411040" cy="2155912"/>
            <a:chOff x="8368210" y="1144857"/>
            <a:chExt cx="3411040" cy="2155912"/>
          </a:xfrm>
          <a:solidFill>
            <a:schemeClr val="accent5"/>
          </a:solidFill>
        </p:grpSpPr>
        <p:sp>
          <p:nvSpPr>
            <p:cNvPr id="7" name="Frihandsfigur: Form 6">
              <a:extLst>
                <a:ext uri="{FF2B5EF4-FFF2-40B4-BE49-F238E27FC236}">
                  <a16:creationId xmlns:a16="http://schemas.microsoft.com/office/drawing/2014/main" id="{FC1DF63D-5B79-3897-D47D-792A0B4BB3E3}"/>
                </a:ext>
              </a:extLst>
            </p:cNvPr>
            <p:cNvSpPr/>
            <p:nvPr/>
          </p:nvSpPr>
          <p:spPr>
            <a:xfrm>
              <a:off x="8368210" y="1539204"/>
              <a:ext cx="2381680" cy="521590"/>
            </a:xfrm>
            <a:custGeom>
              <a:avLst/>
              <a:gdLst>
                <a:gd name="connsiteX0" fmla="*/ 2122185 w 2381680"/>
                <a:gd name="connsiteY0" fmla="*/ 63 h 521590"/>
                <a:gd name="connsiteX1" fmla="*/ 1898954 w 2381680"/>
                <a:gd name="connsiteY1" fmla="*/ 123947 h 521590"/>
                <a:gd name="connsiteX2" fmla="*/ 1811018 w 2381680"/>
                <a:gd name="connsiteY2" fmla="*/ 173652 h 521590"/>
                <a:gd name="connsiteX3" fmla="*/ 1810764 w 2381680"/>
                <a:gd name="connsiteY3" fmla="*/ 173652 h 521590"/>
                <a:gd name="connsiteX4" fmla="*/ 1723272 w 2381680"/>
                <a:gd name="connsiteY4" fmla="*/ 124581 h 521590"/>
                <a:gd name="connsiteX5" fmla="*/ 1500866 w 2381680"/>
                <a:gd name="connsiteY5" fmla="*/ 0 h 521590"/>
                <a:gd name="connsiteX6" fmla="*/ 1278459 w 2381680"/>
                <a:gd name="connsiteY6" fmla="*/ 124581 h 521590"/>
                <a:gd name="connsiteX7" fmla="*/ 1190967 w 2381680"/>
                <a:gd name="connsiteY7" fmla="*/ 173652 h 521590"/>
                <a:gd name="connsiteX8" fmla="*/ 1190713 w 2381680"/>
                <a:gd name="connsiteY8" fmla="*/ 173652 h 521590"/>
                <a:gd name="connsiteX9" fmla="*/ 1103222 w 2381680"/>
                <a:gd name="connsiteY9" fmla="*/ 124581 h 521590"/>
                <a:gd name="connsiteX10" fmla="*/ 880815 w 2381680"/>
                <a:gd name="connsiteY10" fmla="*/ 0 h 521590"/>
                <a:gd name="connsiteX11" fmla="*/ 658408 w 2381680"/>
                <a:gd name="connsiteY11" fmla="*/ 124581 h 521590"/>
                <a:gd name="connsiteX12" fmla="*/ 570916 w 2381680"/>
                <a:gd name="connsiteY12" fmla="*/ 173652 h 521590"/>
                <a:gd name="connsiteX13" fmla="*/ 570662 w 2381680"/>
                <a:gd name="connsiteY13" fmla="*/ 173652 h 521590"/>
                <a:gd name="connsiteX14" fmla="*/ 482727 w 2381680"/>
                <a:gd name="connsiteY14" fmla="*/ 123947 h 521590"/>
                <a:gd name="connsiteX15" fmla="*/ 259496 w 2381680"/>
                <a:gd name="connsiteY15" fmla="*/ 63 h 521590"/>
                <a:gd name="connsiteX16" fmla="*/ 0 w 2381680"/>
                <a:gd name="connsiteY16" fmla="*/ 260827 h 521590"/>
                <a:gd name="connsiteX17" fmla="*/ 260764 w 2381680"/>
                <a:gd name="connsiteY17" fmla="*/ 521591 h 521590"/>
                <a:gd name="connsiteX18" fmla="*/ 483171 w 2381680"/>
                <a:gd name="connsiteY18" fmla="*/ 397010 h 521590"/>
                <a:gd name="connsiteX19" fmla="*/ 570662 w 2381680"/>
                <a:gd name="connsiteY19" fmla="*/ 347939 h 521590"/>
                <a:gd name="connsiteX20" fmla="*/ 570916 w 2381680"/>
                <a:gd name="connsiteY20" fmla="*/ 347939 h 521590"/>
                <a:gd name="connsiteX21" fmla="*/ 658408 w 2381680"/>
                <a:gd name="connsiteY21" fmla="*/ 397010 h 521590"/>
                <a:gd name="connsiteX22" fmla="*/ 880815 w 2381680"/>
                <a:gd name="connsiteY22" fmla="*/ 521591 h 521590"/>
                <a:gd name="connsiteX23" fmla="*/ 1103222 w 2381680"/>
                <a:gd name="connsiteY23" fmla="*/ 397010 h 521590"/>
                <a:gd name="connsiteX24" fmla="*/ 1190713 w 2381680"/>
                <a:gd name="connsiteY24" fmla="*/ 347939 h 521590"/>
                <a:gd name="connsiteX25" fmla="*/ 1190967 w 2381680"/>
                <a:gd name="connsiteY25" fmla="*/ 347939 h 521590"/>
                <a:gd name="connsiteX26" fmla="*/ 1278459 w 2381680"/>
                <a:gd name="connsiteY26" fmla="*/ 397010 h 521590"/>
                <a:gd name="connsiteX27" fmla="*/ 1500866 w 2381680"/>
                <a:gd name="connsiteY27" fmla="*/ 521591 h 521590"/>
                <a:gd name="connsiteX28" fmla="*/ 1723272 w 2381680"/>
                <a:gd name="connsiteY28" fmla="*/ 397010 h 521590"/>
                <a:gd name="connsiteX29" fmla="*/ 1810764 w 2381680"/>
                <a:gd name="connsiteY29" fmla="*/ 347939 h 521590"/>
                <a:gd name="connsiteX30" fmla="*/ 1811018 w 2381680"/>
                <a:gd name="connsiteY30" fmla="*/ 347939 h 521590"/>
                <a:gd name="connsiteX31" fmla="*/ 1898510 w 2381680"/>
                <a:gd name="connsiteY31" fmla="*/ 397010 h 521590"/>
                <a:gd name="connsiteX32" fmla="*/ 2120917 w 2381680"/>
                <a:gd name="connsiteY32" fmla="*/ 521591 h 521590"/>
                <a:gd name="connsiteX33" fmla="*/ 2381680 w 2381680"/>
                <a:gd name="connsiteY33" fmla="*/ 260827 h 521590"/>
                <a:gd name="connsiteX34" fmla="*/ 2122185 w 2381680"/>
                <a:gd name="connsiteY34" fmla="*/ 63 h 52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81680" h="521590">
                  <a:moveTo>
                    <a:pt x="2122185" y="63"/>
                  </a:moveTo>
                  <a:cubicBezTo>
                    <a:pt x="2027845" y="-380"/>
                    <a:pt x="1945045" y="49262"/>
                    <a:pt x="1898954" y="123947"/>
                  </a:cubicBezTo>
                  <a:cubicBezTo>
                    <a:pt x="1880060" y="154569"/>
                    <a:pt x="1847029" y="173652"/>
                    <a:pt x="1811018" y="173652"/>
                  </a:cubicBezTo>
                  <a:lnTo>
                    <a:pt x="1810764" y="173652"/>
                  </a:lnTo>
                  <a:cubicBezTo>
                    <a:pt x="1775070" y="173652"/>
                    <a:pt x="1741975" y="155076"/>
                    <a:pt x="1723272" y="124581"/>
                  </a:cubicBezTo>
                  <a:cubicBezTo>
                    <a:pt x="1677434" y="49896"/>
                    <a:pt x="1594951" y="0"/>
                    <a:pt x="1500866" y="0"/>
                  </a:cubicBezTo>
                  <a:cubicBezTo>
                    <a:pt x="1406780" y="0"/>
                    <a:pt x="1324360" y="49832"/>
                    <a:pt x="1278459" y="124581"/>
                  </a:cubicBezTo>
                  <a:cubicBezTo>
                    <a:pt x="1259756" y="155013"/>
                    <a:pt x="1226661" y="173652"/>
                    <a:pt x="1190967" y="173652"/>
                  </a:cubicBezTo>
                  <a:lnTo>
                    <a:pt x="1190713" y="173652"/>
                  </a:lnTo>
                  <a:cubicBezTo>
                    <a:pt x="1155019" y="173652"/>
                    <a:pt x="1121925" y="155076"/>
                    <a:pt x="1103222" y="124581"/>
                  </a:cubicBezTo>
                  <a:cubicBezTo>
                    <a:pt x="1057383" y="49896"/>
                    <a:pt x="974900" y="0"/>
                    <a:pt x="880815" y="0"/>
                  </a:cubicBezTo>
                  <a:cubicBezTo>
                    <a:pt x="786729" y="0"/>
                    <a:pt x="704309" y="49832"/>
                    <a:pt x="658408" y="124581"/>
                  </a:cubicBezTo>
                  <a:cubicBezTo>
                    <a:pt x="639705" y="155013"/>
                    <a:pt x="606610" y="173652"/>
                    <a:pt x="570916" y="173652"/>
                  </a:cubicBezTo>
                  <a:lnTo>
                    <a:pt x="570662" y="173652"/>
                  </a:lnTo>
                  <a:cubicBezTo>
                    <a:pt x="534651" y="173652"/>
                    <a:pt x="501683" y="154569"/>
                    <a:pt x="482727" y="123947"/>
                  </a:cubicBezTo>
                  <a:cubicBezTo>
                    <a:pt x="436572" y="49262"/>
                    <a:pt x="353835" y="-380"/>
                    <a:pt x="259496" y="63"/>
                  </a:cubicBezTo>
                  <a:cubicBezTo>
                    <a:pt x="115768" y="761"/>
                    <a:pt x="0" y="117100"/>
                    <a:pt x="0" y="260827"/>
                  </a:cubicBezTo>
                  <a:cubicBezTo>
                    <a:pt x="0" y="404555"/>
                    <a:pt x="116719" y="521591"/>
                    <a:pt x="260764" y="521591"/>
                  </a:cubicBezTo>
                  <a:cubicBezTo>
                    <a:pt x="354849" y="521591"/>
                    <a:pt x="437269" y="471759"/>
                    <a:pt x="483171" y="397010"/>
                  </a:cubicBezTo>
                  <a:cubicBezTo>
                    <a:pt x="501874" y="366578"/>
                    <a:pt x="534968" y="347939"/>
                    <a:pt x="570662" y="347939"/>
                  </a:cubicBezTo>
                  <a:lnTo>
                    <a:pt x="570916" y="347939"/>
                  </a:lnTo>
                  <a:cubicBezTo>
                    <a:pt x="606610" y="347939"/>
                    <a:pt x="639705" y="366515"/>
                    <a:pt x="658408" y="397010"/>
                  </a:cubicBezTo>
                  <a:cubicBezTo>
                    <a:pt x="704246" y="471695"/>
                    <a:pt x="786729" y="521591"/>
                    <a:pt x="880815" y="521591"/>
                  </a:cubicBezTo>
                  <a:cubicBezTo>
                    <a:pt x="974900" y="521591"/>
                    <a:pt x="1057320" y="471759"/>
                    <a:pt x="1103222" y="397010"/>
                  </a:cubicBezTo>
                  <a:cubicBezTo>
                    <a:pt x="1121925" y="366578"/>
                    <a:pt x="1155019" y="347939"/>
                    <a:pt x="1190713" y="347939"/>
                  </a:cubicBezTo>
                  <a:lnTo>
                    <a:pt x="1190967" y="347939"/>
                  </a:lnTo>
                  <a:cubicBezTo>
                    <a:pt x="1226661" y="347939"/>
                    <a:pt x="1259756" y="366515"/>
                    <a:pt x="1278459" y="397010"/>
                  </a:cubicBezTo>
                  <a:cubicBezTo>
                    <a:pt x="1324297" y="471695"/>
                    <a:pt x="1406780" y="521591"/>
                    <a:pt x="1500866" y="521591"/>
                  </a:cubicBezTo>
                  <a:cubicBezTo>
                    <a:pt x="1594951" y="521591"/>
                    <a:pt x="1677371" y="471759"/>
                    <a:pt x="1723272" y="397010"/>
                  </a:cubicBezTo>
                  <a:cubicBezTo>
                    <a:pt x="1741975" y="366578"/>
                    <a:pt x="1775070" y="347939"/>
                    <a:pt x="1810764" y="347939"/>
                  </a:cubicBezTo>
                  <a:lnTo>
                    <a:pt x="1811018" y="347939"/>
                  </a:lnTo>
                  <a:cubicBezTo>
                    <a:pt x="1846712" y="347939"/>
                    <a:pt x="1879807" y="366515"/>
                    <a:pt x="1898510" y="397010"/>
                  </a:cubicBezTo>
                  <a:cubicBezTo>
                    <a:pt x="1944348" y="471695"/>
                    <a:pt x="2026831" y="521591"/>
                    <a:pt x="2120917" y="521591"/>
                  </a:cubicBezTo>
                  <a:cubicBezTo>
                    <a:pt x="2264961" y="521591"/>
                    <a:pt x="2381680" y="404872"/>
                    <a:pt x="2381680" y="260827"/>
                  </a:cubicBezTo>
                  <a:cubicBezTo>
                    <a:pt x="2381680" y="117100"/>
                    <a:pt x="2265912" y="761"/>
                    <a:pt x="2122185" y="63"/>
                  </a:cubicBezTo>
                  <a:close/>
                </a:path>
              </a:pathLst>
            </a:custGeom>
            <a:grpFill/>
            <a:ln w="0" cap="flat">
              <a:noFill/>
              <a:prstDash val="solid"/>
              <a:miter/>
            </a:ln>
          </p:spPr>
          <p:txBody>
            <a:bodyPr rtlCol="0" anchor="ctr"/>
            <a:lstStyle/>
            <a:p>
              <a:endParaRPr lang="sv-SE"/>
            </a:p>
          </p:txBody>
        </p:sp>
        <p:sp>
          <p:nvSpPr>
            <p:cNvPr id="9" name="Frihandsfigur: Form 8">
              <a:extLst>
                <a:ext uri="{FF2B5EF4-FFF2-40B4-BE49-F238E27FC236}">
                  <a16:creationId xmlns:a16="http://schemas.microsoft.com/office/drawing/2014/main" id="{6C02DC3E-7AE8-5EA8-AFDB-540819D38C65}"/>
                </a:ext>
              </a:extLst>
            </p:cNvPr>
            <p:cNvSpPr/>
            <p:nvPr/>
          </p:nvSpPr>
          <p:spPr>
            <a:xfrm>
              <a:off x="10833197" y="1529250"/>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7 h 541688"/>
                <a:gd name="connsiteX6" fmla="*/ 20161 w 541688"/>
                <a:gd name="connsiteY6" fmla="*/ 270844 h 541688"/>
                <a:gd name="connsiteX7" fmla="*/ 270844 w 541688"/>
                <a:gd name="connsiteY7" fmla="*/ 20161 h 541688"/>
                <a:gd name="connsiteX8" fmla="*/ 521528 w 541688"/>
                <a:gd name="connsiteY8" fmla="*/ 270844 h 541688"/>
                <a:gd name="connsiteX9" fmla="*/ 270844 w 541688"/>
                <a:gd name="connsiteY9" fmla="*/ 521527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4" y="541689"/>
                    <a:pt x="541689" y="420214"/>
                    <a:pt x="541689" y="270844"/>
                  </a:cubicBezTo>
                  <a:cubicBezTo>
                    <a:pt x="541689" y="121474"/>
                    <a:pt x="420214" y="0"/>
                    <a:pt x="270844" y="0"/>
                  </a:cubicBezTo>
                  <a:close/>
                  <a:moveTo>
                    <a:pt x="270844" y="521527"/>
                  </a:moveTo>
                  <a:cubicBezTo>
                    <a:pt x="132633" y="521527"/>
                    <a:pt x="20161" y="409056"/>
                    <a:pt x="20161" y="270844"/>
                  </a:cubicBezTo>
                  <a:cubicBezTo>
                    <a:pt x="20161" y="132633"/>
                    <a:pt x="132633" y="20161"/>
                    <a:pt x="270844" y="20161"/>
                  </a:cubicBezTo>
                  <a:cubicBezTo>
                    <a:pt x="409056" y="20161"/>
                    <a:pt x="521528" y="132633"/>
                    <a:pt x="521528" y="270844"/>
                  </a:cubicBezTo>
                  <a:cubicBezTo>
                    <a:pt x="521528" y="409056"/>
                    <a:pt x="409056" y="521527"/>
                    <a:pt x="270844" y="521527"/>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07962A2A-7A13-4847-ADA2-B49088A38121}"/>
                </a:ext>
              </a:extLst>
            </p:cNvPr>
            <p:cNvSpPr/>
            <p:nvPr/>
          </p:nvSpPr>
          <p:spPr>
            <a:xfrm>
              <a:off x="8973235" y="2148540"/>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8 h 541688"/>
                <a:gd name="connsiteX6" fmla="*/ 20161 w 541688"/>
                <a:gd name="connsiteY6" fmla="*/ 270844 h 541688"/>
                <a:gd name="connsiteX7" fmla="*/ 270844 w 541688"/>
                <a:gd name="connsiteY7" fmla="*/ 20161 h 541688"/>
                <a:gd name="connsiteX8" fmla="*/ 521527 w 541688"/>
                <a:gd name="connsiteY8" fmla="*/ 270844 h 541688"/>
                <a:gd name="connsiteX9" fmla="*/ 270844 w 541688"/>
                <a:gd name="connsiteY9" fmla="*/ 521528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4" y="541689"/>
                    <a:pt x="541689" y="420214"/>
                    <a:pt x="541689" y="270844"/>
                  </a:cubicBezTo>
                  <a:cubicBezTo>
                    <a:pt x="541689" y="121474"/>
                    <a:pt x="420214" y="0"/>
                    <a:pt x="270844" y="0"/>
                  </a:cubicBezTo>
                  <a:close/>
                  <a:moveTo>
                    <a:pt x="270844" y="521528"/>
                  </a:moveTo>
                  <a:cubicBezTo>
                    <a:pt x="132633" y="521528"/>
                    <a:pt x="20161" y="409056"/>
                    <a:pt x="20161" y="270844"/>
                  </a:cubicBezTo>
                  <a:cubicBezTo>
                    <a:pt x="20161" y="132633"/>
                    <a:pt x="132633" y="20161"/>
                    <a:pt x="270844" y="20161"/>
                  </a:cubicBezTo>
                  <a:cubicBezTo>
                    <a:pt x="409056" y="20161"/>
                    <a:pt x="521527" y="132633"/>
                    <a:pt x="521527" y="270844"/>
                  </a:cubicBezTo>
                  <a:cubicBezTo>
                    <a:pt x="521527" y="409056"/>
                    <a:pt x="409056" y="521528"/>
                    <a:pt x="270844" y="521528"/>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32240497-FD83-B43C-3132-ADA4CB3FF37A}"/>
                </a:ext>
              </a:extLst>
            </p:cNvPr>
            <p:cNvSpPr/>
            <p:nvPr/>
          </p:nvSpPr>
          <p:spPr>
            <a:xfrm>
              <a:off x="9593222" y="2148540"/>
              <a:ext cx="541688" cy="541688"/>
            </a:xfrm>
            <a:custGeom>
              <a:avLst/>
              <a:gdLst>
                <a:gd name="connsiteX0" fmla="*/ 270844 w 541688"/>
                <a:gd name="connsiteY0" fmla="*/ 0 h 541688"/>
                <a:gd name="connsiteX1" fmla="*/ 0 w 541688"/>
                <a:gd name="connsiteY1" fmla="*/ 270844 h 541688"/>
                <a:gd name="connsiteX2" fmla="*/ 270844 w 541688"/>
                <a:gd name="connsiteY2" fmla="*/ 541689 h 541688"/>
                <a:gd name="connsiteX3" fmla="*/ 541689 w 541688"/>
                <a:gd name="connsiteY3" fmla="*/ 270844 h 541688"/>
                <a:gd name="connsiteX4" fmla="*/ 270844 w 541688"/>
                <a:gd name="connsiteY4" fmla="*/ 0 h 541688"/>
                <a:gd name="connsiteX5" fmla="*/ 270844 w 541688"/>
                <a:gd name="connsiteY5" fmla="*/ 521528 h 541688"/>
                <a:gd name="connsiteX6" fmla="*/ 20161 w 541688"/>
                <a:gd name="connsiteY6" fmla="*/ 270844 h 541688"/>
                <a:gd name="connsiteX7" fmla="*/ 270844 w 541688"/>
                <a:gd name="connsiteY7" fmla="*/ 20161 h 541688"/>
                <a:gd name="connsiteX8" fmla="*/ 521527 w 541688"/>
                <a:gd name="connsiteY8" fmla="*/ 270844 h 541688"/>
                <a:gd name="connsiteX9" fmla="*/ 270844 w 541688"/>
                <a:gd name="connsiteY9" fmla="*/ 521528 h 54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688" h="541688">
                  <a:moveTo>
                    <a:pt x="270844" y="0"/>
                  </a:moveTo>
                  <a:cubicBezTo>
                    <a:pt x="121538" y="0"/>
                    <a:pt x="0" y="121474"/>
                    <a:pt x="0" y="270844"/>
                  </a:cubicBezTo>
                  <a:cubicBezTo>
                    <a:pt x="0" y="420214"/>
                    <a:pt x="121474" y="541689"/>
                    <a:pt x="270844" y="541689"/>
                  </a:cubicBezTo>
                  <a:cubicBezTo>
                    <a:pt x="420215" y="541689"/>
                    <a:pt x="541689" y="420214"/>
                    <a:pt x="541689" y="270844"/>
                  </a:cubicBezTo>
                  <a:cubicBezTo>
                    <a:pt x="541689" y="121474"/>
                    <a:pt x="420215" y="0"/>
                    <a:pt x="270844" y="0"/>
                  </a:cubicBezTo>
                  <a:close/>
                  <a:moveTo>
                    <a:pt x="270844" y="521528"/>
                  </a:moveTo>
                  <a:cubicBezTo>
                    <a:pt x="132633" y="521528"/>
                    <a:pt x="20161" y="409056"/>
                    <a:pt x="20161" y="270844"/>
                  </a:cubicBezTo>
                  <a:cubicBezTo>
                    <a:pt x="20161" y="132633"/>
                    <a:pt x="132633" y="20161"/>
                    <a:pt x="270844" y="20161"/>
                  </a:cubicBezTo>
                  <a:cubicBezTo>
                    <a:pt x="409056" y="20161"/>
                    <a:pt x="521527" y="132633"/>
                    <a:pt x="521527" y="270844"/>
                  </a:cubicBezTo>
                  <a:cubicBezTo>
                    <a:pt x="521527" y="409056"/>
                    <a:pt x="409056" y="521528"/>
                    <a:pt x="270844" y="521528"/>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942D3AA9-A72B-42B7-E292-76509B67AD3A}"/>
                </a:ext>
              </a:extLst>
            </p:cNvPr>
            <p:cNvSpPr/>
            <p:nvPr/>
          </p:nvSpPr>
          <p:spPr>
            <a:xfrm>
              <a:off x="10223290" y="2158557"/>
              <a:ext cx="521527" cy="521527"/>
            </a:xfrm>
            <a:custGeom>
              <a:avLst/>
              <a:gdLst>
                <a:gd name="connsiteX0" fmla="*/ 521527 w 521527"/>
                <a:gd name="connsiteY0" fmla="*/ 260764 h 521527"/>
                <a:gd name="connsiteX1" fmla="*/ 260764 w 521527"/>
                <a:gd name="connsiteY1" fmla="*/ 521528 h 521527"/>
                <a:gd name="connsiteX2" fmla="*/ 0 w 521527"/>
                <a:gd name="connsiteY2" fmla="*/ 260764 h 521527"/>
                <a:gd name="connsiteX3" fmla="*/ 260764 w 521527"/>
                <a:gd name="connsiteY3" fmla="*/ 0 h 521527"/>
                <a:gd name="connsiteX4" fmla="*/ 521527 w 521527"/>
                <a:gd name="connsiteY4" fmla="*/ 260764 h 52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27" h="521527">
                  <a:moveTo>
                    <a:pt x="521527" y="260764"/>
                  </a:moveTo>
                  <a:cubicBezTo>
                    <a:pt x="521527" y="404780"/>
                    <a:pt x="404780" y="521528"/>
                    <a:pt x="260764" y="521528"/>
                  </a:cubicBezTo>
                  <a:cubicBezTo>
                    <a:pt x="116748" y="521528"/>
                    <a:pt x="0" y="404780"/>
                    <a:pt x="0" y="260764"/>
                  </a:cubicBezTo>
                  <a:cubicBezTo>
                    <a:pt x="0" y="116748"/>
                    <a:pt x="116748" y="0"/>
                    <a:pt x="260764" y="0"/>
                  </a:cubicBezTo>
                  <a:cubicBezTo>
                    <a:pt x="404780" y="0"/>
                    <a:pt x="521527" y="116748"/>
                    <a:pt x="521527" y="260764"/>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3B1F3AFB-4B9F-2E18-EAD8-46F7466BE1B9}"/>
                </a:ext>
              </a:extLst>
            </p:cNvPr>
            <p:cNvSpPr/>
            <p:nvPr/>
          </p:nvSpPr>
          <p:spPr>
            <a:xfrm>
              <a:off x="10843278" y="2158557"/>
              <a:ext cx="521527" cy="521527"/>
            </a:xfrm>
            <a:custGeom>
              <a:avLst/>
              <a:gdLst>
                <a:gd name="connsiteX0" fmla="*/ 521528 w 521527"/>
                <a:gd name="connsiteY0" fmla="*/ 260764 h 521527"/>
                <a:gd name="connsiteX1" fmla="*/ 260764 w 521527"/>
                <a:gd name="connsiteY1" fmla="*/ 521528 h 521527"/>
                <a:gd name="connsiteX2" fmla="*/ 0 w 521527"/>
                <a:gd name="connsiteY2" fmla="*/ 260764 h 521527"/>
                <a:gd name="connsiteX3" fmla="*/ 260764 w 521527"/>
                <a:gd name="connsiteY3" fmla="*/ 0 h 521527"/>
                <a:gd name="connsiteX4" fmla="*/ 521528 w 521527"/>
                <a:gd name="connsiteY4" fmla="*/ 260764 h 52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527" h="521527">
                  <a:moveTo>
                    <a:pt x="521528" y="260764"/>
                  </a:moveTo>
                  <a:cubicBezTo>
                    <a:pt x="521528" y="404780"/>
                    <a:pt x="404780" y="521528"/>
                    <a:pt x="260764" y="521528"/>
                  </a:cubicBezTo>
                  <a:cubicBezTo>
                    <a:pt x="116748" y="521528"/>
                    <a:pt x="0" y="404780"/>
                    <a:pt x="0" y="260764"/>
                  </a:cubicBezTo>
                  <a:cubicBezTo>
                    <a:pt x="0" y="116748"/>
                    <a:pt x="116748" y="0"/>
                    <a:pt x="260764" y="0"/>
                  </a:cubicBezTo>
                  <a:cubicBezTo>
                    <a:pt x="404780" y="0"/>
                    <a:pt x="521528" y="116748"/>
                    <a:pt x="521528" y="260764"/>
                  </a:cubicBezTo>
                  <a:close/>
                </a:path>
              </a:pathLst>
            </a:custGeom>
            <a:grpFill/>
            <a:ln w="0" cap="flat">
              <a:noFill/>
              <a:prstDash val="solid"/>
              <a:miter/>
            </a:ln>
          </p:spPr>
          <p:txBody>
            <a:bodyPr rtlCol="0" anchor="ctr"/>
            <a:lstStyle/>
            <a:p>
              <a:endParaRPr lang="sv-SE"/>
            </a:p>
          </p:txBody>
        </p:sp>
        <p:sp>
          <p:nvSpPr>
            <p:cNvPr id="16" name="Frihandsfigur: Form 15">
              <a:extLst>
                <a:ext uri="{FF2B5EF4-FFF2-40B4-BE49-F238E27FC236}">
                  <a16:creationId xmlns:a16="http://schemas.microsoft.com/office/drawing/2014/main" id="{636260A8-A3F8-BCA8-098B-FE4C4172E13E}"/>
                </a:ext>
              </a:extLst>
            </p:cNvPr>
            <p:cNvSpPr/>
            <p:nvPr/>
          </p:nvSpPr>
          <p:spPr>
            <a:xfrm>
              <a:off x="9071251" y="1171358"/>
              <a:ext cx="436064" cy="216637"/>
            </a:xfrm>
            <a:custGeom>
              <a:avLst/>
              <a:gdLst>
                <a:gd name="connsiteX0" fmla="*/ 17181 w 436064"/>
                <a:gd name="connsiteY0" fmla="*/ 216637 h 216637"/>
                <a:gd name="connsiteX1" fmla="*/ 435747 w 436064"/>
                <a:gd name="connsiteY1" fmla="*/ 22190 h 216637"/>
                <a:gd name="connsiteX2" fmla="*/ 436064 w 436064"/>
                <a:gd name="connsiteY2" fmla="*/ 9383 h 216637"/>
                <a:gd name="connsiteX3" fmla="*/ 435811 w 436064"/>
                <a:gd name="connsiteY3" fmla="*/ 0 h 216637"/>
                <a:gd name="connsiteX4" fmla="*/ 0 w 436064"/>
                <a:gd name="connsiteY4" fmla="*/ 202436 h 216637"/>
                <a:gd name="connsiteX5" fmla="*/ 17118 w 436064"/>
                <a:gd name="connsiteY5" fmla="*/ 216637 h 21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064" h="216637">
                  <a:moveTo>
                    <a:pt x="17181" y="216637"/>
                  </a:moveTo>
                  <a:lnTo>
                    <a:pt x="435747" y="22190"/>
                  </a:lnTo>
                  <a:cubicBezTo>
                    <a:pt x="435938" y="17942"/>
                    <a:pt x="436064" y="13694"/>
                    <a:pt x="436064" y="9383"/>
                  </a:cubicBezTo>
                  <a:cubicBezTo>
                    <a:pt x="436064" y="6213"/>
                    <a:pt x="435938" y="3107"/>
                    <a:pt x="435811" y="0"/>
                  </a:cubicBezTo>
                  <a:lnTo>
                    <a:pt x="0" y="202436"/>
                  </a:lnTo>
                  <a:cubicBezTo>
                    <a:pt x="5516" y="207444"/>
                    <a:pt x="11222" y="212136"/>
                    <a:pt x="17118" y="216637"/>
                  </a:cubicBezTo>
                  <a:close/>
                </a:path>
              </a:pathLst>
            </a:custGeom>
            <a:grpFill/>
            <a:ln w="0" cap="flat">
              <a:noFill/>
              <a:prstDash val="solid"/>
              <a:miter/>
            </a:ln>
          </p:spPr>
          <p:txBody>
            <a:bodyPr rtlCol="0" anchor="ctr"/>
            <a:lstStyle/>
            <a:p>
              <a:endParaRPr lang="sv-SE"/>
            </a:p>
          </p:txBody>
        </p:sp>
        <p:sp>
          <p:nvSpPr>
            <p:cNvPr id="17" name="Frihandsfigur: Form 16">
              <a:extLst>
                <a:ext uri="{FF2B5EF4-FFF2-40B4-BE49-F238E27FC236}">
                  <a16:creationId xmlns:a16="http://schemas.microsoft.com/office/drawing/2014/main" id="{5669BE89-E3EA-BD58-8034-758ED7D21C6E}"/>
                </a:ext>
              </a:extLst>
            </p:cNvPr>
            <p:cNvSpPr/>
            <p:nvPr/>
          </p:nvSpPr>
          <p:spPr>
            <a:xfrm>
              <a:off x="9155256" y="1268550"/>
              <a:ext cx="336843" cy="165346"/>
            </a:xfrm>
            <a:custGeom>
              <a:avLst/>
              <a:gdLst>
                <a:gd name="connsiteX0" fmla="*/ 325115 w 336843"/>
                <a:gd name="connsiteY0" fmla="*/ 27642 h 165346"/>
                <a:gd name="connsiteX1" fmla="*/ 336844 w 336843"/>
                <a:gd name="connsiteY1" fmla="*/ 0 h 165346"/>
                <a:gd name="connsiteX2" fmla="*/ 0 w 336843"/>
                <a:gd name="connsiteY2" fmla="*/ 156471 h 165346"/>
                <a:gd name="connsiteX3" fmla="*/ 28720 w 336843"/>
                <a:gd name="connsiteY3" fmla="*/ 165347 h 165346"/>
                <a:gd name="connsiteX4" fmla="*/ 325115 w 336843"/>
                <a:gd name="connsiteY4" fmla="*/ 27642 h 165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843" h="165346">
                  <a:moveTo>
                    <a:pt x="325115" y="27642"/>
                  </a:moveTo>
                  <a:cubicBezTo>
                    <a:pt x="329553" y="18703"/>
                    <a:pt x="333483" y="9510"/>
                    <a:pt x="336844" y="0"/>
                  </a:cubicBezTo>
                  <a:lnTo>
                    <a:pt x="0" y="156471"/>
                  </a:lnTo>
                  <a:cubicBezTo>
                    <a:pt x="9320" y="159958"/>
                    <a:pt x="18893" y="162938"/>
                    <a:pt x="28720" y="165347"/>
                  </a:cubicBezTo>
                  <a:lnTo>
                    <a:pt x="325115" y="27642"/>
                  </a:lnTo>
                  <a:close/>
                </a:path>
              </a:pathLst>
            </a:custGeom>
            <a:grpFill/>
            <a:ln w="0" cap="flat">
              <a:noFill/>
              <a:prstDash val="solid"/>
              <a:miter/>
            </a:ln>
          </p:spPr>
          <p:txBody>
            <a:bodyPr rtlCol="0" anchor="ctr"/>
            <a:lstStyle/>
            <a:p>
              <a:endParaRPr lang="sv-SE"/>
            </a:p>
          </p:txBody>
        </p:sp>
        <p:sp>
          <p:nvSpPr>
            <p:cNvPr id="18" name="Frihandsfigur: Form 17">
              <a:extLst>
                <a:ext uri="{FF2B5EF4-FFF2-40B4-BE49-F238E27FC236}">
                  <a16:creationId xmlns:a16="http://schemas.microsoft.com/office/drawing/2014/main" id="{0284256D-A777-C3D9-09FD-C98CC036881B}"/>
                </a:ext>
              </a:extLst>
            </p:cNvPr>
            <p:cNvSpPr/>
            <p:nvPr/>
          </p:nvSpPr>
          <p:spPr>
            <a:xfrm>
              <a:off x="8990670" y="1144857"/>
              <a:ext cx="232550" cy="105814"/>
            </a:xfrm>
            <a:custGeom>
              <a:avLst/>
              <a:gdLst>
                <a:gd name="connsiteX0" fmla="*/ 184811 w 232550"/>
                <a:gd name="connsiteY0" fmla="*/ 0 h 105814"/>
                <a:gd name="connsiteX1" fmla="*/ 0 w 232550"/>
                <a:gd name="connsiteY1" fmla="*/ 85843 h 105814"/>
                <a:gd name="connsiteX2" fmla="*/ 4755 w 232550"/>
                <a:gd name="connsiteY2" fmla="*/ 105814 h 105814"/>
                <a:gd name="connsiteX3" fmla="*/ 232551 w 232550"/>
                <a:gd name="connsiteY3" fmla="*/ 0 h 105814"/>
                <a:gd name="connsiteX4" fmla="*/ 184811 w 232550"/>
                <a:gd name="connsiteY4" fmla="*/ 0 h 10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550" h="105814">
                  <a:moveTo>
                    <a:pt x="184811" y="0"/>
                  </a:moveTo>
                  <a:lnTo>
                    <a:pt x="0" y="85843"/>
                  </a:lnTo>
                  <a:cubicBezTo>
                    <a:pt x="1331" y="92627"/>
                    <a:pt x="2916" y="99284"/>
                    <a:pt x="4755" y="105814"/>
                  </a:cubicBezTo>
                  <a:lnTo>
                    <a:pt x="232551" y="0"/>
                  </a:lnTo>
                  <a:lnTo>
                    <a:pt x="184811" y="0"/>
                  </a:lnTo>
                  <a:close/>
                </a:path>
              </a:pathLst>
            </a:custGeom>
            <a:grpFill/>
            <a:ln w="0" cap="flat">
              <a:noFill/>
              <a:prstDash val="solid"/>
              <a:miter/>
            </a:ln>
          </p:spPr>
          <p:txBody>
            <a:bodyPr rtlCol="0" anchor="ctr"/>
            <a:lstStyle/>
            <a:p>
              <a:endParaRPr lang="sv-SE"/>
            </a:p>
          </p:txBody>
        </p:sp>
        <p:sp>
          <p:nvSpPr>
            <p:cNvPr id="19" name="Frihandsfigur: Form 18">
              <a:extLst>
                <a:ext uri="{FF2B5EF4-FFF2-40B4-BE49-F238E27FC236}">
                  <a16:creationId xmlns:a16="http://schemas.microsoft.com/office/drawing/2014/main" id="{A8D1ED86-EA3F-3877-36BA-521EC80910CD}"/>
                </a:ext>
              </a:extLst>
            </p:cNvPr>
            <p:cNvSpPr/>
            <p:nvPr/>
          </p:nvSpPr>
          <p:spPr>
            <a:xfrm>
              <a:off x="9018883" y="1144857"/>
              <a:ext cx="398721" cy="180309"/>
            </a:xfrm>
            <a:custGeom>
              <a:avLst/>
              <a:gdLst>
                <a:gd name="connsiteX0" fmla="*/ 350918 w 398721"/>
                <a:gd name="connsiteY0" fmla="*/ 0 h 180309"/>
                <a:gd name="connsiteX1" fmla="*/ 0 w 398721"/>
                <a:gd name="connsiteY1" fmla="*/ 163001 h 180309"/>
                <a:gd name="connsiteX2" fmla="*/ 10524 w 398721"/>
                <a:gd name="connsiteY2" fmla="*/ 180309 h 180309"/>
                <a:gd name="connsiteX3" fmla="*/ 398722 w 398721"/>
                <a:gd name="connsiteY3" fmla="*/ 0 h 180309"/>
                <a:gd name="connsiteX4" fmla="*/ 350982 w 398721"/>
                <a:gd name="connsiteY4" fmla="*/ 0 h 18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721" h="180309">
                  <a:moveTo>
                    <a:pt x="350918" y="0"/>
                  </a:moveTo>
                  <a:lnTo>
                    <a:pt x="0" y="163001"/>
                  </a:lnTo>
                  <a:cubicBezTo>
                    <a:pt x="3297" y="168897"/>
                    <a:pt x="6784" y="174667"/>
                    <a:pt x="10524" y="180309"/>
                  </a:cubicBezTo>
                  <a:lnTo>
                    <a:pt x="398722" y="0"/>
                  </a:lnTo>
                  <a:lnTo>
                    <a:pt x="350982" y="0"/>
                  </a:lnTo>
                  <a:close/>
                </a:path>
              </a:pathLst>
            </a:custGeom>
            <a:grpFill/>
            <a:ln w="0" cap="flat">
              <a:noFill/>
              <a:prstDash val="solid"/>
              <a:miter/>
            </a:ln>
          </p:spPr>
          <p:txBody>
            <a:bodyPr rtlCol="0" anchor="ctr"/>
            <a:lstStyle/>
            <a:p>
              <a:endParaRPr lang="sv-SE"/>
            </a:p>
          </p:txBody>
        </p:sp>
        <p:sp>
          <p:nvSpPr>
            <p:cNvPr id="20" name="Frihandsfigur: Form 19">
              <a:extLst>
                <a:ext uri="{FF2B5EF4-FFF2-40B4-BE49-F238E27FC236}">
                  <a16:creationId xmlns:a16="http://schemas.microsoft.com/office/drawing/2014/main" id="{634572AE-9C55-AA4D-7CD4-F8FF917A90D0}"/>
                </a:ext>
              </a:extLst>
            </p:cNvPr>
            <p:cNvSpPr/>
            <p:nvPr/>
          </p:nvSpPr>
          <p:spPr>
            <a:xfrm>
              <a:off x="8986359" y="1144857"/>
              <a:ext cx="42541" cy="19780"/>
            </a:xfrm>
            <a:custGeom>
              <a:avLst/>
              <a:gdLst>
                <a:gd name="connsiteX0" fmla="*/ 1965 w 42541"/>
                <a:gd name="connsiteY0" fmla="*/ 0 h 19780"/>
                <a:gd name="connsiteX1" fmla="*/ 0 w 42541"/>
                <a:gd name="connsiteY1" fmla="*/ 19781 h 19780"/>
                <a:gd name="connsiteX2" fmla="*/ 42541 w 42541"/>
                <a:gd name="connsiteY2" fmla="*/ 0 h 19780"/>
                <a:gd name="connsiteX3" fmla="*/ 1965 w 42541"/>
                <a:gd name="connsiteY3" fmla="*/ 0 h 19780"/>
              </a:gdLst>
              <a:ahLst/>
              <a:cxnLst>
                <a:cxn ang="0">
                  <a:pos x="connsiteX0" y="connsiteY0"/>
                </a:cxn>
                <a:cxn ang="0">
                  <a:pos x="connsiteX1" y="connsiteY1"/>
                </a:cxn>
                <a:cxn ang="0">
                  <a:pos x="connsiteX2" y="connsiteY2"/>
                </a:cxn>
                <a:cxn ang="0">
                  <a:pos x="connsiteX3" y="connsiteY3"/>
                </a:cxn>
              </a:cxnLst>
              <a:rect l="l" t="t" r="r" b="b"/>
              <a:pathLst>
                <a:path w="42541" h="19780">
                  <a:moveTo>
                    <a:pt x="1965" y="0"/>
                  </a:moveTo>
                  <a:cubicBezTo>
                    <a:pt x="1078" y="6530"/>
                    <a:pt x="380" y="13124"/>
                    <a:pt x="0" y="19781"/>
                  </a:cubicBezTo>
                  <a:lnTo>
                    <a:pt x="42541" y="0"/>
                  </a:lnTo>
                  <a:lnTo>
                    <a:pt x="1965" y="0"/>
                  </a:lnTo>
                  <a:close/>
                </a:path>
              </a:pathLst>
            </a:custGeom>
            <a:grpFill/>
            <a:ln w="0" cap="flat">
              <a:noFill/>
              <a:prstDash val="solid"/>
              <a:miter/>
            </a:ln>
          </p:spPr>
          <p:txBody>
            <a:bodyPr rtlCol="0" anchor="ctr"/>
            <a:lstStyle/>
            <a:p>
              <a:endParaRPr lang="sv-SE"/>
            </a:p>
          </p:txBody>
        </p:sp>
        <p:sp>
          <p:nvSpPr>
            <p:cNvPr id="21" name="Frihandsfigur: Form 20">
              <a:extLst>
                <a:ext uri="{FF2B5EF4-FFF2-40B4-BE49-F238E27FC236}">
                  <a16:creationId xmlns:a16="http://schemas.microsoft.com/office/drawing/2014/main" id="{213BC982-3BFF-DB5C-9263-92F3D85B3853}"/>
                </a:ext>
              </a:extLst>
            </p:cNvPr>
            <p:cNvSpPr/>
            <p:nvPr/>
          </p:nvSpPr>
          <p:spPr>
            <a:xfrm>
              <a:off x="9608312" y="1144857"/>
              <a:ext cx="521527" cy="296648"/>
            </a:xfrm>
            <a:custGeom>
              <a:avLst/>
              <a:gdLst>
                <a:gd name="connsiteX0" fmla="*/ 2536 w 521527"/>
                <a:gd name="connsiteY0" fmla="*/ 0 h 296648"/>
                <a:gd name="connsiteX1" fmla="*/ 0 w 521527"/>
                <a:gd name="connsiteY1" fmla="*/ 35884 h 296648"/>
                <a:gd name="connsiteX2" fmla="*/ 260764 w 521527"/>
                <a:gd name="connsiteY2" fmla="*/ 296648 h 296648"/>
                <a:gd name="connsiteX3" fmla="*/ 521527 w 521527"/>
                <a:gd name="connsiteY3" fmla="*/ 35884 h 296648"/>
                <a:gd name="connsiteX4" fmla="*/ 518992 w 521527"/>
                <a:gd name="connsiteY4" fmla="*/ 0 h 296648"/>
                <a:gd name="connsiteX5" fmla="*/ 2536 w 521527"/>
                <a:gd name="connsiteY5" fmla="*/ 0 h 2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527" h="296648">
                  <a:moveTo>
                    <a:pt x="2536" y="0"/>
                  </a:moveTo>
                  <a:cubicBezTo>
                    <a:pt x="888" y="11729"/>
                    <a:pt x="0" y="23712"/>
                    <a:pt x="0" y="35884"/>
                  </a:cubicBezTo>
                  <a:cubicBezTo>
                    <a:pt x="0" y="179929"/>
                    <a:pt x="116719" y="296648"/>
                    <a:pt x="260764" y="296648"/>
                  </a:cubicBezTo>
                  <a:cubicBezTo>
                    <a:pt x="404808" y="296648"/>
                    <a:pt x="521527" y="179929"/>
                    <a:pt x="521527" y="35884"/>
                  </a:cubicBezTo>
                  <a:cubicBezTo>
                    <a:pt x="521527" y="23712"/>
                    <a:pt x="520640" y="11729"/>
                    <a:pt x="518992" y="0"/>
                  </a:cubicBezTo>
                  <a:lnTo>
                    <a:pt x="2536" y="0"/>
                  </a:lnTo>
                  <a:close/>
                </a:path>
              </a:pathLst>
            </a:custGeom>
            <a:grpFill/>
            <a:ln w="0" cap="flat">
              <a:noFill/>
              <a:prstDash val="solid"/>
              <a:miter/>
            </a:ln>
          </p:spPr>
          <p:txBody>
            <a:bodyPr rtlCol="0" anchor="ctr"/>
            <a:lstStyle/>
            <a:p>
              <a:endParaRPr lang="sv-SE"/>
            </a:p>
          </p:txBody>
        </p:sp>
        <p:sp>
          <p:nvSpPr>
            <p:cNvPr id="22" name="Frihandsfigur: Form 21">
              <a:extLst>
                <a:ext uri="{FF2B5EF4-FFF2-40B4-BE49-F238E27FC236}">
                  <a16:creationId xmlns:a16="http://schemas.microsoft.com/office/drawing/2014/main" id="{AB2AF62E-CCCF-1F56-6884-158B17959632}"/>
                </a:ext>
              </a:extLst>
            </p:cNvPr>
            <p:cNvSpPr/>
            <p:nvPr/>
          </p:nvSpPr>
          <p:spPr>
            <a:xfrm>
              <a:off x="10218282" y="1144857"/>
              <a:ext cx="541688" cy="306728"/>
            </a:xfrm>
            <a:custGeom>
              <a:avLst/>
              <a:gdLst>
                <a:gd name="connsiteX0" fmla="*/ 518928 w 541688"/>
                <a:gd name="connsiteY0" fmla="*/ 0 h 306728"/>
                <a:gd name="connsiteX1" fmla="*/ 521527 w 541688"/>
                <a:gd name="connsiteY1" fmla="*/ 35884 h 306728"/>
                <a:gd name="connsiteX2" fmla="*/ 270844 w 541688"/>
                <a:gd name="connsiteY2" fmla="*/ 286567 h 306728"/>
                <a:gd name="connsiteX3" fmla="*/ 20161 w 541688"/>
                <a:gd name="connsiteY3" fmla="*/ 35884 h 306728"/>
                <a:gd name="connsiteX4" fmla="*/ 22761 w 541688"/>
                <a:gd name="connsiteY4" fmla="*/ 0 h 306728"/>
                <a:gd name="connsiteX5" fmla="*/ 2472 w 541688"/>
                <a:gd name="connsiteY5" fmla="*/ 0 h 306728"/>
                <a:gd name="connsiteX6" fmla="*/ 0 w 541688"/>
                <a:gd name="connsiteY6" fmla="*/ 35884 h 306728"/>
                <a:gd name="connsiteX7" fmla="*/ 270844 w 541688"/>
                <a:gd name="connsiteY7" fmla="*/ 306729 h 306728"/>
                <a:gd name="connsiteX8" fmla="*/ 541689 w 541688"/>
                <a:gd name="connsiteY8" fmla="*/ 35884 h 306728"/>
                <a:gd name="connsiteX9" fmla="*/ 539216 w 541688"/>
                <a:gd name="connsiteY9" fmla="*/ 0 h 306728"/>
                <a:gd name="connsiteX10" fmla="*/ 518928 w 541688"/>
                <a:gd name="connsiteY10" fmla="*/ 0 h 30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688" h="306728">
                  <a:moveTo>
                    <a:pt x="518928" y="0"/>
                  </a:moveTo>
                  <a:cubicBezTo>
                    <a:pt x="520640" y="11729"/>
                    <a:pt x="521527" y="23712"/>
                    <a:pt x="521527" y="35884"/>
                  </a:cubicBezTo>
                  <a:cubicBezTo>
                    <a:pt x="521527" y="174096"/>
                    <a:pt x="409056" y="286567"/>
                    <a:pt x="270844" y="286567"/>
                  </a:cubicBezTo>
                  <a:cubicBezTo>
                    <a:pt x="132632" y="286567"/>
                    <a:pt x="20161" y="174096"/>
                    <a:pt x="20161" y="35884"/>
                  </a:cubicBezTo>
                  <a:cubicBezTo>
                    <a:pt x="20161" y="23712"/>
                    <a:pt x="21112" y="11729"/>
                    <a:pt x="22761" y="0"/>
                  </a:cubicBezTo>
                  <a:lnTo>
                    <a:pt x="2472" y="0"/>
                  </a:lnTo>
                  <a:cubicBezTo>
                    <a:pt x="887" y="11729"/>
                    <a:pt x="0" y="23712"/>
                    <a:pt x="0" y="35884"/>
                  </a:cubicBezTo>
                  <a:cubicBezTo>
                    <a:pt x="0" y="185191"/>
                    <a:pt x="121474" y="306729"/>
                    <a:pt x="270844" y="306729"/>
                  </a:cubicBezTo>
                  <a:cubicBezTo>
                    <a:pt x="420214" y="306729"/>
                    <a:pt x="541689" y="185254"/>
                    <a:pt x="541689" y="35884"/>
                  </a:cubicBezTo>
                  <a:cubicBezTo>
                    <a:pt x="541689" y="23712"/>
                    <a:pt x="540801" y="11729"/>
                    <a:pt x="539216" y="0"/>
                  </a:cubicBezTo>
                  <a:lnTo>
                    <a:pt x="518928" y="0"/>
                  </a:lnTo>
                  <a:close/>
                </a:path>
              </a:pathLst>
            </a:custGeom>
            <a:grpFill/>
            <a:ln w="0" cap="flat">
              <a:noFill/>
              <a:prstDash val="solid"/>
              <a:miter/>
            </a:ln>
          </p:spPr>
          <p:txBody>
            <a:bodyPr rtlCol="0" anchor="ctr"/>
            <a:lstStyle/>
            <a:p>
              <a:endParaRPr lang="sv-SE"/>
            </a:p>
          </p:txBody>
        </p:sp>
        <p:sp>
          <p:nvSpPr>
            <p:cNvPr id="23" name="Frihandsfigur: Form 22">
              <a:extLst>
                <a:ext uri="{FF2B5EF4-FFF2-40B4-BE49-F238E27FC236}">
                  <a16:creationId xmlns:a16="http://schemas.microsoft.com/office/drawing/2014/main" id="{3D2E46AB-C771-3197-80C8-A23DE7E2A231}"/>
                </a:ext>
              </a:extLst>
            </p:cNvPr>
            <p:cNvSpPr/>
            <p:nvPr/>
          </p:nvSpPr>
          <p:spPr>
            <a:xfrm>
              <a:off x="10848287" y="1144857"/>
              <a:ext cx="930900" cy="296648"/>
            </a:xfrm>
            <a:custGeom>
              <a:avLst/>
              <a:gdLst>
                <a:gd name="connsiteX0" fmla="*/ 930901 w 930900"/>
                <a:gd name="connsiteY0" fmla="*/ 0 h 296648"/>
                <a:gd name="connsiteX1" fmla="*/ 2536 w 930900"/>
                <a:gd name="connsiteY1" fmla="*/ 0 h 296648"/>
                <a:gd name="connsiteX2" fmla="*/ 0 w 930900"/>
                <a:gd name="connsiteY2" fmla="*/ 35884 h 296648"/>
                <a:gd name="connsiteX3" fmla="*/ 260764 w 930900"/>
                <a:gd name="connsiteY3" fmla="*/ 296648 h 296648"/>
                <a:gd name="connsiteX4" fmla="*/ 484312 w 930900"/>
                <a:gd name="connsiteY4" fmla="*/ 170229 h 296648"/>
                <a:gd name="connsiteX5" fmla="*/ 568443 w 930900"/>
                <a:gd name="connsiteY5" fmla="*/ 123059 h 296648"/>
                <a:gd name="connsiteX6" fmla="*/ 573135 w 930900"/>
                <a:gd name="connsiteY6" fmla="*/ 123059 h 296648"/>
                <a:gd name="connsiteX7" fmla="*/ 657267 w 930900"/>
                <a:gd name="connsiteY7" fmla="*/ 170229 h 296648"/>
                <a:gd name="connsiteX8" fmla="*/ 880815 w 930900"/>
                <a:gd name="connsiteY8" fmla="*/ 296648 h 296648"/>
                <a:gd name="connsiteX9" fmla="*/ 930901 w 930900"/>
                <a:gd name="connsiteY9" fmla="*/ 291766 h 296648"/>
                <a:gd name="connsiteX10" fmla="*/ 930901 w 930900"/>
                <a:gd name="connsiteY10" fmla="*/ 0 h 2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0900" h="296648">
                  <a:moveTo>
                    <a:pt x="930901" y="0"/>
                  </a:moveTo>
                  <a:lnTo>
                    <a:pt x="2536" y="0"/>
                  </a:lnTo>
                  <a:cubicBezTo>
                    <a:pt x="951" y="11729"/>
                    <a:pt x="0" y="23712"/>
                    <a:pt x="0" y="35884"/>
                  </a:cubicBezTo>
                  <a:cubicBezTo>
                    <a:pt x="0" y="179929"/>
                    <a:pt x="116719" y="296648"/>
                    <a:pt x="260764" y="296648"/>
                  </a:cubicBezTo>
                  <a:cubicBezTo>
                    <a:pt x="355673" y="296648"/>
                    <a:pt x="438664" y="245992"/>
                    <a:pt x="484312" y="170229"/>
                  </a:cubicBezTo>
                  <a:cubicBezTo>
                    <a:pt x="502000" y="140811"/>
                    <a:pt x="534081" y="123059"/>
                    <a:pt x="568443" y="123059"/>
                  </a:cubicBezTo>
                  <a:lnTo>
                    <a:pt x="573135" y="123059"/>
                  </a:lnTo>
                  <a:cubicBezTo>
                    <a:pt x="607498" y="123059"/>
                    <a:pt x="639578" y="140811"/>
                    <a:pt x="657267" y="170229"/>
                  </a:cubicBezTo>
                  <a:cubicBezTo>
                    <a:pt x="702915" y="245992"/>
                    <a:pt x="785905" y="296648"/>
                    <a:pt x="880815" y="296648"/>
                  </a:cubicBezTo>
                  <a:cubicBezTo>
                    <a:pt x="897932" y="296648"/>
                    <a:pt x="914670" y="294936"/>
                    <a:pt x="930901" y="291766"/>
                  </a:cubicBezTo>
                  <a:lnTo>
                    <a:pt x="930901" y="0"/>
                  </a:lnTo>
                  <a:close/>
                </a:path>
              </a:pathLst>
            </a:custGeom>
            <a:grpFill/>
            <a:ln w="0" cap="flat">
              <a:noFill/>
              <a:prstDash val="solid"/>
              <a:miter/>
            </a:ln>
          </p:spPr>
          <p:txBody>
            <a:bodyPr rtlCol="0" anchor="ctr"/>
            <a:lstStyle/>
            <a:p>
              <a:endParaRPr lang="sv-SE"/>
            </a:p>
          </p:txBody>
        </p:sp>
        <p:sp>
          <p:nvSpPr>
            <p:cNvPr id="24" name="Frihandsfigur: Form 23">
              <a:extLst>
                <a:ext uri="{FF2B5EF4-FFF2-40B4-BE49-F238E27FC236}">
                  <a16:creationId xmlns:a16="http://schemas.microsoft.com/office/drawing/2014/main" id="{6B727E84-99E8-8EF1-FA3F-6F041F7A519E}"/>
                </a:ext>
              </a:extLst>
            </p:cNvPr>
            <p:cNvSpPr/>
            <p:nvPr/>
          </p:nvSpPr>
          <p:spPr>
            <a:xfrm>
              <a:off x="11486216" y="1546812"/>
              <a:ext cx="292970" cy="158246"/>
            </a:xfrm>
            <a:custGeom>
              <a:avLst/>
              <a:gdLst>
                <a:gd name="connsiteX0" fmla="*/ 292971 w 292970"/>
                <a:gd name="connsiteY0" fmla="*/ 0 h 158246"/>
                <a:gd name="connsiteX1" fmla="*/ 12997 w 292970"/>
                <a:gd name="connsiteY1" fmla="*/ 130033 h 158246"/>
                <a:gd name="connsiteX2" fmla="*/ 0 w 292970"/>
                <a:gd name="connsiteY2" fmla="*/ 158246 h 158246"/>
                <a:gd name="connsiteX3" fmla="*/ 292907 w 292970"/>
                <a:gd name="connsiteY3" fmla="*/ 22190 h 158246"/>
                <a:gd name="connsiteX4" fmla="*/ 292907 w 292970"/>
                <a:gd name="connsiteY4" fmla="*/ 0 h 15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970" h="158246">
                  <a:moveTo>
                    <a:pt x="292971" y="0"/>
                  </a:moveTo>
                  <a:lnTo>
                    <a:pt x="12997" y="130033"/>
                  </a:lnTo>
                  <a:cubicBezTo>
                    <a:pt x="8115" y="139099"/>
                    <a:pt x="3804" y="148546"/>
                    <a:pt x="0" y="158246"/>
                  </a:cubicBezTo>
                  <a:lnTo>
                    <a:pt x="292907" y="22190"/>
                  </a:lnTo>
                  <a:lnTo>
                    <a:pt x="292907" y="0"/>
                  </a:lnTo>
                  <a:close/>
                </a:path>
              </a:pathLst>
            </a:custGeom>
            <a:grpFill/>
            <a:ln w="0" cap="flat">
              <a:noFill/>
              <a:prstDash val="solid"/>
              <a:miter/>
            </a:ln>
          </p:spPr>
          <p:txBody>
            <a:bodyPr rtlCol="0" anchor="ctr"/>
            <a:lstStyle/>
            <a:p>
              <a:endParaRPr lang="sv-SE"/>
            </a:p>
          </p:txBody>
        </p:sp>
        <p:sp>
          <p:nvSpPr>
            <p:cNvPr id="25" name="Frihandsfigur: Form 24">
              <a:extLst>
                <a:ext uri="{FF2B5EF4-FFF2-40B4-BE49-F238E27FC236}">
                  <a16:creationId xmlns:a16="http://schemas.microsoft.com/office/drawing/2014/main" id="{FDAC7993-7419-DC72-40FC-BA932B84556E}"/>
                </a:ext>
              </a:extLst>
            </p:cNvPr>
            <p:cNvSpPr/>
            <p:nvPr/>
          </p:nvSpPr>
          <p:spPr>
            <a:xfrm>
              <a:off x="11468337" y="1637030"/>
              <a:ext cx="310849" cy="166551"/>
            </a:xfrm>
            <a:custGeom>
              <a:avLst/>
              <a:gdLst>
                <a:gd name="connsiteX0" fmla="*/ 310850 w 310849"/>
                <a:gd name="connsiteY0" fmla="*/ 63 h 166551"/>
                <a:gd name="connsiteX1" fmla="*/ 761 w 310849"/>
                <a:gd name="connsiteY1" fmla="*/ 144108 h 166551"/>
                <a:gd name="connsiteX2" fmla="*/ 0 w 310849"/>
                <a:gd name="connsiteY2" fmla="*/ 163001 h 166551"/>
                <a:gd name="connsiteX3" fmla="*/ 0 w 310849"/>
                <a:gd name="connsiteY3" fmla="*/ 166552 h 166551"/>
                <a:gd name="connsiteX4" fmla="*/ 310786 w 310849"/>
                <a:gd name="connsiteY4" fmla="*/ 22190 h 166551"/>
                <a:gd name="connsiteX5" fmla="*/ 310786 w 310849"/>
                <a:gd name="connsiteY5" fmla="*/ 0 h 16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49" h="166551">
                  <a:moveTo>
                    <a:pt x="310850" y="63"/>
                  </a:moveTo>
                  <a:lnTo>
                    <a:pt x="761" y="144108"/>
                  </a:lnTo>
                  <a:cubicBezTo>
                    <a:pt x="317" y="150385"/>
                    <a:pt x="0" y="156661"/>
                    <a:pt x="0" y="163001"/>
                  </a:cubicBezTo>
                  <a:cubicBezTo>
                    <a:pt x="0" y="164206"/>
                    <a:pt x="0" y="165410"/>
                    <a:pt x="0" y="166552"/>
                  </a:cubicBezTo>
                  <a:lnTo>
                    <a:pt x="310786" y="22190"/>
                  </a:lnTo>
                  <a:lnTo>
                    <a:pt x="310786" y="0"/>
                  </a:lnTo>
                  <a:close/>
                </a:path>
              </a:pathLst>
            </a:custGeom>
            <a:grpFill/>
            <a:ln w="0" cap="flat">
              <a:noFill/>
              <a:prstDash val="solid"/>
              <a:miter/>
            </a:ln>
          </p:spPr>
          <p:txBody>
            <a:bodyPr rtlCol="0" anchor="ctr"/>
            <a:lstStyle/>
            <a:p>
              <a:endParaRPr lang="sv-SE"/>
            </a:p>
          </p:txBody>
        </p:sp>
        <p:sp>
          <p:nvSpPr>
            <p:cNvPr id="26" name="Frihandsfigur: Form 25">
              <a:extLst>
                <a:ext uri="{FF2B5EF4-FFF2-40B4-BE49-F238E27FC236}">
                  <a16:creationId xmlns:a16="http://schemas.microsoft.com/office/drawing/2014/main" id="{3F8E42F8-7E3A-99DC-9AAE-60267169EA5B}"/>
                </a:ext>
              </a:extLst>
            </p:cNvPr>
            <p:cNvSpPr/>
            <p:nvPr/>
          </p:nvSpPr>
          <p:spPr>
            <a:xfrm>
              <a:off x="11477150" y="1727375"/>
              <a:ext cx="302036" cy="159704"/>
            </a:xfrm>
            <a:custGeom>
              <a:avLst/>
              <a:gdLst>
                <a:gd name="connsiteX0" fmla="*/ 302037 w 302036"/>
                <a:gd name="connsiteY0" fmla="*/ 0 h 159704"/>
                <a:gd name="connsiteX1" fmla="*/ 0 w 302036"/>
                <a:gd name="connsiteY1" fmla="*/ 140304 h 159704"/>
                <a:gd name="connsiteX2" fmla="*/ 6023 w 302036"/>
                <a:gd name="connsiteY2" fmla="*/ 159704 h 159704"/>
                <a:gd name="connsiteX3" fmla="*/ 301974 w 302036"/>
                <a:gd name="connsiteY3" fmla="*/ 22253 h 159704"/>
                <a:gd name="connsiteX4" fmla="*/ 301974 w 302036"/>
                <a:gd name="connsiteY4" fmla="*/ 63 h 159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036" h="159704">
                  <a:moveTo>
                    <a:pt x="302037" y="0"/>
                  </a:moveTo>
                  <a:lnTo>
                    <a:pt x="0" y="140304"/>
                  </a:lnTo>
                  <a:cubicBezTo>
                    <a:pt x="1775" y="146898"/>
                    <a:pt x="3804" y="153301"/>
                    <a:pt x="6023" y="159704"/>
                  </a:cubicBezTo>
                  <a:lnTo>
                    <a:pt x="301974" y="22253"/>
                  </a:lnTo>
                  <a:lnTo>
                    <a:pt x="301974" y="63"/>
                  </a:lnTo>
                  <a:close/>
                </a:path>
              </a:pathLst>
            </a:custGeom>
            <a:grpFill/>
            <a:ln w="0" cap="flat">
              <a:noFill/>
              <a:prstDash val="solid"/>
              <a:miter/>
            </a:ln>
          </p:spPr>
          <p:txBody>
            <a:bodyPr rtlCol="0" anchor="ctr"/>
            <a:lstStyle/>
            <a:p>
              <a:endParaRPr lang="sv-SE"/>
            </a:p>
          </p:txBody>
        </p:sp>
        <p:sp>
          <p:nvSpPr>
            <p:cNvPr id="27" name="Frihandsfigur: Form 26">
              <a:extLst>
                <a:ext uri="{FF2B5EF4-FFF2-40B4-BE49-F238E27FC236}">
                  <a16:creationId xmlns:a16="http://schemas.microsoft.com/office/drawing/2014/main" id="{185F2F20-8582-C208-FE60-FC780E5E66D5}"/>
                </a:ext>
              </a:extLst>
            </p:cNvPr>
            <p:cNvSpPr/>
            <p:nvPr/>
          </p:nvSpPr>
          <p:spPr>
            <a:xfrm>
              <a:off x="11510562" y="1817593"/>
              <a:ext cx="268625" cy="141445"/>
            </a:xfrm>
            <a:custGeom>
              <a:avLst/>
              <a:gdLst>
                <a:gd name="connsiteX0" fmla="*/ 268625 w 268625"/>
                <a:gd name="connsiteY0" fmla="*/ 0 h 141445"/>
                <a:gd name="connsiteX1" fmla="*/ 0 w 268625"/>
                <a:gd name="connsiteY1" fmla="*/ 124771 h 141445"/>
                <a:gd name="connsiteX2" fmla="*/ 11856 w 268625"/>
                <a:gd name="connsiteY2" fmla="*/ 141445 h 141445"/>
                <a:gd name="connsiteX3" fmla="*/ 268625 w 268625"/>
                <a:gd name="connsiteY3" fmla="*/ 22190 h 141445"/>
                <a:gd name="connsiteX4" fmla="*/ 268625 w 268625"/>
                <a:gd name="connsiteY4" fmla="*/ 0 h 141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5" h="141445">
                  <a:moveTo>
                    <a:pt x="268625" y="0"/>
                  </a:moveTo>
                  <a:lnTo>
                    <a:pt x="0" y="124771"/>
                  </a:lnTo>
                  <a:cubicBezTo>
                    <a:pt x="3741" y="130477"/>
                    <a:pt x="7671" y="136056"/>
                    <a:pt x="11856" y="141445"/>
                  </a:cubicBezTo>
                  <a:lnTo>
                    <a:pt x="268625" y="22190"/>
                  </a:lnTo>
                  <a:lnTo>
                    <a:pt x="268625" y="0"/>
                  </a:lnTo>
                  <a:close/>
                </a:path>
              </a:pathLst>
            </a:custGeom>
            <a:grpFill/>
            <a:ln w="0" cap="flat">
              <a:noFill/>
              <a:prstDash val="solid"/>
              <a:miter/>
            </a:ln>
          </p:spPr>
          <p:txBody>
            <a:bodyPr rtlCol="0" anchor="ctr"/>
            <a:lstStyle/>
            <a:p>
              <a:endParaRPr lang="sv-SE"/>
            </a:p>
          </p:txBody>
        </p:sp>
        <p:sp>
          <p:nvSpPr>
            <p:cNvPr id="28" name="Frihandsfigur: Form 27">
              <a:extLst>
                <a:ext uri="{FF2B5EF4-FFF2-40B4-BE49-F238E27FC236}">
                  <a16:creationId xmlns:a16="http://schemas.microsoft.com/office/drawing/2014/main" id="{6A611E82-F9D7-37E5-C679-5C6662A4FC6A}"/>
                </a:ext>
              </a:extLst>
            </p:cNvPr>
            <p:cNvSpPr/>
            <p:nvPr/>
          </p:nvSpPr>
          <p:spPr>
            <a:xfrm>
              <a:off x="11568763" y="1907874"/>
              <a:ext cx="210424" cy="111203"/>
            </a:xfrm>
            <a:custGeom>
              <a:avLst/>
              <a:gdLst>
                <a:gd name="connsiteX0" fmla="*/ 210424 w 210424"/>
                <a:gd name="connsiteY0" fmla="*/ 0 h 111203"/>
                <a:gd name="connsiteX1" fmla="*/ 0 w 210424"/>
                <a:gd name="connsiteY1" fmla="*/ 97763 h 111203"/>
                <a:gd name="connsiteX2" fmla="*/ 18830 w 210424"/>
                <a:gd name="connsiteY2" fmla="*/ 111203 h 111203"/>
                <a:gd name="connsiteX3" fmla="*/ 210424 w 210424"/>
                <a:gd name="connsiteY3" fmla="*/ 22190 h 111203"/>
                <a:gd name="connsiteX4" fmla="*/ 210424 w 210424"/>
                <a:gd name="connsiteY4" fmla="*/ 0 h 111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24" h="111203">
                  <a:moveTo>
                    <a:pt x="210424" y="0"/>
                  </a:moveTo>
                  <a:lnTo>
                    <a:pt x="0" y="97763"/>
                  </a:lnTo>
                  <a:cubicBezTo>
                    <a:pt x="6087" y="102518"/>
                    <a:pt x="12363" y="107019"/>
                    <a:pt x="18830" y="111203"/>
                  </a:cubicBezTo>
                  <a:lnTo>
                    <a:pt x="210424" y="22190"/>
                  </a:lnTo>
                  <a:lnTo>
                    <a:pt x="210424" y="0"/>
                  </a:lnTo>
                  <a:close/>
                </a:path>
              </a:pathLst>
            </a:custGeom>
            <a:grpFill/>
            <a:ln w="0" cap="flat">
              <a:noFill/>
              <a:prstDash val="solid"/>
              <a:miter/>
            </a:ln>
          </p:spPr>
          <p:txBody>
            <a:bodyPr rtlCol="0" anchor="ctr"/>
            <a:lstStyle/>
            <a:p>
              <a:endParaRPr lang="sv-SE"/>
            </a:p>
          </p:txBody>
        </p:sp>
        <p:sp>
          <p:nvSpPr>
            <p:cNvPr id="29" name="Frihandsfigur: Form 28">
              <a:extLst>
                <a:ext uri="{FF2B5EF4-FFF2-40B4-BE49-F238E27FC236}">
                  <a16:creationId xmlns:a16="http://schemas.microsoft.com/office/drawing/2014/main" id="{76F3C74E-0AEB-433B-BE20-E0C0EE2774E2}"/>
                </a:ext>
              </a:extLst>
            </p:cNvPr>
            <p:cNvSpPr/>
            <p:nvPr/>
          </p:nvSpPr>
          <p:spPr>
            <a:xfrm>
              <a:off x="11632226" y="1998155"/>
              <a:ext cx="146960" cy="87365"/>
            </a:xfrm>
            <a:custGeom>
              <a:avLst/>
              <a:gdLst>
                <a:gd name="connsiteX0" fmla="*/ 146961 w 146960"/>
                <a:gd name="connsiteY0" fmla="*/ 0 h 87365"/>
                <a:gd name="connsiteX1" fmla="*/ 0 w 146960"/>
                <a:gd name="connsiteY1" fmla="*/ 68282 h 87365"/>
                <a:gd name="connsiteX2" fmla="*/ 6720 w 146960"/>
                <a:gd name="connsiteY2" fmla="*/ 87365 h 87365"/>
                <a:gd name="connsiteX3" fmla="*/ 146961 w 146960"/>
                <a:gd name="connsiteY3" fmla="*/ 22190 h 87365"/>
                <a:gd name="connsiteX4" fmla="*/ 146961 w 146960"/>
                <a:gd name="connsiteY4" fmla="*/ 0 h 87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60" h="87365">
                  <a:moveTo>
                    <a:pt x="146961" y="0"/>
                  </a:moveTo>
                  <a:lnTo>
                    <a:pt x="0" y="68282"/>
                  </a:lnTo>
                  <a:cubicBezTo>
                    <a:pt x="2853" y="74368"/>
                    <a:pt x="5135" y="80771"/>
                    <a:pt x="6720" y="87365"/>
                  </a:cubicBezTo>
                  <a:lnTo>
                    <a:pt x="146961" y="22190"/>
                  </a:lnTo>
                  <a:lnTo>
                    <a:pt x="146961" y="0"/>
                  </a:lnTo>
                  <a:close/>
                </a:path>
              </a:pathLst>
            </a:custGeom>
            <a:grpFill/>
            <a:ln w="0" cap="flat">
              <a:noFill/>
              <a:prstDash val="solid"/>
              <a:miter/>
            </a:ln>
          </p:spPr>
          <p:txBody>
            <a:bodyPr rtlCol="0" anchor="ctr"/>
            <a:lstStyle/>
            <a:p>
              <a:endParaRPr lang="sv-SE"/>
            </a:p>
          </p:txBody>
        </p:sp>
        <p:sp>
          <p:nvSpPr>
            <p:cNvPr id="30" name="Frihandsfigur: Form 29">
              <a:extLst>
                <a:ext uri="{FF2B5EF4-FFF2-40B4-BE49-F238E27FC236}">
                  <a16:creationId xmlns:a16="http://schemas.microsoft.com/office/drawing/2014/main" id="{662BC930-5BB1-54E8-5407-958333599FF6}"/>
                </a:ext>
              </a:extLst>
            </p:cNvPr>
            <p:cNvSpPr/>
            <p:nvPr/>
          </p:nvSpPr>
          <p:spPr>
            <a:xfrm>
              <a:off x="11595581" y="2088374"/>
              <a:ext cx="183606" cy="107462"/>
            </a:xfrm>
            <a:custGeom>
              <a:avLst/>
              <a:gdLst>
                <a:gd name="connsiteX0" fmla="*/ 183606 w 183606"/>
                <a:gd name="connsiteY0" fmla="*/ 63 h 107462"/>
                <a:gd name="connsiteX1" fmla="*/ 34616 w 183606"/>
                <a:gd name="connsiteY1" fmla="*/ 69233 h 107462"/>
                <a:gd name="connsiteX2" fmla="*/ 0 w 183606"/>
                <a:gd name="connsiteY2" fmla="*/ 107463 h 107462"/>
                <a:gd name="connsiteX3" fmla="*/ 183543 w 183606"/>
                <a:gd name="connsiteY3" fmla="*/ 22190 h 107462"/>
                <a:gd name="connsiteX4" fmla="*/ 183543 w 183606"/>
                <a:gd name="connsiteY4" fmla="*/ 0 h 107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6" h="107462">
                  <a:moveTo>
                    <a:pt x="183606" y="63"/>
                  </a:moveTo>
                  <a:lnTo>
                    <a:pt x="34616" y="69233"/>
                  </a:lnTo>
                  <a:cubicBezTo>
                    <a:pt x="26628" y="84512"/>
                    <a:pt x="14836" y="97763"/>
                    <a:pt x="0" y="107463"/>
                  </a:cubicBezTo>
                  <a:lnTo>
                    <a:pt x="183543" y="22190"/>
                  </a:lnTo>
                  <a:lnTo>
                    <a:pt x="183543" y="0"/>
                  </a:lnTo>
                  <a:close/>
                </a:path>
              </a:pathLst>
            </a:custGeom>
            <a:grpFill/>
            <a:ln w="0" cap="flat">
              <a:noFill/>
              <a:prstDash val="solid"/>
              <a:miter/>
            </a:ln>
          </p:spPr>
          <p:txBody>
            <a:bodyPr rtlCol="0" anchor="ctr"/>
            <a:lstStyle/>
            <a:p>
              <a:endParaRPr lang="sv-SE"/>
            </a:p>
          </p:txBody>
        </p:sp>
        <p:sp>
          <p:nvSpPr>
            <p:cNvPr id="31" name="Frihandsfigur: Form 30">
              <a:extLst>
                <a:ext uri="{FF2B5EF4-FFF2-40B4-BE49-F238E27FC236}">
                  <a16:creationId xmlns:a16="http://schemas.microsoft.com/office/drawing/2014/main" id="{0D8413FD-2B98-22A0-8D3D-837B5395043C}"/>
                </a:ext>
              </a:extLst>
            </p:cNvPr>
            <p:cNvSpPr/>
            <p:nvPr/>
          </p:nvSpPr>
          <p:spPr>
            <a:xfrm>
              <a:off x="11481144" y="2178655"/>
              <a:ext cx="298106" cy="160655"/>
            </a:xfrm>
            <a:custGeom>
              <a:avLst/>
              <a:gdLst>
                <a:gd name="connsiteX0" fmla="*/ 298043 w 298106"/>
                <a:gd name="connsiteY0" fmla="*/ 0 h 160655"/>
                <a:gd name="connsiteX1" fmla="*/ 10461 w 298106"/>
                <a:gd name="connsiteY1" fmla="*/ 133584 h 160655"/>
                <a:gd name="connsiteX2" fmla="*/ 0 w 298106"/>
                <a:gd name="connsiteY2" fmla="*/ 160655 h 160655"/>
                <a:gd name="connsiteX3" fmla="*/ 298106 w 298106"/>
                <a:gd name="connsiteY3" fmla="*/ 22190 h 160655"/>
                <a:gd name="connsiteX4" fmla="*/ 298106 w 298106"/>
                <a:gd name="connsiteY4" fmla="*/ 0 h 16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106" h="160655">
                  <a:moveTo>
                    <a:pt x="298043" y="0"/>
                  </a:moveTo>
                  <a:lnTo>
                    <a:pt x="10461" y="133584"/>
                  </a:lnTo>
                  <a:cubicBezTo>
                    <a:pt x="6467" y="142333"/>
                    <a:pt x="2980" y="151399"/>
                    <a:pt x="0" y="160655"/>
                  </a:cubicBezTo>
                  <a:lnTo>
                    <a:pt x="298106" y="22190"/>
                  </a:lnTo>
                  <a:lnTo>
                    <a:pt x="298106" y="0"/>
                  </a:lnTo>
                  <a:close/>
                </a:path>
              </a:pathLst>
            </a:custGeom>
            <a:grpFill/>
            <a:ln w="0" cap="flat">
              <a:noFill/>
              <a:prstDash val="solid"/>
              <a:miter/>
            </a:ln>
          </p:spPr>
          <p:txBody>
            <a:bodyPr rtlCol="0" anchor="ctr"/>
            <a:lstStyle/>
            <a:p>
              <a:endParaRPr lang="sv-SE"/>
            </a:p>
          </p:txBody>
        </p:sp>
        <p:sp>
          <p:nvSpPr>
            <p:cNvPr id="32" name="Frihandsfigur: Form 31">
              <a:extLst>
                <a:ext uri="{FF2B5EF4-FFF2-40B4-BE49-F238E27FC236}">
                  <a16:creationId xmlns:a16="http://schemas.microsoft.com/office/drawing/2014/main" id="{D907F406-967A-B804-A1ED-6CFC4CD077D0}"/>
                </a:ext>
              </a:extLst>
            </p:cNvPr>
            <p:cNvSpPr/>
            <p:nvPr/>
          </p:nvSpPr>
          <p:spPr>
            <a:xfrm>
              <a:off x="11468337" y="2268936"/>
              <a:ext cx="310849" cy="166424"/>
            </a:xfrm>
            <a:custGeom>
              <a:avLst/>
              <a:gdLst>
                <a:gd name="connsiteX0" fmla="*/ 310850 w 310849"/>
                <a:gd name="connsiteY0" fmla="*/ 0 h 166424"/>
                <a:gd name="connsiteX1" fmla="*/ 127 w 310849"/>
                <a:gd name="connsiteY1" fmla="*/ 144362 h 166424"/>
                <a:gd name="connsiteX2" fmla="*/ 0 w 310849"/>
                <a:gd name="connsiteY2" fmla="*/ 151145 h 166424"/>
                <a:gd name="connsiteX3" fmla="*/ 444 w 310849"/>
                <a:gd name="connsiteY3" fmla="*/ 166425 h 166424"/>
                <a:gd name="connsiteX4" fmla="*/ 310850 w 310849"/>
                <a:gd name="connsiteY4" fmla="*/ 22253 h 166424"/>
                <a:gd name="connsiteX5" fmla="*/ 310850 w 310849"/>
                <a:gd name="connsiteY5" fmla="*/ 63 h 16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49" h="166424">
                  <a:moveTo>
                    <a:pt x="310850" y="0"/>
                  </a:moveTo>
                  <a:lnTo>
                    <a:pt x="127" y="144362"/>
                  </a:lnTo>
                  <a:cubicBezTo>
                    <a:pt x="127" y="146581"/>
                    <a:pt x="0" y="148863"/>
                    <a:pt x="0" y="151145"/>
                  </a:cubicBezTo>
                  <a:cubicBezTo>
                    <a:pt x="0" y="156281"/>
                    <a:pt x="190" y="161353"/>
                    <a:pt x="444" y="166425"/>
                  </a:cubicBezTo>
                  <a:lnTo>
                    <a:pt x="310850" y="22253"/>
                  </a:lnTo>
                  <a:lnTo>
                    <a:pt x="310850" y="63"/>
                  </a:lnTo>
                  <a:close/>
                </a:path>
              </a:pathLst>
            </a:custGeom>
            <a:grpFill/>
            <a:ln w="0" cap="flat">
              <a:noFill/>
              <a:prstDash val="solid"/>
              <a:miter/>
            </a:ln>
          </p:spPr>
          <p:txBody>
            <a:bodyPr rtlCol="0" anchor="ctr"/>
            <a:lstStyle/>
            <a:p>
              <a:endParaRPr lang="sv-SE"/>
            </a:p>
          </p:txBody>
        </p:sp>
        <p:sp>
          <p:nvSpPr>
            <p:cNvPr id="33" name="Frihandsfigur: Form 32">
              <a:extLst>
                <a:ext uri="{FF2B5EF4-FFF2-40B4-BE49-F238E27FC236}">
                  <a16:creationId xmlns:a16="http://schemas.microsoft.com/office/drawing/2014/main" id="{FA02AA92-A8F0-785B-3A67-764D40CADE03}"/>
                </a:ext>
              </a:extLst>
            </p:cNvPr>
            <p:cNvSpPr/>
            <p:nvPr/>
          </p:nvSpPr>
          <p:spPr>
            <a:xfrm>
              <a:off x="11480257" y="2359154"/>
              <a:ext cx="298930" cy="157929"/>
            </a:xfrm>
            <a:custGeom>
              <a:avLst/>
              <a:gdLst>
                <a:gd name="connsiteX0" fmla="*/ 298930 w 298930"/>
                <a:gd name="connsiteY0" fmla="*/ 63 h 157929"/>
                <a:gd name="connsiteX1" fmla="*/ 0 w 298930"/>
                <a:gd name="connsiteY1" fmla="*/ 138909 h 157929"/>
                <a:gd name="connsiteX2" fmla="*/ 6784 w 298930"/>
                <a:gd name="connsiteY2" fmla="*/ 157929 h 157929"/>
                <a:gd name="connsiteX3" fmla="*/ 298930 w 298930"/>
                <a:gd name="connsiteY3" fmla="*/ 22190 h 157929"/>
                <a:gd name="connsiteX4" fmla="*/ 298930 w 298930"/>
                <a:gd name="connsiteY4" fmla="*/ 0 h 157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30" h="157929">
                  <a:moveTo>
                    <a:pt x="298930" y="63"/>
                  </a:moveTo>
                  <a:lnTo>
                    <a:pt x="0" y="138909"/>
                  </a:lnTo>
                  <a:cubicBezTo>
                    <a:pt x="2029" y="145376"/>
                    <a:pt x="4311" y="151716"/>
                    <a:pt x="6784" y="157929"/>
                  </a:cubicBezTo>
                  <a:lnTo>
                    <a:pt x="298930" y="22190"/>
                  </a:lnTo>
                  <a:lnTo>
                    <a:pt x="298930" y="0"/>
                  </a:lnTo>
                  <a:close/>
                </a:path>
              </a:pathLst>
            </a:custGeom>
            <a:grpFill/>
            <a:ln w="0" cap="flat">
              <a:noFill/>
              <a:prstDash val="solid"/>
              <a:miter/>
            </a:ln>
          </p:spPr>
          <p:txBody>
            <a:bodyPr rtlCol="0" anchor="ctr"/>
            <a:lstStyle/>
            <a:p>
              <a:endParaRPr lang="sv-SE"/>
            </a:p>
          </p:txBody>
        </p:sp>
        <p:sp>
          <p:nvSpPr>
            <p:cNvPr id="34" name="Frihandsfigur: Form 33">
              <a:extLst>
                <a:ext uri="{FF2B5EF4-FFF2-40B4-BE49-F238E27FC236}">
                  <a16:creationId xmlns:a16="http://schemas.microsoft.com/office/drawing/2014/main" id="{0E7C1CDC-7494-2B77-5B86-E784209201A7}"/>
                </a:ext>
              </a:extLst>
            </p:cNvPr>
            <p:cNvSpPr/>
            <p:nvPr/>
          </p:nvSpPr>
          <p:spPr>
            <a:xfrm>
              <a:off x="11699176" y="3261842"/>
              <a:ext cx="80010" cy="38927"/>
            </a:xfrm>
            <a:custGeom>
              <a:avLst/>
              <a:gdLst>
                <a:gd name="connsiteX0" fmla="*/ 80011 w 80010"/>
                <a:gd name="connsiteY0" fmla="*/ 0 h 38927"/>
                <a:gd name="connsiteX1" fmla="*/ 0 w 80010"/>
                <a:gd name="connsiteY1" fmla="*/ 37152 h 38927"/>
                <a:gd name="connsiteX2" fmla="*/ 29925 w 80010"/>
                <a:gd name="connsiteY2" fmla="*/ 38927 h 38927"/>
                <a:gd name="connsiteX3" fmla="*/ 44887 w 80010"/>
                <a:gd name="connsiteY3" fmla="*/ 38484 h 38927"/>
                <a:gd name="connsiteX4" fmla="*/ 80011 w 80010"/>
                <a:gd name="connsiteY4" fmla="*/ 22190 h 38927"/>
                <a:gd name="connsiteX5" fmla="*/ 80011 w 80010"/>
                <a:gd name="connsiteY5" fmla="*/ 0 h 3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10" h="38927">
                  <a:moveTo>
                    <a:pt x="80011" y="0"/>
                  </a:moveTo>
                  <a:lnTo>
                    <a:pt x="0" y="37152"/>
                  </a:lnTo>
                  <a:cubicBezTo>
                    <a:pt x="9827" y="38294"/>
                    <a:pt x="19781" y="38927"/>
                    <a:pt x="29925" y="38927"/>
                  </a:cubicBezTo>
                  <a:cubicBezTo>
                    <a:pt x="34933" y="38927"/>
                    <a:pt x="39942" y="38737"/>
                    <a:pt x="44887" y="38484"/>
                  </a:cubicBezTo>
                  <a:lnTo>
                    <a:pt x="80011" y="22190"/>
                  </a:lnTo>
                  <a:lnTo>
                    <a:pt x="80011" y="0"/>
                  </a:lnTo>
                  <a:close/>
                </a:path>
              </a:pathLst>
            </a:custGeom>
            <a:grpFill/>
            <a:ln w="0" cap="flat">
              <a:noFill/>
              <a:prstDash val="solid"/>
              <a:miter/>
            </a:ln>
          </p:spPr>
          <p:txBody>
            <a:bodyPr rtlCol="0" anchor="ctr"/>
            <a:lstStyle/>
            <a:p>
              <a:endParaRPr lang="sv-SE"/>
            </a:p>
          </p:txBody>
        </p:sp>
        <p:sp>
          <p:nvSpPr>
            <p:cNvPr id="35" name="Frihandsfigur: Form 34">
              <a:extLst>
                <a:ext uri="{FF2B5EF4-FFF2-40B4-BE49-F238E27FC236}">
                  <a16:creationId xmlns:a16="http://schemas.microsoft.com/office/drawing/2014/main" id="{3EACC114-F294-9D27-A3A5-E91B61F980D0}"/>
                </a:ext>
              </a:extLst>
            </p:cNvPr>
            <p:cNvSpPr/>
            <p:nvPr/>
          </p:nvSpPr>
          <p:spPr>
            <a:xfrm>
              <a:off x="11588987" y="3171497"/>
              <a:ext cx="190199" cy="100615"/>
            </a:xfrm>
            <a:custGeom>
              <a:avLst/>
              <a:gdLst>
                <a:gd name="connsiteX0" fmla="*/ 190200 w 190199"/>
                <a:gd name="connsiteY0" fmla="*/ 63 h 100615"/>
                <a:gd name="connsiteX1" fmla="*/ 0 w 190199"/>
                <a:gd name="connsiteY1" fmla="*/ 88379 h 100615"/>
                <a:gd name="connsiteX2" fmla="*/ 21366 w 190199"/>
                <a:gd name="connsiteY2" fmla="*/ 100616 h 100615"/>
                <a:gd name="connsiteX3" fmla="*/ 190200 w 190199"/>
                <a:gd name="connsiteY3" fmla="*/ 22190 h 100615"/>
                <a:gd name="connsiteX4" fmla="*/ 190200 w 190199"/>
                <a:gd name="connsiteY4" fmla="*/ 0 h 10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99" h="100615">
                  <a:moveTo>
                    <a:pt x="190200" y="63"/>
                  </a:moveTo>
                  <a:lnTo>
                    <a:pt x="0" y="88379"/>
                  </a:lnTo>
                  <a:cubicBezTo>
                    <a:pt x="6911" y="92817"/>
                    <a:pt x="14012" y="96875"/>
                    <a:pt x="21366" y="100616"/>
                  </a:cubicBezTo>
                  <a:lnTo>
                    <a:pt x="190200" y="22190"/>
                  </a:lnTo>
                  <a:lnTo>
                    <a:pt x="190200" y="0"/>
                  </a:lnTo>
                  <a:close/>
                </a:path>
              </a:pathLst>
            </a:custGeom>
            <a:grpFill/>
            <a:ln w="0" cap="flat">
              <a:noFill/>
              <a:prstDash val="solid"/>
              <a:miter/>
            </a:ln>
          </p:spPr>
          <p:txBody>
            <a:bodyPr rtlCol="0" anchor="ctr"/>
            <a:lstStyle/>
            <a:p>
              <a:endParaRPr lang="sv-SE"/>
            </a:p>
          </p:txBody>
        </p:sp>
        <p:sp>
          <p:nvSpPr>
            <p:cNvPr id="36" name="Frihandsfigur: Form 35">
              <a:extLst>
                <a:ext uri="{FF2B5EF4-FFF2-40B4-BE49-F238E27FC236}">
                  <a16:creationId xmlns:a16="http://schemas.microsoft.com/office/drawing/2014/main" id="{F7EB8399-7ACB-6E54-129B-B9BB8B733DC5}"/>
                </a:ext>
              </a:extLst>
            </p:cNvPr>
            <p:cNvSpPr/>
            <p:nvPr/>
          </p:nvSpPr>
          <p:spPr>
            <a:xfrm>
              <a:off x="11523369" y="3081343"/>
              <a:ext cx="255881" cy="134788"/>
            </a:xfrm>
            <a:custGeom>
              <a:avLst/>
              <a:gdLst>
                <a:gd name="connsiteX0" fmla="*/ 255818 w 255881"/>
                <a:gd name="connsiteY0" fmla="*/ 0 h 134788"/>
                <a:gd name="connsiteX1" fmla="*/ 0 w 255881"/>
                <a:gd name="connsiteY1" fmla="*/ 118811 h 134788"/>
                <a:gd name="connsiteX2" fmla="*/ 13441 w 255881"/>
                <a:gd name="connsiteY2" fmla="*/ 134788 h 134788"/>
                <a:gd name="connsiteX3" fmla="*/ 255882 w 255881"/>
                <a:gd name="connsiteY3" fmla="*/ 22190 h 134788"/>
                <a:gd name="connsiteX4" fmla="*/ 255882 w 255881"/>
                <a:gd name="connsiteY4" fmla="*/ 0 h 13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81" h="134788">
                  <a:moveTo>
                    <a:pt x="255818" y="0"/>
                  </a:moveTo>
                  <a:lnTo>
                    <a:pt x="0" y="118811"/>
                  </a:lnTo>
                  <a:cubicBezTo>
                    <a:pt x="4248" y="124327"/>
                    <a:pt x="8749" y="129653"/>
                    <a:pt x="13441" y="134788"/>
                  </a:cubicBezTo>
                  <a:lnTo>
                    <a:pt x="255882" y="22190"/>
                  </a:lnTo>
                  <a:lnTo>
                    <a:pt x="255882" y="0"/>
                  </a:lnTo>
                  <a:close/>
                </a:path>
              </a:pathLst>
            </a:custGeom>
            <a:grpFill/>
            <a:ln w="0" cap="flat">
              <a:noFill/>
              <a:prstDash val="solid"/>
              <a:miter/>
            </a:ln>
          </p:spPr>
          <p:txBody>
            <a:bodyPr rtlCol="0" anchor="ctr"/>
            <a:lstStyle/>
            <a:p>
              <a:endParaRPr lang="sv-SE"/>
            </a:p>
          </p:txBody>
        </p:sp>
        <p:sp>
          <p:nvSpPr>
            <p:cNvPr id="37" name="Frihandsfigur: Form 36">
              <a:extLst>
                <a:ext uri="{FF2B5EF4-FFF2-40B4-BE49-F238E27FC236}">
                  <a16:creationId xmlns:a16="http://schemas.microsoft.com/office/drawing/2014/main" id="{07E3A617-6940-D921-E894-5134DDDE920B}"/>
                </a:ext>
              </a:extLst>
            </p:cNvPr>
            <p:cNvSpPr/>
            <p:nvPr/>
          </p:nvSpPr>
          <p:spPr>
            <a:xfrm>
              <a:off x="11483680" y="2991061"/>
              <a:ext cx="295506" cy="155900"/>
            </a:xfrm>
            <a:custGeom>
              <a:avLst/>
              <a:gdLst>
                <a:gd name="connsiteX0" fmla="*/ 295507 w 295506"/>
                <a:gd name="connsiteY0" fmla="*/ 0 h 155900"/>
                <a:gd name="connsiteX1" fmla="*/ 0 w 295506"/>
                <a:gd name="connsiteY1" fmla="*/ 137261 h 155900"/>
                <a:gd name="connsiteX2" fmla="*/ 7608 w 295506"/>
                <a:gd name="connsiteY2" fmla="*/ 155900 h 155900"/>
                <a:gd name="connsiteX3" fmla="*/ 295507 w 295506"/>
                <a:gd name="connsiteY3" fmla="*/ 22190 h 155900"/>
                <a:gd name="connsiteX4" fmla="*/ 295507 w 295506"/>
                <a:gd name="connsiteY4" fmla="*/ 0 h 15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06" h="155900">
                  <a:moveTo>
                    <a:pt x="295507" y="0"/>
                  </a:moveTo>
                  <a:lnTo>
                    <a:pt x="0" y="137261"/>
                  </a:lnTo>
                  <a:cubicBezTo>
                    <a:pt x="2282" y="143601"/>
                    <a:pt x="4818" y="149814"/>
                    <a:pt x="7608" y="155900"/>
                  </a:cubicBezTo>
                  <a:lnTo>
                    <a:pt x="295507" y="22190"/>
                  </a:lnTo>
                  <a:lnTo>
                    <a:pt x="295507" y="0"/>
                  </a:lnTo>
                  <a:close/>
                </a:path>
              </a:pathLst>
            </a:custGeom>
            <a:grpFill/>
            <a:ln w="0" cap="flat">
              <a:noFill/>
              <a:prstDash val="solid"/>
              <a:miter/>
            </a:ln>
          </p:spPr>
          <p:txBody>
            <a:bodyPr rtlCol="0" anchor="ctr"/>
            <a:lstStyle/>
            <a:p>
              <a:endParaRPr lang="sv-SE"/>
            </a:p>
          </p:txBody>
        </p:sp>
        <p:sp>
          <p:nvSpPr>
            <p:cNvPr id="38" name="Frihandsfigur: Form 37">
              <a:extLst>
                <a:ext uri="{FF2B5EF4-FFF2-40B4-BE49-F238E27FC236}">
                  <a16:creationId xmlns:a16="http://schemas.microsoft.com/office/drawing/2014/main" id="{19693546-35FC-C35E-F5E9-44A3CC87DC49}"/>
                </a:ext>
              </a:extLst>
            </p:cNvPr>
            <p:cNvSpPr/>
            <p:nvPr/>
          </p:nvSpPr>
          <p:spPr>
            <a:xfrm>
              <a:off x="11468464" y="2900780"/>
              <a:ext cx="310722" cy="165981"/>
            </a:xfrm>
            <a:custGeom>
              <a:avLst/>
              <a:gdLst>
                <a:gd name="connsiteX0" fmla="*/ 310723 w 310722"/>
                <a:gd name="connsiteY0" fmla="*/ 0 h 165981"/>
                <a:gd name="connsiteX1" fmla="*/ 0 w 310722"/>
                <a:gd name="connsiteY1" fmla="*/ 144362 h 165981"/>
                <a:gd name="connsiteX2" fmla="*/ 1205 w 310722"/>
                <a:gd name="connsiteY2" fmla="*/ 165981 h 165981"/>
                <a:gd name="connsiteX3" fmla="*/ 310723 w 310722"/>
                <a:gd name="connsiteY3" fmla="*/ 22190 h 165981"/>
                <a:gd name="connsiteX4" fmla="*/ 310723 w 310722"/>
                <a:gd name="connsiteY4" fmla="*/ 0 h 16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22" h="165981">
                  <a:moveTo>
                    <a:pt x="310723" y="0"/>
                  </a:moveTo>
                  <a:lnTo>
                    <a:pt x="0" y="144362"/>
                  </a:lnTo>
                  <a:cubicBezTo>
                    <a:pt x="127" y="151653"/>
                    <a:pt x="507" y="158880"/>
                    <a:pt x="1205" y="165981"/>
                  </a:cubicBezTo>
                  <a:lnTo>
                    <a:pt x="310723" y="22190"/>
                  </a:lnTo>
                  <a:lnTo>
                    <a:pt x="310723" y="0"/>
                  </a:lnTo>
                  <a:close/>
                </a:path>
              </a:pathLst>
            </a:custGeom>
            <a:grpFill/>
            <a:ln w="0" cap="flat">
              <a:noFill/>
              <a:prstDash val="solid"/>
              <a:miter/>
            </a:ln>
          </p:spPr>
          <p:txBody>
            <a:bodyPr rtlCol="0" anchor="ctr"/>
            <a:lstStyle/>
            <a:p>
              <a:endParaRPr lang="sv-SE"/>
            </a:p>
          </p:txBody>
        </p:sp>
        <p:sp>
          <p:nvSpPr>
            <p:cNvPr id="39" name="Frihandsfigur: Form 38">
              <a:extLst>
                <a:ext uri="{FF2B5EF4-FFF2-40B4-BE49-F238E27FC236}">
                  <a16:creationId xmlns:a16="http://schemas.microsoft.com/office/drawing/2014/main" id="{AF1EE1F8-0733-4C90-519A-F4228D822AB8}"/>
                </a:ext>
              </a:extLst>
            </p:cNvPr>
            <p:cNvSpPr/>
            <p:nvPr/>
          </p:nvSpPr>
          <p:spPr>
            <a:xfrm>
              <a:off x="11477023" y="2810498"/>
              <a:ext cx="302163" cy="162557"/>
            </a:xfrm>
            <a:custGeom>
              <a:avLst/>
              <a:gdLst>
                <a:gd name="connsiteX0" fmla="*/ 302164 w 302163"/>
                <a:gd name="connsiteY0" fmla="*/ 0 h 162557"/>
                <a:gd name="connsiteX1" fmla="*/ 8432 w 302163"/>
                <a:gd name="connsiteY1" fmla="*/ 136436 h 162557"/>
                <a:gd name="connsiteX2" fmla="*/ 0 w 302163"/>
                <a:gd name="connsiteY2" fmla="*/ 162557 h 162557"/>
                <a:gd name="connsiteX3" fmla="*/ 302164 w 302163"/>
                <a:gd name="connsiteY3" fmla="*/ 22190 h 162557"/>
                <a:gd name="connsiteX4" fmla="*/ 302164 w 302163"/>
                <a:gd name="connsiteY4" fmla="*/ 0 h 162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163" h="162557">
                  <a:moveTo>
                    <a:pt x="302164" y="0"/>
                  </a:moveTo>
                  <a:lnTo>
                    <a:pt x="8432" y="136436"/>
                  </a:lnTo>
                  <a:cubicBezTo>
                    <a:pt x="5199" y="144932"/>
                    <a:pt x="2346" y="153618"/>
                    <a:pt x="0" y="162557"/>
                  </a:cubicBezTo>
                  <a:lnTo>
                    <a:pt x="302164" y="22190"/>
                  </a:lnTo>
                  <a:lnTo>
                    <a:pt x="302164" y="0"/>
                  </a:lnTo>
                  <a:close/>
                </a:path>
              </a:pathLst>
            </a:custGeom>
            <a:grpFill/>
            <a:ln w="0" cap="flat">
              <a:noFill/>
              <a:prstDash val="solid"/>
              <a:miter/>
            </a:ln>
          </p:spPr>
          <p:txBody>
            <a:bodyPr rtlCol="0" anchor="ctr"/>
            <a:lstStyle/>
            <a:p>
              <a:endParaRPr lang="sv-SE"/>
            </a:p>
          </p:txBody>
        </p:sp>
        <p:sp>
          <p:nvSpPr>
            <p:cNvPr id="40" name="Frihandsfigur: Form 39">
              <a:extLst>
                <a:ext uri="{FF2B5EF4-FFF2-40B4-BE49-F238E27FC236}">
                  <a16:creationId xmlns:a16="http://schemas.microsoft.com/office/drawing/2014/main" id="{CE844994-F4FF-762D-3F6A-766399C3A371}"/>
                </a:ext>
              </a:extLst>
            </p:cNvPr>
            <p:cNvSpPr/>
            <p:nvPr/>
          </p:nvSpPr>
          <p:spPr>
            <a:xfrm>
              <a:off x="11553547" y="2720280"/>
              <a:ext cx="225703" cy="126989"/>
            </a:xfrm>
            <a:custGeom>
              <a:avLst/>
              <a:gdLst>
                <a:gd name="connsiteX0" fmla="*/ 225640 w 225703"/>
                <a:gd name="connsiteY0" fmla="*/ 0 h 126989"/>
                <a:gd name="connsiteX1" fmla="*/ 65492 w 225703"/>
                <a:gd name="connsiteY1" fmla="*/ 74368 h 126989"/>
                <a:gd name="connsiteX2" fmla="*/ 39371 w 225703"/>
                <a:gd name="connsiteY2" fmla="*/ 97382 h 126989"/>
                <a:gd name="connsiteX3" fmla="*/ 0 w 225703"/>
                <a:gd name="connsiteY3" fmla="*/ 126990 h 126989"/>
                <a:gd name="connsiteX4" fmla="*/ 225704 w 225703"/>
                <a:gd name="connsiteY4" fmla="*/ 22190 h 126989"/>
                <a:gd name="connsiteX5" fmla="*/ 225704 w 225703"/>
                <a:gd name="connsiteY5" fmla="*/ 0 h 12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703" h="126989">
                  <a:moveTo>
                    <a:pt x="225640" y="0"/>
                  </a:moveTo>
                  <a:lnTo>
                    <a:pt x="65492" y="74368"/>
                  </a:lnTo>
                  <a:cubicBezTo>
                    <a:pt x="58265" y="83307"/>
                    <a:pt x="49452" y="91169"/>
                    <a:pt x="39371" y="97382"/>
                  </a:cubicBezTo>
                  <a:cubicBezTo>
                    <a:pt x="25297" y="106005"/>
                    <a:pt x="12109" y="115958"/>
                    <a:pt x="0" y="126990"/>
                  </a:cubicBezTo>
                  <a:lnTo>
                    <a:pt x="225704" y="22190"/>
                  </a:lnTo>
                  <a:lnTo>
                    <a:pt x="225704" y="0"/>
                  </a:lnTo>
                  <a:close/>
                </a:path>
              </a:pathLst>
            </a:custGeom>
            <a:grpFill/>
            <a:ln w="0" cap="flat">
              <a:noFill/>
              <a:prstDash val="solid"/>
              <a:miter/>
            </a:ln>
          </p:spPr>
          <p:txBody>
            <a:bodyPr rtlCol="0" anchor="ctr"/>
            <a:lstStyle/>
            <a:p>
              <a:endParaRPr lang="sv-SE"/>
            </a:p>
          </p:txBody>
        </p:sp>
        <p:sp>
          <p:nvSpPr>
            <p:cNvPr id="41" name="Frihandsfigur: Form 40">
              <a:extLst>
                <a:ext uri="{FF2B5EF4-FFF2-40B4-BE49-F238E27FC236}">
                  <a16:creationId xmlns:a16="http://schemas.microsoft.com/office/drawing/2014/main" id="{B2BD36E5-72C2-C6BC-9F2C-5BA5C0A8B2BF}"/>
                </a:ext>
              </a:extLst>
            </p:cNvPr>
            <p:cNvSpPr/>
            <p:nvPr/>
          </p:nvSpPr>
          <p:spPr>
            <a:xfrm>
              <a:off x="11636220" y="2629999"/>
              <a:ext cx="142966" cy="86350"/>
            </a:xfrm>
            <a:custGeom>
              <a:avLst/>
              <a:gdLst>
                <a:gd name="connsiteX0" fmla="*/ 142967 w 142966"/>
                <a:gd name="connsiteY0" fmla="*/ 0 h 86350"/>
                <a:gd name="connsiteX1" fmla="*/ 0 w 142966"/>
                <a:gd name="connsiteY1" fmla="*/ 66380 h 86350"/>
                <a:gd name="connsiteX2" fmla="*/ 4755 w 142966"/>
                <a:gd name="connsiteY2" fmla="*/ 86351 h 86350"/>
                <a:gd name="connsiteX3" fmla="*/ 142903 w 142966"/>
                <a:gd name="connsiteY3" fmla="*/ 22190 h 86350"/>
                <a:gd name="connsiteX4" fmla="*/ 142903 w 142966"/>
                <a:gd name="connsiteY4" fmla="*/ 0 h 8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966" h="86350">
                  <a:moveTo>
                    <a:pt x="142967" y="0"/>
                  </a:moveTo>
                  <a:lnTo>
                    <a:pt x="0" y="66380"/>
                  </a:lnTo>
                  <a:cubicBezTo>
                    <a:pt x="2219" y="72847"/>
                    <a:pt x="3867" y="79503"/>
                    <a:pt x="4755" y="86351"/>
                  </a:cubicBezTo>
                  <a:lnTo>
                    <a:pt x="142903" y="22190"/>
                  </a:lnTo>
                  <a:lnTo>
                    <a:pt x="142903" y="0"/>
                  </a:lnTo>
                  <a:close/>
                </a:path>
              </a:pathLst>
            </a:custGeom>
            <a:grpFill/>
            <a:ln w="0" cap="flat">
              <a:noFill/>
              <a:prstDash val="solid"/>
              <a:miter/>
            </a:ln>
          </p:spPr>
          <p:txBody>
            <a:bodyPr rtlCol="0" anchor="ctr"/>
            <a:lstStyle/>
            <a:p>
              <a:endParaRPr lang="sv-SE"/>
            </a:p>
          </p:txBody>
        </p:sp>
        <p:sp>
          <p:nvSpPr>
            <p:cNvPr id="42" name="Frihandsfigur: Form 41">
              <a:extLst>
                <a:ext uri="{FF2B5EF4-FFF2-40B4-BE49-F238E27FC236}">
                  <a16:creationId xmlns:a16="http://schemas.microsoft.com/office/drawing/2014/main" id="{0E6BD2DD-5A6E-74EA-3541-8FED0F4D66DF}"/>
                </a:ext>
              </a:extLst>
            </p:cNvPr>
            <p:cNvSpPr/>
            <p:nvPr/>
          </p:nvSpPr>
          <p:spPr>
            <a:xfrm>
              <a:off x="11578526" y="2539717"/>
              <a:ext cx="200660" cy="106258"/>
            </a:xfrm>
            <a:custGeom>
              <a:avLst/>
              <a:gdLst>
                <a:gd name="connsiteX0" fmla="*/ 200661 w 200660"/>
                <a:gd name="connsiteY0" fmla="*/ 0 h 106258"/>
                <a:gd name="connsiteX1" fmla="*/ 0 w 200660"/>
                <a:gd name="connsiteY1" fmla="*/ 93198 h 106258"/>
                <a:gd name="connsiteX2" fmla="*/ 14328 w 200660"/>
                <a:gd name="connsiteY2" fmla="*/ 102708 h 106258"/>
                <a:gd name="connsiteX3" fmla="*/ 19717 w 200660"/>
                <a:gd name="connsiteY3" fmla="*/ 106258 h 106258"/>
                <a:gd name="connsiteX4" fmla="*/ 200661 w 200660"/>
                <a:gd name="connsiteY4" fmla="*/ 22190 h 106258"/>
                <a:gd name="connsiteX5" fmla="*/ 200661 w 200660"/>
                <a:gd name="connsiteY5" fmla="*/ 0 h 10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60" h="106258">
                  <a:moveTo>
                    <a:pt x="200661" y="0"/>
                  </a:moveTo>
                  <a:lnTo>
                    <a:pt x="0" y="93198"/>
                  </a:lnTo>
                  <a:cubicBezTo>
                    <a:pt x="4692" y="96495"/>
                    <a:pt x="9447" y="99665"/>
                    <a:pt x="14328" y="102708"/>
                  </a:cubicBezTo>
                  <a:cubicBezTo>
                    <a:pt x="16167" y="103849"/>
                    <a:pt x="17942" y="104990"/>
                    <a:pt x="19717" y="106258"/>
                  </a:cubicBezTo>
                  <a:lnTo>
                    <a:pt x="200661" y="22190"/>
                  </a:lnTo>
                  <a:lnTo>
                    <a:pt x="200661" y="0"/>
                  </a:lnTo>
                  <a:close/>
                </a:path>
              </a:pathLst>
            </a:custGeom>
            <a:grpFill/>
            <a:ln w="0" cap="flat">
              <a:noFill/>
              <a:prstDash val="solid"/>
              <a:miter/>
            </a:ln>
          </p:spPr>
          <p:txBody>
            <a:bodyPr rtlCol="0" anchor="ctr"/>
            <a:lstStyle/>
            <a:p>
              <a:endParaRPr lang="sv-SE"/>
            </a:p>
          </p:txBody>
        </p:sp>
        <p:sp>
          <p:nvSpPr>
            <p:cNvPr id="43" name="Frihandsfigur: Form 42">
              <a:extLst>
                <a:ext uri="{FF2B5EF4-FFF2-40B4-BE49-F238E27FC236}">
                  <a16:creationId xmlns:a16="http://schemas.microsoft.com/office/drawing/2014/main" id="{18025196-63E6-868E-45C3-A90ABF719E58}"/>
                </a:ext>
              </a:extLst>
            </p:cNvPr>
            <p:cNvSpPr/>
            <p:nvPr/>
          </p:nvSpPr>
          <p:spPr>
            <a:xfrm>
              <a:off x="11516775" y="2449499"/>
              <a:ext cx="262475" cy="138211"/>
            </a:xfrm>
            <a:custGeom>
              <a:avLst/>
              <a:gdLst>
                <a:gd name="connsiteX0" fmla="*/ 262412 w 262475"/>
                <a:gd name="connsiteY0" fmla="*/ 0 h 138211"/>
                <a:gd name="connsiteX1" fmla="*/ 0 w 262475"/>
                <a:gd name="connsiteY1" fmla="*/ 121918 h 138211"/>
                <a:gd name="connsiteX2" fmla="*/ 12680 w 262475"/>
                <a:gd name="connsiteY2" fmla="*/ 138212 h 138211"/>
                <a:gd name="connsiteX3" fmla="*/ 262476 w 262475"/>
                <a:gd name="connsiteY3" fmla="*/ 22190 h 138211"/>
                <a:gd name="connsiteX4" fmla="*/ 262476 w 262475"/>
                <a:gd name="connsiteY4" fmla="*/ 0 h 138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75" h="138211">
                  <a:moveTo>
                    <a:pt x="262412" y="0"/>
                  </a:moveTo>
                  <a:lnTo>
                    <a:pt x="0" y="121918"/>
                  </a:lnTo>
                  <a:cubicBezTo>
                    <a:pt x="3994" y="127497"/>
                    <a:pt x="8242" y="132950"/>
                    <a:pt x="12680" y="138212"/>
                  </a:cubicBezTo>
                  <a:lnTo>
                    <a:pt x="262476" y="22190"/>
                  </a:lnTo>
                  <a:lnTo>
                    <a:pt x="262476" y="0"/>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7494154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4_Rubrikbild_violet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9901358-FAEB-466E-A059-DFCAF845E54F}"/>
              </a:ext>
            </a:extLst>
          </p:cNvPr>
          <p:cNvSpPr/>
          <p:nvPr userDrawn="1"/>
        </p:nvSpPr>
        <p:spPr>
          <a:xfrm>
            <a:off x="407987" y="1144857"/>
            <a:ext cx="11374809" cy="5307954"/>
          </a:xfrm>
          <a:prstGeom prst="rect">
            <a:avLst/>
          </a:prstGeom>
          <a:solidFill>
            <a:srgbClr val="34274D"/>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Title 1"/>
          <p:cNvSpPr>
            <a:spLocks noGrp="1"/>
          </p:cNvSpPr>
          <p:nvPr>
            <p:ph type="ctrTitle" hasCustomPrompt="1"/>
          </p:nvPr>
        </p:nvSpPr>
        <p:spPr>
          <a:xfrm>
            <a:off x="3405834" y="2674663"/>
            <a:ext cx="6854955" cy="1349829"/>
          </a:xfrm>
          <a:prstGeom prst="rect">
            <a:avLst/>
          </a:prstGeom>
        </p:spPr>
        <p:txBody>
          <a:bodyPr anchor="ctr" anchorCtr="0">
            <a:noAutofit/>
          </a:bodyPr>
          <a:lstStyle>
            <a:lvl1pPr algn="l">
              <a:lnSpc>
                <a:spcPct val="90000"/>
              </a:lnSpc>
              <a:defRPr sz="6000" kern="0" spc="0" baseline="0">
                <a:solidFill>
                  <a:schemeClr val="bg1"/>
                </a:solidFill>
              </a:defRPr>
            </a:lvl1pPr>
          </a:lstStyle>
          <a:p>
            <a:r>
              <a:rPr lang="sv-SE"/>
              <a:t>Rubrik</a:t>
            </a:r>
            <a:endParaRPr lang="en-US"/>
          </a:p>
        </p:txBody>
      </p:sp>
      <p:sp>
        <p:nvSpPr>
          <p:cNvPr id="5" name="Platshållare för text 4">
            <a:extLst>
              <a:ext uri="{FF2B5EF4-FFF2-40B4-BE49-F238E27FC236}">
                <a16:creationId xmlns:a16="http://schemas.microsoft.com/office/drawing/2014/main" id="{A0F7CA53-6D92-4A66-95D1-2CEF9E76DF2C}"/>
              </a:ext>
            </a:extLst>
          </p:cNvPr>
          <p:cNvSpPr>
            <a:spLocks noGrp="1"/>
          </p:cNvSpPr>
          <p:nvPr>
            <p:ph type="body" sz="quarter" idx="10" hasCustomPrompt="1"/>
          </p:nvPr>
        </p:nvSpPr>
        <p:spPr>
          <a:xfrm>
            <a:off x="3405834" y="4214111"/>
            <a:ext cx="6854955" cy="251417"/>
          </a:xfrm>
        </p:spPr>
        <p:txBody>
          <a:bodyPr>
            <a:noAutofit/>
          </a:bodyPr>
          <a:lstStyle>
            <a:lvl1pPr marL="0" indent="0">
              <a:lnSpc>
                <a:spcPct val="100000"/>
              </a:lnSpc>
              <a:spcBef>
                <a:spcPts val="0"/>
              </a:spcBef>
              <a:buNone/>
              <a:defRPr sz="2000" kern="0" baseline="0">
                <a:solidFill>
                  <a:schemeClr val="bg1"/>
                </a:solidFill>
                <a:latin typeface="+mj-lt"/>
              </a:defRPr>
            </a:lvl1pPr>
          </a:lstStyle>
          <a:p>
            <a:pPr lvl="0"/>
            <a:r>
              <a:rPr lang="sv-SE"/>
              <a:t>Eventuell underrubrik</a:t>
            </a:r>
          </a:p>
        </p:txBody>
      </p:sp>
      <p:sp>
        <p:nvSpPr>
          <p:cNvPr id="6" name="Platshållare för text 4">
            <a:extLst>
              <a:ext uri="{FF2B5EF4-FFF2-40B4-BE49-F238E27FC236}">
                <a16:creationId xmlns:a16="http://schemas.microsoft.com/office/drawing/2014/main" id="{384ED656-5CBC-4AAE-AA1E-D848C8E71DB6}"/>
              </a:ext>
            </a:extLst>
          </p:cNvPr>
          <p:cNvSpPr>
            <a:spLocks noGrp="1"/>
          </p:cNvSpPr>
          <p:nvPr>
            <p:ph type="body" sz="quarter" idx="11" hasCustomPrompt="1"/>
          </p:nvPr>
        </p:nvSpPr>
        <p:spPr>
          <a:xfrm>
            <a:off x="3405834" y="4655147"/>
            <a:ext cx="6854955" cy="251417"/>
          </a:xfrm>
        </p:spPr>
        <p:txBody>
          <a:bodyPr>
            <a:noAutofit/>
          </a:bodyPr>
          <a:lstStyle>
            <a:lvl1pPr marL="0" indent="0">
              <a:lnSpc>
                <a:spcPct val="100000"/>
              </a:lnSpc>
              <a:spcBef>
                <a:spcPts val="0"/>
              </a:spcBef>
              <a:buNone/>
              <a:defRPr sz="1600" kern="0" baseline="0">
                <a:solidFill>
                  <a:schemeClr val="bg1"/>
                </a:solidFill>
                <a:latin typeface="+mn-lt"/>
              </a:defRPr>
            </a:lvl1pPr>
          </a:lstStyle>
          <a:p>
            <a:pPr lvl="0"/>
            <a:r>
              <a:rPr lang="sv-SE"/>
              <a:t>Eventuellt namn på föredragshållare</a:t>
            </a:r>
          </a:p>
        </p:txBody>
      </p:sp>
      <p:sp>
        <p:nvSpPr>
          <p:cNvPr id="11" name="textruta 10">
            <a:extLst>
              <a:ext uri="{FF2B5EF4-FFF2-40B4-BE49-F238E27FC236}">
                <a16:creationId xmlns:a16="http://schemas.microsoft.com/office/drawing/2014/main" id="{2522B255-A89B-4F1E-A846-36B4A9F18AE3}"/>
              </a:ext>
            </a:extLst>
          </p:cNvPr>
          <p:cNvSpPr txBox="1"/>
          <p:nvPr userDrawn="1"/>
        </p:nvSpPr>
        <p:spPr>
          <a:xfrm>
            <a:off x="407987" y="580165"/>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pic>
        <p:nvPicPr>
          <p:cNvPr id="8" name="Bildobjekt 7" descr="Logo" title="Logo">
            <a:extLst>
              <a:ext uri="{FF2B5EF4-FFF2-40B4-BE49-F238E27FC236}">
                <a16:creationId xmlns:a16="http://schemas.microsoft.com/office/drawing/2014/main" id="{2DF30E6D-8B83-4DA1-ADDE-3B45462766FF}"/>
              </a:ext>
            </a:extLst>
          </p:cNvPr>
          <p:cNvPicPr>
            <a:picLocks noChangeAspect="1"/>
          </p:cNvPicPr>
          <p:nvPr userDrawn="1"/>
        </p:nvPicPr>
        <p:blipFill>
          <a:blip r:embed="rId2"/>
          <a:stretch>
            <a:fillRect/>
          </a:stretch>
        </p:blipFill>
        <p:spPr>
          <a:xfrm>
            <a:off x="10297795" y="401983"/>
            <a:ext cx="1481456" cy="499915"/>
          </a:xfrm>
          <a:prstGeom prst="rect">
            <a:avLst/>
          </a:prstGeom>
        </p:spPr>
      </p:pic>
      <p:grpSp>
        <p:nvGrpSpPr>
          <p:cNvPr id="4" name="Grupp 3">
            <a:extLst>
              <a:ext uri="{FF2B5EF4-FFF2-40B4-BE49-F238E27FC236}">
                <a16:creationId xmlns:a16="http://schemas.microsoft.com/office/drawing/2014/main" id="{AAA101A4-D221-D860-0AC4-76327060758A}"/>
              </a:ext>
            </a:extLst>
          </p:cNvPr>
          <p:cNvGrpSpPr/>
          <p:nvPr userDrawn="1"/>
        </p:nvGrpSpPr>
        <p:grpSpPr>
          <a:xfrm>
            <a:off x="407987" y="1759432"/>
            <a:ext cx="2600266" cy="4691098"/>
            <a:chOff x="407987" y="1759432"/>
            <a:chExt cx="2600266" cy="4691098"/>
          </a:xfrm>
          <a:solidFill>
            <a:schemeClr val="bg2"/>
          </a:solidFill>
        </p:grpSpPr>
        <p:sp>
          <p:nvSpPr>
            <p:cNvPr id="9" name="Frihandsfigur: Form 8">
              <a:extLst>
                <a:ext uri="{FF2B5EF4-FFF2-40B4-BE49-F238E27FC236}">
                  <a16:creationId xmlns:a16="http://schemas.microsoft.com/office/drawing/2014/main" id="{906CD125-F082-4C27-1D04-66CB69ACE3A8}"/>
                </a:ext>
              </a:extLst>
            </p:cNvPr>
            <p:cNvSpPr/>
            <p:nvPr/>
          </p:nvSpPr>
          <p:spPr>
            <a:xfrm>
              <a:off x="1104479" y="2799058"/>
              <a:ext cx="873633" cy="873633"/>
            </a:xfrm>
            <a:custGeom>
              <a:avLst/>
              <a:gdLst>
                <a:gd name="connsiteX0" fmla="*/ 873634 w 873633"/>
                <a:gd name="connsiteY0" fmla="*/ 436817 h 873633"/>
                <a:gd name="connsiteX1" fmla="*/ 436817 w 873633"/>
                <a:gd name="connsiteY1" fmla="*/ 873634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4"/>
                    <a:pt x="436817" y="873634"/>
                  </a:cubicBezTo>
                  <a:cubicBezTo>
                    <a:pt x="195570" y="873634"/>
                    <a:pt x="0" y="678064"/>
                    <a:pt x="0" y="436817"/>
                  </a:cubicBezTo>
                  <a:cubicBezTo>
                    <a:pt x="0" y="195570"/>
                    <a:pt x="195570" y="0"/>
                    <a:pt x="436817" y="0"/>
                  </a:cubicBezTo>
                  <a:cubicBezTo>
                    <a:pt x="678064" y="0"/>
                    <a:pt x="873634" y="195570"/>
                    <a:pt x="873634" y="436817"/>
                  </a:cubicBezTo>
                  <a:close/>
                </a:path>
              </a:pathLst>
            </a:custGeom>
            <a:grpFill/>
            <a:ln w="0" cap="flat">
              <a:noFill/>
              <a:prstDash val="solid"/>
              <a:miter/>
            </a:ln>
          </p:spPr>
          <p:txBody>
            <a:bodyPr rtlCol="0" anchor="ctr"/>
            <a:lstStyle/>
            <a:p>
              <a:endParaRPr lang="sv-SE"/>
            </a:p>
          </p:txBody>
        </p:sp>
        <p:sp>
          <p:nvSpPr>
            <p:cNvPr id="10" name="Frihandsfigur: Form 9">
              <a:extLst>
                <a:ext uri="{FF2B5EF4-FFF2-40B4-BE49-F238E27FC236}">
                  <a16:creationId xmlns:a16="http://schemas.microsoft.com/office/drawing/2014/main" id="{A317C725-25D0-1F2E-E155-478E65D53B67}"/>
                </a:ext>
              </a:extLst>
            </p:cNvPr>
            <p:cNvSpPr/>
            <p:nvPr/>
          </p:nvSpPr>
          <p:spPr>
            <a:xfrm>
              <a:off x="1104479" y="3836467"/>
              <a:ext cx="873633" cy="873633"/>
            </a:xfrm>
            <a:custGeom>
              <a:avLst/>
              <a:gdLst>
                <a:gd name="connsiteX0" fmla="*/ 873634 w 873633"/>
                <a:gd name="connsiteY0" fmla="*/ 436817 h 873633"/>
                <a:gd name="connsiteX1" fmla="*/ 436817 w 873633"/>
                <a:gd name="connsiteY1" fmla="*/ 873634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4"/>
                    <a:pt x="436817" y="873634"/>
                  </a:cubicBezTo>
                  <a:cubicBezTo>
                    <a:pt x="195570" y="873634"/>
                    <a:pt x="0" y="678064"/>
                    <a:pt x="0" y="436817"/>
                  </a:cubicBezTo>
                  <a:cubicBezTo>
                    <a:pt x="0" y="195570"/>
                    <a:pt x="195570" y="0"/>
                    <a:pt x="436817" y="0"/>
                  </a:cubicBezTo>
                  <a:cubicBezTo>
                    <a:pt x="678064" y="0"/>
                    <a:pt x="873634" y="195569"/>
                    <a:pt x="873634" y="436817"/>
                  </a:cubicBezTo>
                  <a:close/>
                </a:path>
              </a:pathLst>
            </a:custGeom>
            <a:grpFill/>
            <a:ln w="0" cap="flat">
              <a:noFill/>
              <a:prstDash val="solid"/>
              <a:miter/>
            </a:ln>
          </p:spPr>
          <p:txBody>
            <a:bodyPr rtlCol="0" anchor="ctr"/>
            <a:lstStyle/>
            <a:p>
              <a:endParaRPr lang="sv-SE"/>
            </a:p>
          </p:txBody>
        </p:sp>
        <p:sp>
          <p:nvSpPr>
            <p:cNvPr id="12" name="Frihandsfigur: Form 11">
              <a:extLst>
                <a:ext uri="{FF2B5EF4-FFF2-40B4-BE49-F238E27FC236}">
                  <a16:creationId xmlns:a16="http://schemas.microsoft.com/office/drawing/2014/main" id="{931EED72-8B87-EA7D-C2E3-0289A8907FC6}"/>
                </a:ext>
              </a:extLst>
            </p:cNvPr>
            <p:cNvSpPr/>
            <p:nvPr/>
          </p:nvSpPr>
          <p:spPr>
            <a:xfrm>
              <a:off x="1096102" y="4873814"/>
              <a:ext cx="873633" cy="873633"/>
            </a:xfrm>
            <a:custGeom>
              <a:avLst/>
              <a:gdLst>
                <a:gd name="connsiteX0" fmla="*/ 873634 w 873633"/>
                <a:gd name="connsiteY0" fmla="*/ 436817 h 873633"/>
                <a:gd name="connsiteX1" fmla="*/ 436817 w 873633"/>
                <a:gd name="connsiteY1" fmla="*/ 873633 h 873633"/>
                <a:gd name="connsiteX2" fmla="*/ 0 w 873633"/>
                <a:gd name="connsiteY2" fmla="*/ 436817 h 873633"/>
                <a:gd name="connsiteX3" fmla="*/ 436817 w 873633"/>
                <a:gd name="connsiteY3" fmla="*/ 0 h 873633"/>
                <a:gd name="connsiteX4" fmla="*/ 873634 w 873633"/>
                <a:gd name="connsiteY4" fmla="*/ 436817 h 87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633" h="873633">
                  <a:moveTo>
                    <a:pt x="873634" y="436817"/>
                  </a:moveTo>
                  <a:cubicBezTo>
                    <a:pt x="873634" y="678064"/>
                    <a:pt x="678064" y="873633"/>
                    <a:pt x="436817" y="873633"/>
                  </a:cubicBezTo>
                  <a:cubicBezTo>
                    <a:pt x="195570" y="873633"/>
                    <a:pt x="0" y="678064"/>
                    <a:pt x="0" y="436817"/>
                  </a:cubicBezTo>
                  <a:cubicBezTo>
                    <a:pt x="0" y="195570"/>
                    <a:pt x="195570" y="0"/>
                    <a:pt x="436817" y="0"/>
                  </a:cubicBezTo>
                  <a:cubicBezTo>
                    <a:pt x="678064" y="0"/>
                    <a:pt x="873634" y="195570"/>
                    <a:pt x="873634" y="436817"/>
                  </a:cubicBezTo>
                  <a:close/>
                </a:path>
              </a:pathLst>
            </a:custGeom>
            <a:grpFill/>
            <a:ln w="0" cap="flat">
              <a:noFill/>
              <a:prstDash val="solid"/>
              <a:miter/>
            </a:ln>
          </p:spPr>
          <p:txBody>
            <a:bodyPr rtlCol="0" anchor="ctr"/>
            <a:lstStyle/>
            <a:p>
              <a:endParaRPr lang="sv-SE"/>
            </a:p>
          </p:txBody>
        </p:sp>
        <p:sp>
          <p:nvSpPr>
            <p:cNvPr id="13" name="Frihandsfigur: Form 12">
              <a:extLst>
                <a:ext uri="{FF2B5EF4-FFF2-40B4-BE49-F238E27FC236}">
                  <a16:creationId xmlns:a16="http://schemas.microsoft.com/office/drawing/2014/main" id="{27C7242C-7E0B-CBC3-0250-3121ACE93B9E}"/>
                </a:ext>
              </a:extLst>
            </p:cNvPr>
            <p:cNvSpPr/>
            <p:nvPr/>
          </p:nvSpPr>
          <p:spPr>
            <a:xfrm>
              <a:off x="407987" y="1759432"/>
              <a:ext cx="531546" cy="2950607"/>
            </a:xfrm>
            <a:custGeom>
              <a:avLst/>
              <a:gdLst>
                <a:gd name="connsiteX0" fmla="*/ 313631 w 531546"/>
                <a:gd name="connsiteY0" fmla="*/ 2135549 h 2950607"/>
                <a:gd name="connsiteX1" fmla="*/ 240089 w 531546"/>
                <a:gd name="connsiteY1" fmla="*/ 1994747 h 2950607"/>
                <a:gd name="connsiteX2" fmla="*/ 240089 w 531546"/>
                <a:gd name="connsiteY2" fmla="*/ 1994378 h 2950607"/>
                <a:gd name="connsiteX3" fmla="*/ 322254 w 531546"/>
                <a:gd name="connsiteY3" fmla="*/ 1847848 h 2950607"/>
                <a:gd name="connsiteX4" fmla="*/ 530869 w 531546"/>
                <a:gd name="connsiteY4" fmla="*/ 1475334 h 2950607"/>
                <a:gd name="connsiteX5" fmla="*/ 322254 w 531546"/>
                <a:gd name="connsiteY5" fmla="*/ 1102821 h 2950607"/>
                <a:gd name="connsiteX6" fmla="*/ 240089 w 531546"/>
                <a:gd name="connsiteY6" fmla="*/ 956291 h 2950607"/>
                <a:gd name="connsiteX7" fmla="*/ 240089 w 531546"/>
                <a:gd name="connsiteY7" fmla="*/ 955922 h 2950607"/>
                <a:gd name="connsiteX8" fmla="*/ 323363 w 531546"/>
                <a:gd name="connsiteY8" fmla="*/ 808653 h 2950607"/>
                <a:gd name="connsiteX9" fmla="*/ 530869 w 531546"/>
                <a:gd name="connsiteY9" fmla="*/ 434723 h 2950607"/>
                <a:gd name="connsiteX10" fmla="*/ 94052 w 531546"/>
                <a:gd name="connsiteY10" fmla="*/ 0 h 2950607"/>
                <a:gd name="connsiteX11" fmla="*/ 0 w 531546"/>
                <a:gd name="connsiteY11" fmla="*/ 10286 h 2950607"/>
                <a:gd name="connsiteX12" fmla="*/ 0 w 531546"/>
                <a:gd name="connsiteY12" fmla="*/ 2940383 h 2950607"/>
                <a:gd name="connsiteX13" fmla="*/ 79948 w 531546"/>
                <a:gd name="connsiteY13" fmla="*/ 2950361 h 2950607"/>
                <a:gd name="connsiteX14" fmla="*/ 80132 w 531546"/>
                <a:gd name="connsiteY14" fmla="*/ 2950361 h 2950607"/>
                <a:gd name="connsiteX15" fmla="*/ 93991 w 531546"/>
                <a:gd name="connsiteY15" fmla="*/ 2950607 h 2950607"/>
                <a:gd name="connsiteX16" fmla="*/ 94422 w 531546"/>
                <a:gd name="connsiteY16" fmla="*/ 2950607 h 2950607"/>
                <a:gd name="connsiteX17" fmla="*/ 94730 w 531546"/>
                <a:gd name="connsiteY17" fmla="*/ 2950607 h 2950607"/>
                <a:gd name="connsiteX18" fmla="*/ 531547 w 531546"/>
                <a:gd name="connsiteY18" fmla="*/ 2513852 h 2950607"/>
                <a:gd name="connsiteX19" fmla="*/ 313569 w 531546"/>
                <a:gd name="connsiteY19" fmla="*/ 2135610 h 295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1546" h="2950607">
                  <a:moveTo>
                    <a:pt x="313631" y="2135549"/>
                  </a:moveTo>
                  <a:cubicBezTo>
                    <a:pt x="268052" y="2103151"/>
                    <a:pt x="240089" y="2051105"/>
                    <a:pt x="240089" y="1994747"/>
                  </a:cubicBezTo>
                  <a:lnTo>
                    <a:pt x="240089" y="1994378"/>
                  </a:lnTo>
                  <a:cubicBezTo>
                    <a:pt x="240089" y="1934571"/>
                    <a:pt x="271255" y="1879137"/>
                    <a:pt x="322254" y="1847848"/>
                  </a:cubicBezTo>
                  <a:cubicBezTo>
                    <a:pt x="447411" y="1771042"/>
                    <a:pt x="530869" y="1632951"/>
                    <a:pt x="530869" y="1475334"/>
                  </a:cubicBezTo>
                  <a:cubicBezTo>
                    <a:pt x="530869" y="1317718"/>
                    <a:pt x="447411" y="1179627"/>
                    <a:pt x="322254" y="1102821"/>
                  </a:cubicBezTo>
                  <a:cubicBezTo>
                    <a:pt x="271255" y="1071532"/>
                    <a:pt x="240089" y="1016098"/>
                    <a:pt x="240089" y="956291"/>
                  </a:cubicBezTo>
                  <a:lnTo>
                    <a:pt x="240089" y="955922"/>
                  </a:lnTo>
                  <a:cubicBezTo>
                    <a:pt x="240089" y="895622"/>
                    <a:pt x="272056" y="840373"/>
                    <a:pt x="323363" y="808653"/>
                  </a:cubicBezTo>
                  <a:cubicBezTo>
                    <a:pt x="448458" y="731354"/>
                    <a:pt x="531670" y="592708"/>
                    <a:pt x="530869" y="434723"/>
                  </a:cubicBezTo>
                  <a:cubicBezTo>
                    <a:pt x="529699" y="193956"/>
                    <a:pt x="334757" y="0"/>
                    <a:pt x="94052" y="0"/>
                  </a:cubicBezTo>
                  <a:cubicBezTo>
                    <a:pt x="61778" y="0"/>
                    <a:pt x="30304" y="3634"/>
                    <a:pt x="0" y="10286"/>
                  </a:cubicBezTo>
                  <a:lnTo>
                    <a:pt x="0" y="2940383"/>
                  </a:lnTo>
                  <a:cubicBezTo>
                    <a:pt x="25869" y="2946049"/>
                    <a:pt x="52600" y="2949499"/>
                    <a:pt x="79948" y="2950361"/>
                  </a:cubicBezTo>
                  <a:cubicBezTo>
                    <a:pt x="80009" y="2950361"/>
                    <a:pt x="80071" y="2950361"/>
                    <a:pt x="80132" y="2950361"/>
                  </a:cubicBezTo>
                  <a:cubicBezTo>
                    <a:pt x="84752" y="2950484"/>
                    <a:pt x="89371" y="2950607"/>
                    <a:pt x="93991" y="2950607"/>
                  </a:cubicBezTo>
                  <a:cubicBezTo>
                    <a:pt x="94114" y="2950607"/>
                    <a:pt x="94299" y="2950607"/>
                    <a:pt x="94422" y="2950607"/>
                  </a:cubicBezTo>
                  <a:cubicBezTo>
                    <a:pt x="94545" y="2950607"/>
                    <a:pt x="94668" y="2950607"/>
                    <a:pt x="94730" y="2950607"/>
                  </a:cubicBezTo>
                  <a:cubicBezTo>
                    <a:pt x="335989" y="2950607"/>
                    <a:pt x="531547" y="2755050"/>
                    <a:pt x="531547" y="2513852"/>
                  </a:cubicBezTo>
                  <a:cubicBezTo>
                    <a:pt x="531547" y="2352171"/>
                    <a:pt x="444023" y="2211123"/>
                    <a:pt x="313569" y="2135610"/>
                  </a:cubicBezTo>
                  <a:close/>
                </a:path>
              </a:pathLst>
            </a:custGeom>
            <a:grpFill/>
            <a:ln w="0" cap="flat">
              <a:noFill/>
              <a:prstDash val="solid"/>
              <a:miter/>
            </a:ln>
          </p:spPr>
          <p:txBody>
            <a:bodyPr rtlCol="0" anchor="ctr"/>
            <a:lstStyle/>
            <a:p>
              <a:endParaRPr lang="sv-SE"/>
            </a:p>
          </p:txBody>
        </p:sp>
        <p:sp>
          <p:nvSpPr>
            <p:cNvPr id="14" name="Frihandsfigur: Form 13">
              <a:extLst>
                <a:ext uri="{FF2B5EF4-FFF2-40B4-BE49-F238E27FC236}">
                  <a16:creationId xmlns:a16="http://schemas.microsoft.com/office/drawing/2014/main" id="{AB83852B-0BD2-B014-9BE3-9E3AEE103F64}"/>
                </a:ext>
              </a:extLst>
            </p:cNvPr>
            <p:cNvSpPr/>
            <p:nvPr/>
          </p:nvSpPr>
          <p:spPr>
            <a:xfrm>
              <a:off x="407987" y="4873691"/>
              <a:ext cx="523231" cy="873633"/>
            </a:xfrm>
            <a:custGeom>
              <a:avLst/>
              <a:gdLst>
                <a:gd name="connsiteX0" fmla="*/ 86415 w 523231"/>
                <a:gd name="connsiteY0" fmla="*/ 123 h 873633"/>
                <a:gd name="connsiteX1" fmla="*/ 0 w 523231"/>
                <a:gd name="connsiteY1" fmla="*/ 8685 h 873633"/>
                <a:gd name="connsiteX2" fmla="*/ 0 w 523231"/>
                <a:gd name="connsiteY2" fmla="*/ 865072 h 873633"/>
                <a:gd name="connsiteX3" fmla="*/ 86415 w 523231"/>
                <a:gd name="connsiteY3" fmla="*/ 873634 h 873633"/>
                <a:gd name="connsiteX4" fmla="*/ 523232 w 523231"/>
                <a:gd name="connsiteY4" fmla="*/ 436817 h 873633"/>
                <a:gd name="connsiteX5" fmla="*/ 86415 w 523231"/>
                <a:gd name="connsiteY5" fmla="*/ 0 h 87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231" h="873633">
                  <a:moveTo>
                    <a:pt x="86415" y="123"/>
                  </a:moveTo>
                  <a:cubicBezTo>
                    <a:pt x="56850" y="123"/>
                    <a:pt x="27963" y="3080"/>
                    <a:pt x="0" y="8685"/>
                  </a:cubicBezTo>
                  <a:lnTo>
                    <a:pt x="0" y="865072"/>
                  </a:lnTo>
                  <a:cubicBezTo>
                    <a:pt x="27902" y="870677"/>
                    <a:pt x="56789" y="873634"/>
                    <a:pt x="86415" y="873634"/>
                  </a:cubicBezTo>
                  <a:cubicBezTo>
                    <a:pt x="327674" y="873634"/>
                    <a:pt x="523232" y="678076"/>
                    <a:pt x="523232" y="436817"/>
                  </a:cubicBezTo>
                  <a:cubicBezTo>
                    <a:pt x="523232" y="195557"/>
                    <a:pt x="327674" y="0"/>
                    <a:pt x="86415" y="0"/>
                  </a:cubicBezTo>
                  <a:close/>
                </a:path>
              </a:pathLst>
            </a:custGeom>
            <a:grpFill/>
            <a:ln w="0" cap="flat">
              <a:noFill/>
              <a:prstDash val="solid"/>
              <a:miter/>
            </a:ln>
          </p:spPr>
          <p:txBody>
            <a:bodyPr rtlCol="0" anchor="ctr"/>
            <a:lstStyle/>
            <a:p>
              <a:endParaRPr lang="sv-SE"/>
            </a:p>
          </p:txBody>
        </p:sp>
        <p:sp>
          <p:nvSpPr>
            <p:cNvPr id="15" name="Frihandsfigur: Form 14">
              <a:extLst>
                <a:ext uri="{FF2B5EF4-FFF2-40B4-BE49-F238E27FC236}">
                  <a16:creationId xmlns:a16="http://schemas.microsoft.com/office/drawing/2014/main" id="{DB6CF48F-2C25-D39B-27EA-843CCDFC90CA}"/>
                </a:ext>
              </a:extLst>
            </p:cNvPr>
            <p:cNvSpPr/>
            <p:nvPr/>
          </p:nvSpPr>
          <p:spPr>
            <a:xfrm>
              <a:off x="408110" y="5911156"/>
              <a:ext cx="2600143" cy="539374"/>
            </a:xfrm>
            <a:custGeom>
              <a:avLst/>
              <a:gdLst>
                <a:gd name="connsiteX0" fmla="*/ 2587887 w 2600143"/>
                <a:gd name="connsiteY0" fmla="*/ 539375 h 539374"/>
                <a:gd name="connsiteX1" fmla="*/ 2600144 w 2600143"/>
                <a:gd name="connsiteY1" fmla="*/ 436822 h 539374"/>
                <a:gd name="connsiteX2" fmla="*/ 2165483 w 2600143"/>
                <a:gd name="connsiteY2" fmla="*/ 6 h 539374"/>
                <a:gd name="connsiteX3" fmla="*/ 1791553 w 2600143"/>
                <a:gd name="connsiteY3" fmla="*/ 207512 h 539374"/>
                <a:gd name="connsiteX4" fmla="*/ 1644284 w 2600143"/>
                <a:gd name="connsiteY4" fmla="*/ 290786 h 539374"/>
                <a:gd name="connsiteX5" fmla="*/ 1643914 w 2600143"/>
                <a:gd name="connsiteY5" fmla="*/ 290786 h 539374"/>
                <a:gd name="connsiteX6" fmla="*/ 1497385 w 2600143"/>
                <a:gd name="connsiteY6" fmla="*/ 208621 h 539374"/>
                <a:gd name="connsiteX7" fmla="*/ 1124871 w 2600143"/>
                <a:gd name="connsiteY7" fmla="*/ 6 h 539374"/>
                <a:gd name="connsiteX8" fmla="*/ 752357 w 2600143"/>
                <a:gd name="connsiteY8" fmla="*/ 208621 h 539374"/>
                <a:gd name="connsiteX9" fmla="*/ 605828 w 2600143"/>
                <a:gd name="connsiteY9" fmla="*/ 290786 h 539374"/>
                <a:gd name="connsiteX10" fmla="*/ 605458 w 2600143"/>
                <a:gd name="connsiteY10" fmla="*/ 290786 h 539374"/>
                <a:gd name="connsiteX11" fmla="*/ 458190 w 2600143"/>
                <a:gd name="connsiteY11" fmla="*/ 207512 h 539374"/>
                <a:gd name="connsiteX12" fmla="*/ 84259 w 2600143"/>
                <a:gd name="connsiteY12" fmla="*/ 6 h 539374"/>
                <a:gd name="connsiteX13" fmla="*/ 0 w 2600143"/>
                <a:gd name="connsiteY13" fmla="*/ 8567 h 539374"/>
                <a:gd name="connsiteX14" fmla="*/ 0 w 2600143"/>
                <a:gd name="connsiteY14" fmla="*/ 539313 h 539374"/>
                <a:gd name="connsiteX15" fmla="*/ 2588010 w 2600143"/>
                <a:gd name="connsiteY15" fmla="*/ 539313 h 53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00143" h="539374">
                  <a:moveTo>
                    <a:pt x="2587887" y="539375"/>
                  </a:moveTo>
                  <a:cubicBezTo>
                    <a:pt x="2595833" y="506484"/>
                    <a:pt x="2600144" y="472177"/>
                    <a:pt x="2600144" y="436822"/>
                  </a:cubicBezTo>
                  <a:cubicBezTo>
                    <a:pt x="2600144" y="196118"/>
                    <a:pt x="2406188" y="1176"/>
                    <a:pt x="2165483" y="6"/>
                  </a:cubicBezTo>
                  <a:cubicBezTo>
                    <a:pt x="2007436" y="-733"/>
                    <a:pt x="1868790" y="82417"/>
                    <a:pt x="1791553" y="207512"/>
                  </a:cubicBezTo>
                  <a:cubicBezTo>
                    <a:pt x="1759894" y="258819"/>
                    <a:pt x="1704583" y="290786"/>
                    <a:pt x="1644284" y="290786"/>
                  </a:cubicBezTo>
                  <a:lnTo>
                    <a:pt x="1643914" y="290786"/>
                  </a:lnTo>
                  <a:cubicBezTo>
                    <a:pt x="1584108" y="290786"/>
                    <a:pt x="1528674" y="259620"/>
                    <a:pt x="1497385" y="208621"/>
                  </a:cubicBezTo>
                  <a:cubicBezTo>
                    <a:pt x="1420579" y="83464"/>
                    <a:pt x="1282487" y="6"/>
                    <a:pt x="1124871" y="6"/>
                  </a:cubicBezTo>
                  <a:cubicBezTo>
                    <a:pt x="967255" y="6"/>
                    <a:pt x="829164" y="83464"/>
                    <a:pt x="752357" y="208621"/>
                  </a:cubicBezTo>
                  <a:cubicBezTo>
                    <a:pt x="721068" y="259620"/>
                    <a:pt x="665634" y="290786"/>
                    <a:pt x="605828" y="290786"/>
                  </a:cubicBezTo>
                  <a:lnTo>
                    <a:pt x="605458" y="290786"/>
                  </a:lnTo>
                  <a:cubicBezTo>
                    <a:pt x="545159" y="290786"/>
                    <a:pt x="489910" y="258819"/>
                    <a:pt x="458190" y="207512"/>
                  </a:cubicBezTo>
                  <a:cubicBezTo>
                    <a:pt x="380890" y="82417"/>
                    <a:pt x="242245" y="-795"/>
                    <a:pt x="84259" y="6"/>
                  </a:cubicBezTo>
                  <a:cubicBezTo>
                    <a:pt x="55434" y="129"/>
                    <a:pt x="27286" y="3147"/>
                    <a:pt x="0" y="8567"/>
                  </a:cubicBezTo>
                  <a:lnTo>
                    <a:pt x="0" y="539313"/>
                  </a:lnTo>
                  <a:lnTo>
                    <a:pt x="2588010" y="539313"/>
                  </a:lnTo>
                  <a:close/>
                </a:path>
              </a:pathLst>
            </a:custGeom>
            <a:grpFill/>
            <a:ln w="0" cap="flat">
              <a:noFill/>
              <a:prstDash val="solid"/>
              <a:miter/>
            </a:ln>
          </p:spPr>
          <p:txBody>
            <a:bodyPr rtlCol="0" anchor="ctr"/>
            <a:lstStyle/>
            <a:p>
              <a:endParaRPr lang="sv-SE"/>
            </a:p>
          </p:txBody>
        </p:sp>
      </p:grpSp>
    </p:spTree>
    <p:extLst>
      <p:ext uri="{BB962C8B-B14F-4D97-AF65-F5344CB8AC3E}">
        <p14:creationId xmlns:p14="http://schemas.microsoft.com/office/powerpoint/2010/main" val="3242777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5.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3.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9.pn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4.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tags" Target="../tags/tag2.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tags" Target="../tags/tag1.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image" Target="../media/image15.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theme" Target="../theme/theme6.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image" Target="../media/image14.emf"/><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20.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slideLayout" Target="../slideLayouts/slideLayout144.xml"/><Relationship Id="rId55" Type="http://schemas.openxmlformats.org/officeDocument/2006/relationships/slideLayout" Target="../slideLayouts/slideLayout149.xml"/><Relationship Id="rId63" Type="http://schemas.openxmlformats.org/officeDocument/2006/relationships/slideLayout" Target="../slideLayouts/slideLayout157.xml"/><Relationship Id="rId68" Type="http://schemas.openxmlformats.org/officeDocument/2006/relationships/image" Target="../media/image1.png"/><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3" Type="http://schemas.openxmlformats.org/officeDocument/2006/relationships/slideLayout" Target="../slideLayouts/slideLayout147.xml"/><Relationship Id="rId58" Type="http://schemas.openxmlformats.org/officeDocument/2006/relationships/slideLayout" Target="../slideLayouts/slideLayout152.xml"/><Relationship Id="rId66" Type="http://schemas.openxmlformats.org/officeDocument/2006/relationships/slideLayout" Target="../slideLayouts/slideLayout160.xml"/><Relationship Id="rId5" Type="http://schemas.openxmlformats.org/officeDocument/2006/relationships/slideLayout" Target="../slideLayouts/slideLayout99.xml"/><Relationship Id="rId61" Type="http://schemas.openxmlformats.org/officeDocument/2006/relationships/slideLayout" Target="../slideLayouts/slideLayout155.xml"/><Relationship Id="rId19" Type="http://schemas.openxmlformats.org/officeDocument/2006/relationships/slideLayout" Target="../slideLayouts/slideLayout11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56" Type="http://schemas.openxmlformats.org/officeDocument/2006/relationships/slideLayout" Target="../slideLayouts/slideLayout150.xml"/><Relationship Id="rId64" Type="http://schemas.openxmlformats.org/officeDocument/2006/relationships/slideLayout" Target="../slideLayouts/slideLayout158.xml"/><Relationship Id="rId8" Type="http://schemas.openxmlformats.org/officeDocument/2006/relationships/slideLayout" Target="../slideLayouts/slideLayout102.xml"/><Relationship Id="rId51" Type="http://schemas.openxmlformats.org/officeDocument/2006/relationships/slideLayout" Target="../slideLayouts/slideLayout145.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59" Type="http://schemas.openxmlformats.org/officeDocument/2006/relationships/slideLayout" Target="../slideLayouts/slideLayout153.xml"/><Relationship Id="rId67" Type="http://schemas.openxmlformats.org/officeDocument/2006/relationships/theme" Target="../theme/theme7.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54" Type="http://schemas.openxmlformats.org/officeDocument/2006/relationships/slideLayout" Target="../slideLayouts/slideLayout148.xml"/><Relationship Id="rId62" Type="http://schemas.openxmlformats.org/officeDocument/2006/relationships/slideLayout" Target="../slideLayouts/slideLayout15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slideLayout" Target="../slideLayouts/slideLayout143.xml"/><Relationship Id="rId57" Type="http://schemas.openxmlformats.org/officeDocument/2006/relationships/slideLayout" Target="../slideLayouts/slideLayout151.xml"/><Relationship Id="rId10" Type="http://schemas.openxmlformats.org/officeDocument/2006/relationships/slideLayout" Target="../slideLayouts/slideLayout104.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52" Type="http://schemas.openxmlformats.org/officeDocument/2006/relationships/slideLayout" Target="../slideLayouts/slideLayout146.xml"/><Relationship Id="rId60" Type="http://schemas.openxmlformats.org/officeDocument/2006/relationships/slideLayout" Target="../slideLayouts/slideLayout154.xml"/><Relationship Id="rId65" Type="http://schemas.openxmlformats.org/officeDocument/2006/relationships/slideLayout" Target="../slideLayouts/slideLayout159.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9" Type="http://schemas.openxmlformats.org/officeDocument/2006/relationships/slideLayout" Target="../slideLayouts/slideLayout13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image" Target="../media/image1.png"/><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theme" Target="../theme/theme8.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3" Type="http://schemas.openxmlformats.org/officeDocument/2006/relationships/slideLayout" Target="../slideLayouts/slideLayout179.xml"/><Relationship Id="rId21" Type="http://schemas.openxmlformats.org/officeDocument/2006/relationships/theme" Target="../theme/theme9.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Platshållare för rubrik 1">
            <a:extLst>
              <a:ext uri="{FF2B5EF4-FFF2-40B4-BE49-F238E27FC236}">
                <a16:creationId xmlns:a16="http://schemas.microsoft.com/office/drawing/2014/main" id="{0F91ECD4-9258-45E0-83DE-D200F507C8B7}"/>
              </a:ext>
            </a:extLst>
          </p:cNvPr>
          <p:cNvSpPr>
            <a:spLocks noGrp="1"/>
          </p:cNvSpPr>
          <p:nvPr>
            <p:ph type="title"/>
          </p:nvPr>
        </p:nvSpPr>
        <p:spPr>
          <a:xfrm>
            <a:off x="407988" y="404813"/>
            <a:ext cx="9170279" cy="736959"/>
          </a:xfrm>
          <a:prstGeom prst="rect">
            <a:avLst/>
          </a:prstGeom>
        </p:spPr>
        <p:txBody>
          <a:bodyPr vert="horz" lIns="0" tIns="45720" rIns="0" bIns="45720" rtlCol="0" anchor="ctr">
            <a:normAutofit/>
          </a:bodyPr>
          <a:lstStyle/>
          <a:p>
            <a:r>
              <a:rPr lang="sv-SE"/>
              <a:t>Klicka här för att ändra format</a:t>
            </a:r>
          </a:p>
        </p:txBody>
      </p:sp>
      <p:sp>
        <p:nvSpPr>
          <p:cNvPr id="8" name="textruta 7">
            <a:extLst>
              <a:ext uri="{FF2B5EF4-FFF2-40B4-BE49-F238E27FC236}">
                <a16:creationId xmlns:a16="http://schemas.microsoft.com/office/drawing/2014/main" id="{CAEB2E3D-92F2-44E1-BB5F-C8FAE387A996}"/>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a:solidFill>
                  <a:schemeClr val="tx1"/>
                </a:solidFill>
              </a:rPr>
              <a:t>Hållbar stad – öppen för världen</a:t>
            </a:r>
          </a:p>
        </p:txBody>
      </p:sp>
      <p:sp>
        <p:nvSpPr>
          <p:cNvPr id="3" name="Text Placeholder 2"/>
          <p:cNvSpPr>
            <a:spLocks noGrp="1"/>
          </p:cNvSpPr>
          <p:nvPr>
            <p:ph type="body" idx="1"/>
          </p:nvPr>
        </p:nvSpPr>
        <p:spPr>
          <a:xfrm>
            <a:off x="1056000" y="1744652"/>
            <a:ext cx="10080000" cy="4168785"/>
          </a:xfrm>
          <a:prstGeom prst="rect">
            <a:avLst/>
          </a:prstGeom>
        </p:spPr>
        <p:txBody>
          <a:bodyPr vert="horz" lIns="0" tIns="0" rIns="0" bIns="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pic>
        <p:nvPicPr>
          <p:cNvPr id="9" name="Bildobjekt 8" descr="Logo" title="Logo">
            <a:extLst>
              <a:ext uri="{FF2B5EF4-FFF2-40B4-BE49-F238E27FC236}">
                <a16:creationId xmlns:a16="http://schemas.microsoft.com/office/drawing/2014/main" id="{E827BE2D-9929-4BFA-9192-B82AEC788915}"/>
              </a:ext>
            </a:extLst>
          </p:cNvPr>
          <p:cNvPicPr>
            <a:picLocks noChangeAspect="1"/>
          </p:cNvPicPr>
          <p:nvPr userDrawn="1"/>
        </p:nvPicPr>
        <p:blipFill>
          <a:blip r:embed="rId20"/>
          <a:stretch>
            <a:fillRect/>
          </a:stretch>
        </p:blipFill>
        <p:spPr>
          <a:xfrm>
            <a:off x="10297795" y="401983"/>
            <a:ext cx="1481456" cy="499915"/>
          </a:xfrm>
          <a:prstGeom prst="rect">
            <a:avLst/>
          </a:prstGeom>
        </p:spPr>
      </p:pic>
      <p:sp>
        <p:nvSpPr>
          <p:cNvPr id="2" name="Platshållare för bildnummer 1">
            <a:extLst>
              <a:ext uri="{FF2B5EF4-FFF2-40B4-BE49-F238E27FC236}">
                <a16:creationId xmlns:a16="http://schemas.microsoft.com/office/drawing/2014/main" id="{048D0267-35CA-45BC-A225-E420D66A8569}"/>
              </a:ext>
            </a:extLst>
          </p:cNvPr>
          <p:cNvSpPr>
            <a:spLocks noGrp="1"/>
          </p:cNvSpPr>
          <p:nvPr>
            <p:ph type="sldNum" sz="quarter" idx="4"/>
          </p:nvPr>
        </p:nvSpPr>
        <p:spPr>
          <a:xfrm>
            <a:off x="11136000" y="6453187"/>
            <a:ext cx="643250" cy="144463"/>
          </a:xfrm>
          <a:prstGeom prst="rect">
            <a:avLst/>
          </a:prstGeom>
        </p:spPr>
        <p:txBody>
          <a:bodyPr vert="horz" lIns="0" tIns="180000" rIns="0" bIns="0" rtlCol="0" anchor="b" anchorCtr="0"/>
          <a:lstStyle>
            <a:lvl1pPr algn="r">
              <a:defRPr sz="1000" b="1">
                <a:solidFill>
                  <a:schemeClr val="tx1">
                    <a:lumMod val="95000"/>
                    <a:lumOff val="5000"/>
                  </a:schemeClr>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886967930"/>
      </p:ext>
    </p:extLst>
  </p:cSld>
  <p:clrMap bg1="lt1" tx1="dk1" bg2="lt2" tx2="dk2" accent1="accent1" accent2="accent2" accent3="accent3" accent4="accent4" accent5="accent5" accent6="accent6" hlink="hlink" folHlink="folHlink"/>
  <p:sldLayoutIdLst>
    <p:sldLayoutId id="2147484044" r:id="rId1"/>
    <p:sldLayoutId id="2147484048" r:id="rId2"/>
    <p:sldLayoutId id="2147484050" r:id="rId3"/>
    <p:sldLayoutId id="2147484051" r:id="rId4"/>
    <p:sldLayoutId id="2147484052" r:id="rId5"/>
    <p:sldLayoutId id="2147484053" r:id="rId6"/>
    <p:sldLayoutId id="2147484054" r:id="rId7"/>
    <p:sldLayoutId id="2147484055" r:id="rId8"/>
    <p:sldLayoutId id="2147484056" r:id="rId9"/>
    <p:sldLayoutId id="2147484049" r:id="rId10"/>
    <p:sldLayoutId id="2147484057" r:id="rId11"/>
    <p:sldLayoutId id="2147484058" r:id="rId12"/>
    <p:sldLayoutId id="2147484047" r:id="rId13"/>
    <p:sldLayoutId id="2147484408" r:id="rId14"/>
    <p:sldLayoutId id="2147484409" r:id="rId15"/>
    <p:sldLayoutId id="2147484043" r:id="rId16"/>
    <p:sldLayoutId id="2147484737" r:id="rId17"/>
    <p:sldLayoutId id="2147484738" r:id="rId18"/>
  </p:sldLayoutIdLst>
  <p:hf sldNum="0" hdr="0" ftr="0" dt="0"/>
  <p:txStyles>
    <p:titleStyle>
      <a:lvl1pPr algn="l" defTabSz="914332" rtl="0" eaLnBrk="1" latinLnBrk="0" hangingPunct="1">
        <a:lnSpc>
          <a:spcPct val="90000"/>
        </a:lnSpc>
        <a:spcBef>
          <a:spcPct val="0"/>
        </a:spcBef>
        <a:buNone/>
        <a:defRPr sz="3000" b="1" kern="0" spc="0" baseline="0">
          <a:solidFill>
            <a:schemeClr val="tx1"/>
          </a:solidFill>
          <a:latin typeface="+mj-lt"/>
          <a:ea typeface="+mj-ea"/>
          <a:cs typeface="+mj-cs"/>
        </a:defRPr>
      </a:lvl1pPr>
    </p:titleStyle>
    <p:body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0" userDrawn="1">
          <p15:clr>
            <a:srgbClr val="F26B43"/>
          </p15:clr>
        </p15:guide>
        <p15:guide id="9" orient="horz" pos="255" userDrawn="1">
          <p15:clr>
            <a:srgbClr val="F26B43"/>
          </p15:clr>
        </p15:guide>
        <p15:guide id="10" pos="257" userDrawn="1">
          <p15:clr>
            <a:srgbClr val="F26B43"/>
          </p15:clr>
        </p15:guide>
        <p15:guide id="11" pos="7423" userDrawn="1">
          <p15:clr>
            <a:srgbClr val="F26B43"/>
          </p15:clr>
        </p15:guide>
        <p15:guide id="12" orient="horz" pos="4156" userDrawn="1">
          <p15:clr>
            <a:srgbClr val="F26B43"/>
          </p15:clr>
        </p15:guide>
        <p15:guide id="14" orient="horz" pos="1095" userDrawn="1">
          <p15:clr>
            <a:srgbClr val="F26B43"/>
          </p15:clr>
        </p15:guide>
        <p15:guide id="15" orient="horz" pos="550" userDrawn="1">
          <p15:clr>
            <a:srgbClr val="F26B43"/>
          </p15:clr>
        </p15:guide>
        <p15:guide id="16" orient="horz" pos="3725" userDrawn="1">
          <p15:clr>
            <a:srgbClr val="F26B43"/>
          </p15:clr>
        </p15:guide>
        <p15:guide id="17" orient="horz" pos="40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Platshållare för rubrik 1">
            <a:extLst>
              <a:ext uri="{FF2B5EF4-FFF2-40B4-BE49-F238E27FC236}">
                <a16:creationId xmlns:a16="http://schemas.microsoft.com/office/drawing/2014/main" id="{0F91ECD4-9258-45E0-83DE-D200F507C8B7}"/>
              </a:ext>
            </a:extLst>
          </p:cNvPr>
          <p:cNvSpPr>
            <a:spLocks noGrp="1"/>
          </p:cNvSpPr>
          <p:nvPr>
            <p:ph type="title"/>
          </p:nvPr>
        </p:nvSpPr>
        <p:spPr>
          <a:xfrm>
            <a:off x="407988" y="404813"/>
            <a:ext cx="9170279" cy="736959"/>
          </a:xfrm>
          <a:prstGeom prst="rect">
            <a:avLst/>
          </a:prstGeom>
        </p:spPr>
        <p:txBody>
          <a:bodyPr vert="horz" lIns="0" tIns="45720" rIns="0" bIns="45720" rtlCol="0" anchor="ctr">
            <a:normAutofit/>
          </a:bodyPr>
          <a:lstStyle/>
          <a:p>
            <a:r>
              <a:rPr lang="sv-SE"/>
              <a:t>Klicka här för att ändra format</a:t>
            </a:r>
          </a:p>
        </p:txBody>
      </p:sp>
      <p:sp>
        <p:nvSpPr>
          <p:cNvPr id="3" name="Text Placeholder 2"/>
          <p:cNvSpPr>
            <a:spLocks noGrp="1"/>
          </p:cNvSpPr>
          <p:nvPr>
            <p:ph type="body" idx="1"/>
          </p:nvPr>
        </p:nvSpPr>
        <p:spPr>
          <a:xfrm>
            <a:off x="1056000" y="1744652"/>
            <a:ext cx="10080000" cy="4168785"/>
          </a:xfrm>
          <a:prstGeom prst="rect">
            <a:avLst/>
          </a:prstGeom>
        </p:spPr>
        <p:txBody>
          <a:bodyPr vert="horz" lIns="0" tIns="0" rIns="0" bIns="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pic>
        <p:nvPicPr>
          <p:cNvPr id="9" name="Bildobjekt 8" descr="Logo" title="Logo">
            <a:extLst>
              <a:ext uri="{FF2B5EF4-FFF2-40B4-BE49-F238E27FC236}">
                <a16:creationId xmlns:a16="http://schemas.microsoft.com/office/drawing/2014/main" id="{E827BE2D-9929-4BFA-9192-B82AEC788915}"/>
              </a:ext>
            </a:extLst>
          </p:cNvPr>
          <p:cNvPicPr>
            <a:picLocks noChangeAspect="1"/>
          </p:cNvPicPr>
          <p:nvPr userDrawn="1"/>
        </p:nvPicPr>
        <p:blipFill>
          <a:blip r:embed="rId18"/>
          <a:stretch>
            <a:fillRect/>
          </a:stretch>
        </p:blipFill>
        <p:spPr>
          <a:xfrm>
            <a:off x="10297795" y="401983"/>
            <a:ext cx="1481456" cy="499915"/>
          </a:xfrm>
          <a:prstGeom prst="rect">
            <a:avLst/>
          </a:prstGeom>
        </p:spPr>
      </p:pic>
      <p:sp>
        <p:nvSpPr>
          <p:cNvPr id="7" name="textruta 6">
            <a:extLst>
              <a:ext uri="{FF2B5EF4-FFF2-40B4-BE49-F238E27FC236}">
                <a16:creationId xmlns:a16="http://schemas.microsoft.com/office/drawing/2014/main" id="{7DFF76B2-A88A-470E-B646-73BDC425A6E8}"/>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a:solidFill>
                  <a:schemeClr val="tx1"/>
                </a:solidFill>
              </a:rPr>
              <a:t>Hållbar stad – öppen för världen</a:t>
            </a:r>
          </a:p>
        </p:txBody>
      </p:sp>
      <p:sp>
        <p:nvSpPr>
          <p:cNvPr id="10" name="Platshållare för bildnummer 1">
            <a:extLst>
              <a:ext uri="{FF2B5EF4-FFF2-40B4-BE49-F238E27FC236}">
                <a16:creationId xmlns:a16="http://schemas.microsoft.com/office/drawing/2014/main" id="{4D8D5E03-09FD-47B8-83A3-7C8B23D877BF}"/>
              </a:ext>
            </a:extLst>
          </p:cNvPr>
          <p:cNvSpPr>
            <a:spLocks noGrp="1"/>
          </p:cNvSpPr>
          <p:nvPr>
            <p:ph type="sldNum" sz="quarter" idx="4"/>
          </p:nvPr>
        </p:nvSpPr>
        <p:spPr>
          <a:xfrm>
            <a:off x="11136000" y="6453187"/>
            <a:ext cx="643250" cy="144463"/>
          </a:xfrm>
          <a:prstGeom prst="rect">
            <a:avLst/>
          </a:prstGeom>
        </p:spPr>
        <p:txBody>
          <a:bodyPr vert="horz" lIns="0" tIns="180000" rIns="0" bIns="0" rtlCol="0" anchor="b" anchorCtr="0"/>
          <a:lstStyle>
            <a:lvl1pPr algn="r">
              <a:defRPr sz="1000" b="1">
                <a:solidFill>
                  <a:schemeClr val="tx1">
                    <a:lumMod val="95000"/>
                    <a:lumOff val="5000"/>
                  </a:schemeClr>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1096936714"/>
      </p:ext>
    </p:extLst>
  </p:cSld>
  <p:clrMap bg1="lt1" tx1="dk1" bg2="lt2" tx2="dk2" accent1="accent1" accent2="accent2" accent3="accent3" accent4="accent4" accent5="accent5" accent6="accent6" hlink="hlink" folHlink="folHlink"/>
  <p:sldLayoutIdLst>
    <p:sldLayoutId id="2147484445" r:id="rId1"/>
    <p:sldLayoutId id="2147484446" r:id="rId2"/>
    <p:sldLayoutId id="2147484447" r:id="rId3"/>
    <p:sldLayoutId id="2147484448" r:id="rId4"/>
    <p:sldLayoutId id="2147484449" r:id="rId5"/>
    <p:sldLayoutId id="2147484450" r:id="rId6"/>
    <p:sldLayoutId id="2147484451" r:id="rId7"/>
    <p:sldLayoutId id="2147484452" r:id="rId8"/>
    <p:sldLayoutId id="2147484453" r:id="rId9"/>
    <p:sldLayoutId id="2147484454" r:id="rId10"/>
    <p:sldLayoutId id="2147484455" r:id="rId11"/>
    <p:sldLayoutId id="2147484456" r:id="rId12"/>
    <p:sldLayoutId id="2147484457" r:id="rId13"/>
    <p:sldLayoutId id="2147484458" r:id="rId14"/>
    <p:sldLayoutId id="2147484459" r:id="rId15"/>
    <p:sldLayoutId id="2147484460" r:id="rId16"/>
  </p:sldLayoutIdLst>
  <p:hf sldNum="0" hdr="0" ftr="0" dt="0"/>
  <p:txStyles>
    <p:titleStyle>
      <a:lvl1pPr algn="l" defTabSz="914332" rtl="0" eaLnBrk="1" latinLnBrk="0" hangingPunct="1">
        <a:lnSpc>
          <a:spcPct val="90000"/>
        </a:lnSpc>
        <a:spcBef>
          <a:spcPct val="0"/>
        </a:spcBef>
        <a:buNone/>
        <a:defRPr sz="3000" b="1" kern="0" spc="0" baseline="0">
          <a:solidFill>
            <a:schemeClr val="tx1"/>
          </a:solidFill>
          <a:latin typeface="+mj-lt"/>
          <a:ea typeface="+mj-ea"/>
          <a:cs typeface="+mj-cs"/>
        </a:defRPr>
      </a:lvl1pPr>
    </p:titleStyle>
    <p:body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0">
          <p15:clr>
            <a:srgbClr val="F26B43"/>
          </p15:clr>
        </p15:guide>
        <p15:guide id="9" orient="horz" pos="255">
          <p15:clr>
            <a:srgbClr val="F26B43"/>
          </p15:clr>
        </p15:guide>
        <p15:guide id="10" pos="257">
          <p15:clr>
            <a:srgbClr val="F26B43"/>
          </p15:clr>
        </p15:guide>
        <p15:guide id="11" pos="7423">
          <p15:clr>
            <a:srgbClr val="F26B43"/>
          </p15:clr>
        </p15:guide>
        <p15:guide id="12" orient="horz" pos="4156">
          <p15:clr>
            <a:srgbClr val="F26B43"/>
          </p15:clr>
        </p15:guide>
        <p15:guide id="14" orient="horz" pos="1095">
          <p15:clr>
            <a:srgbClr val="F26B43"/>
          </p15:clr>
        </p15:guide>
        <p15:guide id="15" orient="horz" pos="550">
          <p15:clr>
            <a:srgbClr val="F26B43"/>
          </p15:clr>
        </p15:guide>
        <p15:guide id="16" orient="horz" pos="3725">
          <p15:clr>
            <a:srgbClr val="F26B43"/>
          </p15:clr>
        </p15:guide>
        <p15:guide id="17" orient="horz" pos="40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Platshållare för text 3">
            <a:extLst>
              <a:ext uri="{FF2B5EF4-FFF2-40B4-BE49-F238E27FC236}">
                <a16:creationId xmlns:a16="http://schemas.microsoft.com/office/drawing/2014/main" id="{00FBB823-5F81-D746-A85E-84CFC43C8D77}"/>
              </a:ext>
            </a:extLst>
          </p:cNvPr>
          <p:cNvSpPr txBox="1">
            <a:spLocks/>
          </p:cNvSpPr>
          <p:nvPr userDrawn="1"/>
        </p:nvSpPr>
        <p:spPr>
          <a:xfrm>
            <a:off x="353847" y="360975"/>
            <a:ext cx="1361464" cy="337302"/>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a:t> </a:t>
            </a:r>
          </a:p>
        </p:txBody>
      </p:sp>
    </p:spTree>
    <p:extLst>
      <p:ext uri="{BB962C8B-B14F-4D97-AF65-F5344CB8AC3E}">
        <p14:creationId xmlns:p14="http://schemas.microsoft.com/office/powerpoint/2010/main" val="2744133488"/>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F418F3A3-2C62-4D3E-AB0D-F72792101B50}"/>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089904"/>
            <a:ext cx="12192000" cy="768096"/>
          </a:xfrm>
          <a:prstGeom prst="rect">
            <a:avLst/>
          </a:prstGeom>
        </p:spPr>
      </p:pic>
      <p:sp>
        <p:nvSpPr>
          <p:cNvPr id="2" name="Platshållare för rubrik 1">
            <a:extLst>
              <a:ext uri="{FF2B5EF4-FFF2-40B4-BE49-F238E27FC236}">
                <a16:creationId xmlns:a16="http://schemas.microsoft.com/office/drawing/2014/main" id="{D3018035-F629-47B3-8BFF-4BC318A1BE3C}"/>
              </a:ext>
            </a:extLst>
          </p:cNvPr>
          <p:cNvSpPr>
            <a:spLocks noGrp="1"/>
          </p:cNvSpPr>
          <p:nvPr>
            <p:ph type="title"/>
          </p:nvPr>
        </p:nvSpPr>
        <p:spPr>
          <a:xfrm>
            <a:off x="1057689" y="1072800"/>
            <a:ext cx="10076400" cy="986400"/>
          </a:xfrm>
          <a:prstGeom prst="rect">
            <a:avLst/>
          </a:prstGeom>
        </p:spPr>
        <p:txBody>
          <a:bodyPr vert="horz" lIns="91440" tIns="45720" rIns="91440" bIns="45720" rtlCol="0" anchor="t" anchorCtr="0">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A4F7FC8D-4770-4D10-B3D4-2D700E0A5126}"/>
              </a:ext>
            </a:extLst>
          </p:cNvPr>
          <p:cNvSpPr>
            <a:spLocks noGrp="1"/>
          </p:cNvSpPr>
          <p:nvPr>
            <p:ph type="body" idx="1"/>
          </p:nvPr>
        </p:nvSpPr>
        <p:spPr>
          <a:xfrm>
            <a:off x="1057689" y="2142000"/>
            <a:ext cx="10076400" cy="3726000"/>
          </a:xfrm>
          <a:prstGeom prst="rect">
            <a:avLst/>
          </a:prstGeom>
        </p:spPr>
        <p:txBody>
          <a:bodyPr vert="horz" lIns="91440" tIns="45720" rIns="91440" bIns="45720" rtlCol="0">
            <a:normAutofit/>
          </a:bodyPr>
          <a:lstStyle/>
          <a:p>
            <a:pPr lvl="0">
              <a:spcBef>
                <a:spcPts val="1700"/>
              </a:spcBef>
            </a:pPr>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textruta 8">
            <a:extLst>
              <a:ext uri="{FF2B5EF4-FFF2-40B4-BE49-F238E27FC236}">
                <a16:creationId xmlns:a16="http://schemas.microsoft.com/office/drawing/2014/main" id="{36D59584-830D-4481-933D-C1FBA151001D}"/>
              </a:ext>
            </a:extLst>
          </p:cNvPr>
          <p:cNvSpPr txBox="1"/>
          <p:nvPr userDrawn="1"/>
        </p:nvSpPr>
        <p:spPr>
          <a:xfrm>
            <a:off x="10174942" y="6330783"/>
            <a:ext cx="1846729" cy="276999"/>
          </a:xfrm>
          <a:prstGeom prst="rect">
            <a:avLst/>
          </a:prstGeom>
          <a:noFill/>
        </p:spPr>
        <p:txBody>
          <a:bodyPr wrap="square" rtlCol="0">
            <a:spAutoFit/>
          </a:bodyPr>
          <a:lstStyle/>
          <a:p>
            <a:r>
              <a:rPr lang="sv-SE" sz="1200">
                <a:solidFill>
                  <a:srgbClr val="545454"/>
                </a:solidFill>
              </a:rPr>
              <a:t>En del av Göteborgs Stad</a:t>
            </a:r>
          </a:p>
        </p:txBody>
      </p:sp>
      <p:pic>
        <p:nvPicPr>
          <p:cNvPr id="4" name="Logo"/>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227070" y="6316282"/>
            <a:ext cx="1926952" cy="306000"/>
          </a:xfrm>
          <a:prstGeom prst="rect">
            <a:avLst/>
          </a:prstGeom>
        </p:spPr>
      </p:pic>
    </p:spTree>
    <p:extLst>
      <p:ext uri="{BB962C8B-B14F-4D97-AF65-F5344CB8AC3E}">
        <p14:creationId xmlns:p14="http://schemas.microsoft.com/office/powerpoint/2010/main" val="3823354542"/>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Lst>
  <p:hf sldNum="0" hdr="0" ftr="0" dt="0"/>
  <p:txStyles>
    <p:titleStyle>
      <a:lvl1pPr algn="l" defTabSz="914400" rtl="0" eaLnBrk="1" latinLnBrk="0" hangingPunct="1">
        <a:lnSpc>
          <a:spcPct val="90000"/>
        </a:lnSpc>
        <a:spcBef>
          <a:spcPct val="0"/>
        </a:spcBef>
        <a:buNone/>
        <a:defRPr sz="3000" b="1" kern="1200" spc="0" baseline="0">
          <a:solidFill>
            <a:schemeClr val="accent2"/>
          </a:solidFill>
          <a:latin typeface="+mj-lt"/>
          <a:ea typeface="+mj-ea"/>
          <a:cs typeface="+mj-cs"/>
        </a:defRPr>
      </a:lvl1pPr>
    </p:titleStyle>
    <p:bodyStyle>
      <a:lvl1pPr marL="268288" indent="-268288" algn="l" defTabSz="914400" rtl="0" eaLnBrk="1" latinLnBrk="0" hangingPunct="1">
        <a:lnSpc>
          <a:spcPct val="90000"/>
        </a:lnSpc>
        <a:spcBef>
          <a:spcPts val="2000"/>
        </a:spcBef>
        <a:buFont typeface="Arial" panose="020B0604020202020204" pitchFamily="34" charset="0"/>
        <a:buChar char="•"/>
        <a:defRPr lang="sv-SE" sz="20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sv-SE" sz="2000" kern="1200" dirty="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sv-SE" sz="2000" kern="1200" dirty="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sv-SE" sz="2000" kern="1200" dirty="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sv-SE" sz="2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2160">
          <p15:clr>
            <a:srgbClr val="F26B43"/>
          </p15:clr>
        </p15:guide>
        <p15:guide id="4" pos="665">
          <p15:clr>
            <a:srgbClr val="F26B43"/>
          </p15:clr>
        </p15:guide>
        <p15:guide id="5" orient="horz" pos="663">
          <p15:clr>
            <a:srgbClr val="F26B43"/>
          </p15:clr>
        </p15:guide>
        <p15:guide id="6" pos="7015">
          <p15:clr>
            <a:srgbClr val="F26B43"/>
          </p15:clr>
        </p15:guide>
        <p15:guide id="7" orient="horz" pos="370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Platshållare för rubrik 1">
            <a:extLst>
              <a:ext uri="{FF2B5EF4-FFF2-40B4-BE49-F238E27FC236}">
                <a16:creationId xmlns:a16="http://schemas.microsoft.com/office/drawing/2014/main" id="{0F91ECD4-9258-45E0-83DE-D200F507C8B7}"/>
              </a:ext>
            </a:extLst>
          </p:cNvPr>
          <p:cNvSpPr>
            <a:spLocks noGrp="1"/>
          </p:cNvSpPr>
          <p:nvPr>
            <p:ph type="title"/>
          </p:nvPr>
        </p:nvSpPr>
        <p:spPr>
          <a:xfrm>
            <a:off x="407988" y="404813"/>
            <a:ext cx="9170279" cy="736959"/>
          </a:xfrm>
          <a:prstGeom prst="rect">
            <a:avLst/>
          </a:prstGeom>
        </p:spPr>
        <p:txBody>
          <a:bodyPr vert="horz" lIns="0" tIns="45720" rIns="0" bIns="45720" rtlCol="0" anchor="ctr">
            <a:normAutofit/>
          </a:bodyPr>
          <a:lstStyle/>
          <a:p>
            <a:r>
              <a:rPr lang="sv-SE"/>
              <a:t>Klicka här för att ändra format</a:t>
            </a:r>
          </a:p>
        </p:txBody>
      </p:sp>
      <p:sp>
        <p:nvSpPr>
          <p:cNvPr id="3" name="Text Placeholder 2"/>
          <p:cNvSpPr>
            <a:spLocks noGrp="1"/>
          </p:cNvSpPr>
          <p:nvPr>
            <p:ph type="body" idx="1"/>
          </p:nvPr>
        </p:nvSpPr>
        <p:spPr>
          <a:xfrm>
            <a:off x="1056000" y="1744652"/>
            <a:ext cx="10080000" cy="4168785"/>
          </a:xfrm>
          <a:prstGeom prst="rect">
            <a:avLst/>
          </a:prstGeom>
        </p:spPr>
        <p:txBody>
          <a:bodyPr vert="horz" lIns="0" tIns="0" rIns="0" bIns="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pic>
        <p:nvPicPr>
          <p:cNvPr id="9" name="Bildobjekt 8" descr="Logo" title="Logo">
            <a:extLst>
              <a:ext uri="{FF2B5EF4-FFF2-40B4-BE49-F238E27FC236}">
                <a16:creationId xmlns:a16="http://schemas.microsoft.com/office/drawing/2014/main" id="{E827BE2D-9929-4BFA-9192-B82AEC788915}"/>
              </a:ext>
            </a:extLst>
          </p:cNvPr>
          <p:cNvPicPr>
            <a:picLocks noChangeAspect="1"/>
          </p:cNvPicPr>
          <p:nvPr userDrawn="1"/>
        </p:nvPicPr>
        <p:blipFill>
          <a:blip r:embed="rId18"/>
          <a:stretch>
            <a:fillRect/>
          </a:stretch>
        </p:blipFill>
        <p:spPr>
          <a:xfrm>
            <a:off x="10297795" y="401983"/>
            <a:ext cx="1481456" cy="499915"/>
          </a:xfrm>
          <a:prstGeom prst="rect">
            <a:avLst/>
          </a:prstGeom>
        </p:spPr>
      </p:pic>
      <p:sp>
        <p:nvSpPr>
          <p:cNvPr id="7" name="textruta 6">
            <a:extLst>
              <a:ext uri="{FF2B5EF4-FFF2-40B4-BE49-F238E27FC236}">
                <a16:creationId xmlns:a16="http://schemas.microsoft.com/office/drawing/2014/main" id="{7DFF76B2-A88A-470E-B646-73BDC425A6E8}"/>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a:solidFill>
                  <a:schemeClr val="tx1"/>
                </a:solidFill>
              </a:rPr>
              <a:t>Hållbar stad – öppen för världen</a:t>
            </a:r>
          </a:p>
        </p:txBody>
      </p:sp>
      <p:sp>
        <p:nvSpPr>
          <p:cNvPr id="10" name="Platshållare för bildnummer 1">
            <a:extLst>
              <a:ext uri="{FF2B5EF4-FFF2-40B4-BE49-F238E27FC236}">
                <a16:creationId xmlns:a16="http://schemas.microsoft.com/office/drawing/2014/main" id="{4D8D5E03-09FD-47B8-83A3-7C8B23D877BF}"/>
              </a:ext>
            </a:extLst>
          </p:cNvPr>
          <p:cNvSpPr>
            <a:spLocks noGrp="1"/>
          </p:cNvSpPr>
          <p:nvPr>
            <p:ph type="sldNum" sz="quarter" idx="4"/>
          </p:nvPr>
        </p:nvSpPr>
        <p:spPr>
          <a:xfrm>
            <a:off x="11136000" y="6453187"/>
            <a:ext cx="643250" cy="144463"/>
          </a:xfrm>
          <a:prstGeom prst="rect">
            <a:avLst/>
          </a:prstGeom>
        </p:spPr>
        <p:txBody>
          <a:bodyPr vert="horz" lIns="0" tIns="180000" rIns="0" bIns="0" rtlCol="0" anchor="b" anchorCtr="0"/>
          <a:lstStyle>
            <a:lvl1pPr algn="r">
              <a:defRPr sz="1000" b="1">
                <a:solidFill>
                  <a:schemeClr val="tx1">
                    <a:lumMod val="95000"/>
                    <a:lumOff val="5000"/>
                  </a:schemeClr>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23246222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Lst>
  <p:hf sldNum="0" hdr="0" ftr="0" dt="0"/>
  <p:txStyles>
    <p:titleStyle>
      <a:lvl1pPr algn="l" defTabSz="914332" rtl="0" eaLnBrk="1" latinLnBrk="0" hangingPunct="1">
        <a:lnSpc>
          <a:spcPct val="90000"/>
        </a:lnSpc>
        <a:spcBef>
          <a:spcPct val="0"/>
        </a:spcBef>
        <a:buNone/>
        <a:defRPr sz="3000" b="1" kern="0" spc="0" baseline="0">
          <a:solidFill>
            <a:schemeClr val="tx1"/>
          </a:solidFill>
          <a:latin typeface="+mj-lt"/>
          <a:ea typeface="+mj-ea"/>
          <a:cs typeface="+mj-cs"/>
        </a:defRPr>
      </a:lvl1pPr>
    </p:titleStyle>
    <p:body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0">
          <p15:clr>
            <a:srgbClr val="F26B43"/>
          </p15:clr>
        </p15:guide>
        <p15:guide id="9" orient="horz" pos="255">
          <p15:clr>
            <a:srgbClr val="F26B43"/>
          </p15:clr>
        </p15:guide>
        <p15:guide id="10" pos="257">
          <p15:clr>
            <a:srgbClr val="F26B43"/>
          </p15:clr>
        </p15:guide>
        <p15:guide id="11" pos="7423">
          <p15:clr>
            <a:srgbClr val="F26B43"/>
          </p15:clr>
        </p15:guide>
        <p15:guide id="12" orient="horz" pos="4156">
          <p15:clr>
            <a:srgbClr val="F26B43"/>
          </p15:clr>
        </p15:guide>
        <p15:guide id="14" orient="horz" pos="1095">
          <p15:clr>
            <a:srgbClr val="F26B43"/>
          </p15:clr>
        </p15:guide>
        <p15:guide id="15" orient="horz" pos="550">
          <p15:clr>
            <a:srgbClr val="F26B43"/>
          </p15:clr>
        </p15:guide>
        <p15:guide id="16" orient="horz" pos="3725">
          <p15:clr>
            <a:srgbClr val="F26B43"/>
          </p15:clr>
        </p15:guide>
        <p15:guide id="17" orient="horz" pos="40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5"/>
            </p:custDataLst>
            <p:extLst>
              <p:ext uri="{D42A27DB-BD31-4B8C-83A1-F6EECF244321}">
                <p14:modId xmlns:p14="http://schemas.microsoft.com/office/powerpoint/2010/main" val="260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98" imgH="499" progId="TCLayout.ActiveDocument.1">
                  <p:embed/>
                </p:oleObj>
              </mc:Choice>
              <mc:Fallback>
                <p:oleObj name="think-cell Slide" r:id="rId27"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4/11/2025</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653813753"/>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3" r:id="rId5"/>
    <p:sldLayoutId id="2147484614" r:id="rId6"/>
    <p:sldLayoutId id="2147484615" r:id="rId7"/>
    <p:sldLayoutId id="2147484616" r:id="rId8"/>
    <p:sldLayoutId id="2147484617" r:id="rId9"/>
    <p:sldLayoutId id="2147484618" r:id="rId10"/>
    <p:sldLayoutId id="2147484619" r:id="rId11"/>
    <p:sldLayoutId id="2147484620" r:id="rId12"/>
    <p:sldLayoutId id="2147484621" r:id="rId13"/>
    <p:sldLayoutId id="2147484622" r:id="rId14"/>
    <p:sldLayoutId id="2147484623" r:id="rId15"/>
    <p:sldLayoutId id="2147484624" r:id="rId16"/>
    <p:sldLayoutId id="2147484625" r:id="rId17"/>
    <p:sldLayoutId id="2147484626" r:id="rId18"/>
    <p:sldLayoutId id="2147484627" r:id="rId19"/>
    <p:sldLayoutId id="2147484628" r:id="rId20"/>
    <p:sldLayoutId id="2147484629" r:id="rId21"/>
    <p:sldLayoutId id="2147484630" r:id="rId22"/>
    <p:sldLayoutId id="2147484631" r:id="rId23"/>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Platshållare för rubrik 1">
            <a:extLst>
              <a:ext uri="{FF2B5EF4-FFF2-40B4-BE49-F238E27FC236}">
                <a16:creationId xmlns:a16="http://schemas.microsoft.com/office/drawing/2014/main" id="{0F91ECD4-9258-45E0-83DE-D200F507C8B7}"/>
              </a:ext>
            </a:extLst>
          </p:cNvPr>
          <p:cNvSpPr>
            <a:spLocks noGrp="1"/>
          </p:cNvSpPr>
          <p:nvPr>
            <p:ph type="title"/>
          </p:nvPr>
        </p:nvSpPr>
        <p:spPr>
          <a:xfrm>
            <a:off x="407988" y="404813"/>
            <a:ext cx="9170279" cy="736959"/>
          </a:xfrm>
          <a:prstGeom prst="rect">
            <a:avLst/>
          </a:prstGeom>
        </p:spPr>
        <p:txBody>
          <a:bodyPr vert="horz" lIns="0" tIns="45720" rIns="0" bIns="45720" rtlCol="0" anchor="ctr">
            <a:normAutofit/>
          </a:bodyPr>
          <a:lstStyle/>
          <a:p>
            <a:r>
              <a:rPr lang="sv-SE"/>
              <a:t>Klicka här för att ändra format</a:t>
            </a:r>
          </a:p>
        </p:txBody>
      </p:sp>
      <p:sp>
        <p:nvSpPr>
          <p:cNvPr id="3" name="Text Placeholder 2"/>
          <p:cNvSpPr>
            <a:spLocks noGrp="1"/>
          </p:cNvSpPr>
          <p:nvPr>
            <p:ph type="body" idx="1"/>
          </p:nvPr>
        </p:nvSpPr>
        <p:spPr>
          <a:xfrm>
            <a:off x="1056000" y="1744652"/>
            <a:ext cx="10080000" cy="4168785"/>
          </a:xfrm>
          <a:prstGeom prst="rect">
            <a:avLst/>
          </a:prstGeom>
        </p:spPr>
        <p:txBody>
          <a:bodyPr vert="horz" lIns="0" tIns="0" rIns="0" bIns="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pic>
        <p:nvPicPr>
          <p:cNvPr id="9" name="Bildobjekt 8" descr="Logo" title="Logo">
            <a:extLst>
              <a:ext uri="{FF2B5EF4-FFF2-40B4-BE49-F238E27FC236}">
                <a16:creationId xmlns:a16="http://schemas.microsoft.com/office/drawing/2014/main" id="{E827BE2D-9929-4BFA-9192-B82AEC788915}"/>
              </a:ext>
            </a:extLst>
          </p:cNvPr>
          <p:cNvPicPr>
            <a:picLocks noChangeAspect="1"/>
          </p:cNvPicPr>
          <p:nvPr userDrawn="1"/>
        </p:nvPicPr>
        <p:blipFill>
          <a:blip r:embed="rId68"/>
          <a:stretch>
            <a:fillRect/>
          </a:stretch>
        </p:blipFill>
        <p:spPr>
          <a:xfrm>
            <a:off x="10297795" y="401983"/>
            <a:ext cx="1481456" cy="499915"/>
          </a:xfrm>
          <a:prstGeom prst="rect">
            <a:avLst/>
          </a:prstGeom>
        </p:spPr>
      </p:pic>
      <p:sp>
        <p:nvSpPr>
          <p:cNvPr id="7" name="textruta 6">
            <a:extLst>
              <a:ext uri="{FF2B5EF4-FFF2-40B4-BE49-F238E27FC236}">
                <a16:creationId xmlns:a16="http://schemas.microsoft.com/office/drawing/2014/main" id="{7DFF76B2-A88A-470E-B646-73BDC425A6E8}"/>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b="1">
                <a:solidFill>
                  <a:schemeClr val="tx1"/>
                </a:solidFill>
              </a:rPr>
              <a:t>Inköps- och upphandlingsförvaltningen</a:t>
            </a:r>
          </a:p>
        </p:txBody>
      </p:sp>
      <p:sp>
        <p:nvSpPr>
          <p:cNvPr id="10" name="Platshållare för bildnummer 1">
            <a:extLst>
              <a:ext uri="{FF2B5EF4-FFF2-40B4-BE49-F238E27FC236}">
                <a16:creationId xmlns:a16="http://schemas.microsoft.com/office/drawing/2014/main" id="{4D8D5E03-09FD-47B8-83A3-7C8B23D877BF}"/>
              </a:ext>
            </a:extLst>
          </p:cNvPr>
          <p:cNvSpPr>
            <a:spLocks noGrp="1"/>
          </p:cNvSpPr>
          <p:nvPr>
            <p:ph type="sldNum" sz="quarter" idx="4"/>
          </p:nvPr>
        </p:nvSpPr>
        <p:spPr>
          <a:xfrm>
            <a:off x="11136000" y="6453187"/>
            <a:ext cx="643250" cy="144463"/>
          </a:xfrm>
          <a:prstGeom prst="rect">
            <a:avLst/>
          </a:prstGeom>
        </p:spPr>
        <p:txBody>
          <a:bodyPr vert="horz" lIns="0" tIns="180000" rIns="0" bIns="0" rtlCol="0" anchor="b" anchorCtr="0"/>
          <a:lstStyle>
            <a:lvl1pPr algn="r">
              <a:defRPr sz="1000" b="1">
                <a:solidFill>
                  <a:schemeClr val="tx1">
                    <a:lumMod val="95000"/>
                    <a:lumOff val="5000"/>
                  </a:schemeClr>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1617428233"/>
      </p:ext>
    </p:extLst>
  </p:cSld>
  <p:clrMap bg1="lt1" tx1="dk1" bg2="lt2" tx2="dk2" accent1="accent1" accent2="accent2" accent3="accent3" accent4="accent4" accent5="accent5" accent6="accent6" hlink="hlink" folHlink="folHlink"/>
  <p:sldLayoutIdLst>
    <p:sldLayoutId id="2147484633" r:id="rId1"/>
    <p:sldLayoutId id="2147484634" r:id="rId2"/>
    <p:sldLayoutId id="2147484635" r:id="rId3"/>
    <p:sldLayoutId id="2147484636" r:id="rId4"/>
    <p:sldLayoutId id="2147484637" r:id="rId5"/>
    <p:sldLayoutId id="2147484638" r:id="rId6"/>
    <p:sldLayoutId id="2147484639" r:id="rId7"/>
    <p:sldLayoutId id="2147484640" r:id="rId8"/>
    <p:sldLayoutId id="2147484641" r:id="rId9"/>
    <p:sldLayoutId id="2147484642" r:id="rId10"/>
    <p:sldLayoutId id="2147484643" r:id="rId11"/>
    <p:sldLayoutId id="2147484644" r:id="rId12"/>
    <p:sldLayoutId id="2147484645" r:id="rId13"/>
    <p:sldLayoutId id="2147484646" r:id="rId14"/>
    <p:sldLayoutId id="2147484647" r:id="rId15"/>
    <p:sldLayoutId id="2147484648" r:id="rId16"/>
    <p:sldLayoutId id="2147484649" r:id="rId17"/>
    <p:sldLayoutId id="2147484650" r:id="rId18"/>
    <p:sldLayoutId id="2147484651" r:id="rId19"/>
    <p:sldLayoutId id="2147484652" r:id="rId20"/>
    <p:sldLayoutId id="2147484653" r:id="rId21"/>
    <p:sldLayoutId id="2147484654" r:id="rId22"/>
    <p:sldLayoutId id="2147484655" r:id="rId23"/>
    <p:sldLayoutId id="2147484656" r:id="rId24"/>
    <p:sldLayoutId id="2147484657" r:id="rId25"/>
    <p:sldLayoutId id="2147484658" r:id="rId26"/>
    <p:sldLayoutId id="2147484659" r:id="rId27"/>
    <p:sldLayoutId id="2147484660" r:id="rId28"/>
    <p:sldLayoutId id="2147484661" r:id="rId29"/>
    <p:sldLayoutId id="2147484662" r:id="rId30"/>
    <p:sldLayoutId id="2147484663" r:id="rId31"/>
    <p:sldLayoutId id="2147484664" r:id="rId32"/>
    <p:sldLayoutId id="2147484665" r:id="rId33"/>
    <p:sldLayoutId id="2147484666" r:id="rId34"/>
    <p:sldLayoutId id="2147484667" r:id="rId35"/>
    <p:sldLayoutId id="2147484668" r:id="rId36"/>
    <p:sldLayoutId id="2147484669" r:id="rId37"/>
    <p:sldLayoutId id="2147484670" r:id="rId38"/>
    <p:sldLayoutId id="2147484671" r:id="rId39"/>
    <p:sldLayoutId id="2147484672" r:id="rId40"/>
    <p:sldLayoutId id="2147484673" r:id="rId41"/>
    <p:sldLayoutId id="2147484674" r:id="rId42"/>
    <p:sldLayoutId id="2147484675" r:id="rId43"/>
    <p:sldLayoutId id="2147484676" r:id="rId44"/>
    <p:sldLayoutId id="2147484677" r:id="rId45"/>
    <p:sldLayoutId id="2147484678" r:id="rId46"/>
    <p:sldLayoutId id="2147484679" r:id="rId47"/>
    <p:sldLayoutId id="2147484680" r:id="rId48"/>
    <p:sldLayoutId id="2147484681" r:id="rId49"/>
    <p:sldLayoutId id="2147484682" r:id="rId50"/>
    <p:sldLayoutId id="2147484683" r:id="rId51"/>
    <p:sldLayoutId id="2147484684" r:id="rId52"/>
    <p:sldLayoutId id="2147484685" r:id="rId53"/>
    <p:sldLayoutId id="2147484686" r:id="rId54"/>
    <p:sldLayoutId id="2147484687" r:id="rId55"/>
    <p:sldLayoutId id="2147484688" r:id="rId56"/>
    <p:sldLayoutId id="2147484689" r:id="rId57"/>
    <p:sldLayoutId id="2147484690" r:id="rId58"/>
    <p:sldLayoutId id="2147484691" r:id="rId59"/>
    <p:sldLayoutId id="2147484692" r:id="rId60"/>
    <p:sldLayoutId id="2147484693" r:id="rId61"/>
    <p:sldLayoutId id="2147484694" r:id="rId62"/>
    <p:sldLayoutId id="2147484695" r:id="rId63"/>
    <p:sldLayoutId id="2147484696" r:id="rId64"/>
    <p:sldLayoutId id="2147484697" r:id="rId65"/>
    <p:sldLayoutId id="2147484698" r:id="rId66"/>
  </p:sldLayoutIdLst>
  <p:hf sldNum="0" hdr="0" ftr="0" dt="0"/>
  <p:txStyles>
    <p:titleStyle>
      <a:lvl1pPr algn="l" defTabSz="914332" rtl="0" eaLnBrk="1" latinLnBrk="0" hangingPunct="1">
        <a:lnSpc>
          <a:spcPct val="90000"/>
        </a:lnSpc>
        <a:spcBef>
          <a:spcPct val="0"/>
        </a:spcBef>
        <a:buNone/>
        <a:defRPr sz="3000" b="1" kern="0" spc="0" baseline="0">
          <a:solidFill>
            <a:schemeClr val="tx1"/>
          </a:solidFill>
          <a:latin typeface="+mj-lt"/>
          <a:ea typeface="+mj-ea"/>
          <a:cs typeface="+mj-cs"/>
        </a:defRPr>
      </a:lvl1pPr>
    </p:titleStyle>
    <p:body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0">
          <p15:clr>
            <a:srgbClr val="F26B43"/>
          </p15:clr>
        </p15:guide>
        <p15:guide id="9" orient="horz" pos="255">
          <p15:clr>
            <a:srgbClr val="F26B43"/>
          </p15:clr>
        </p15:guide>
        <p15:guide id="10" pos="257">
          <p15:clr>
            <a:srgbClr val="F26B43"/>
          </p15:clr>
        </p15:guide>
        <p15:guide id="11" pos="7423">
          <p15:clr>
            <a:srgbClr val="F26B43"/>
          </p15:clr>
        </p15:guide>
        <p15:guide id="12" orient="horz" pos="4156">
          <p15:clr>
            <a:srgbClr val="F26B43"/>
          </p15:clr>
        </p15:guide>
        <p15:guide id="14" orient="horz" pos="1095">
          <p15:clr>
            <a:srgbClr val="F26B43"/>
          </p15:clr>
        </p15:guide>
        <p15:guide id="15" orient="horz" pos="550">
          <p15:clr>
            <a:srgbClr val="F26B43"/>
          </p15:clr>
        </p15:guide>
        <p15:guide id="16" orient="horz" pos="3725">
          <p15:clr>
            <a:srgbClr val="F26B43"/>
          </p15:clr>
        </p15:guide>
        <p15:guide id="17" orient="horz" pos="40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Platshållare för rubrik 1">
            <a:extLst>
              <a:ext uri="{FF2B5EF4-FFF2-40B4-BE49-F238E27FC236}">
                <a16:creationId xmlns:a16="http://schemas.microsoft.com/office/drawing/2014/main" id="{0F91ECD4-9258-45E0-83DE-D200F507C8B7}"/>
              </a:ext>
            </a:extLst>
          </p:cNvPr>
          <p:cNvSpPr>
            <a:spLocks noGrp="1"/>
          </p:cNvSpPr>
          <p:nvPr>
            <p:ph type="title"/>
          </p:nvPr>
        </p:nvSpPr>
        <p:spPr>
          <a:xfrm>
            <a:off x="407988" y="404813"/>
            <a:ext cx="9170279" cy="736959"/>
          </a:xfrm>
          <a:prstGeom prst="rect">
            <a:avLst/>
          </a:prstGeom>
        </p:spPr>
        <p:txBody>
          <a:bodyPr vert="horz" lIns="0" tIns="45720" rIns="0" bIns="45720" rtlCol="0" anchor="ctr">
            <a:normAutofit/>
          </a:bodyPr>
          <a:lstStyle/>
          <a:p>
            <a:r>
              <a:rPr lang="sv-SE"/>
              <a:t>Klicka här för att ändra format</a:t>
            </a:r>
          </a:p>
        </p:txBody>
      </p:sp>
      <p:sp>
        <p:nvSpPr>
          <p:cNvPr id="8" name="textruta 7">
            <a:extLst>
              <a:ext uri="{FF2B5EF4-FFF2-40B4-BE49-F238E27FC236}">
                <a16:creationId xmlns:a16="http://schemas.microsoft.com/office/drawing/2014/main" id="{CAEB2E3D-92F2-44E1-BB5F-C8FAE387A996}"/>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a:solidFill>
                  <a:schemeClr val="tx1">
                    <a:lumMod val="95000"/>
                    <a:lumOff val="5000"/>
                  </a:schemeClr>
                </a:solidFill>
              </a:rPr>
              <a:t>Hållbar stad – öppen för världen</a:t>
            </a:r>
          </a:p>
        </p:txBody>
      </p:sp>
      <p:sp>
        <p:nvSpPr>
          <p:cNvPr id="3" name="Text Placeholder 2"/>
          <p:cNvSpPr>
            <a:spLocks noGrp="1"/>
          </p:cNvSpPr>
          <p:nvPr>
            <p:ph type="body" idx="1"/>
          </p:nvPr>
        </p:nvSpPr>
        <p:spPr>
          <a:xfrm>
            <a:off x="1056000" y="1744652"/>
            <a:ext cx="10080000" cy="4168785"/>
          </a:xfrm>
          <a:prstGeom prst="rect">
            <a:avLst/>
          </a:prstGeom>
        </p:spPr>
        <p:txBody>
          <a:bodyPr vert="horz" lIns="0" tIns="0" rIns="0" bIns="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pic>
        <p:nvPicPr>
          <p:cNvPr id="9" name="Bildobjekt 8" descr="Logo" title="Logo">
            <a:extLst>
              <a:ext uri="{FF2B5EF4-FFF2-40B4-BE49-F238E27FC236}">
                <a16:creationId xmlns:a16="http://schemas.microsoft.com/office/drawing/2014/main" id="{E827BE2D-9929-4BFA-9192-B82AEC788915}"/>
              </a:ext>
            </a:extLst>
          </p:cNvPr>
          <p:cNvPicPr>
            <a:picLocks noChangeAspect="1"/>
          </p:cNvPicPr>
          <p:nvPr userDrawn="1"/>
        </p:nvPicPr>
        <p:blipFill>
          <a:blip r:embed="rId18"/>
          <a:stretch>
            <a:fillRect/>
          </a:stretch>
        </p:blipFill>
        <p:spPr>
          <a:xfrm>
            <a:off x="10297795" y="401983"/>
            <a:ext cx="1481456" cy="499915"/>
          </a:xfrm>
          <a:prstGeom prst="rect">
            <a:avLst/>
          </a:prstGeom>
        </p:spPr>
      </p:pic>
      <p:sp>
        <p:nvSpPr>
          <p:cNvPr id="2" name="Platshållare för bildnummer 1">
            <a:extLst>
              <a:ext uri="{FF2B5EF4-FFF2-40B4-BE49-F238E27FC236}">
                <a16:creationId xmlns:a16="http://schemas.microsoft.com/office/drawing/2014/main" id="{048D0267-35CA-45BC-A225-E420D66A8569}"/>
              </a:ext>
            </a:extLst>
          </p:cNvPr>
          <p:cNvSpPr>
            <a:spLocks noGrp="1"/>
          </p:cNvSpPr>
          <p:nvPr>
            <p:ph type="sldNum" sz="quarter" idx="4"/>
          </p:nvPr>
        </p:nvSpPr>
        <p:spPr>
          <a:xfrm>
            <a:off x="11136000" y="6453187"/>
            <a:ext cx="643250" cy="144463"/>
          </a:xfrm>
          <a:prstGeom prst="rect">
            <a:avLst/>
          </a:prstGeom>
        </p:spPr>
        <p:txBody>
          <a:bodyPr vert="horz" lIns="0" tIns="180000" rIns="0" bIns="0" rtlCol="0" anchor="b" anchorCtr="0"/>
          <a:lstStyle>
            <a:lvl1pPr algn="r">
              <a:defRPr sz="1000" b="1">
                <a:solidFill>
                  <a:schemeClr val="tx1">
                    <a:lumMod val="95000"/>
                    <a:lumOff val="5000"/>
                  </a:schemeClr>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771536247"/>
      </p:ext>
    </p:extLst>
  </p:cSld>
  <p:clrMap bg1="lt1" tx1="dk1" bg2="lt2" tx2="dk2" accent1="accent1" accent2="accent2" accent3="accent3" accent4="accent4" accent5="accent5" accent6="accent6" hlink="hlink" folHlink="folHlink"/>
  <p:sldLayoutIdLst>
    <p:sldLayoutId id="2147484700" r:id="rId1"/>
    <p:sldLayoutId id="2147484701" r:id="rId2"/>
    <p:sldLayoutId id="2147484702" r:id="rId3"/>
    <p:sldLayoutId id="2147484703" r:id="rId4"/>
    <p:sldLayoutId id="2147484704" r:id="rId5"/>
    <p:sldLayoutId id="2147484705" r:id="rId6"/>
    <p:sldLayoutId id="2147484706" r:id="rId7"/>
    <p:sldLayoutId id="2147484707" r:id="rId8"/>
    <p:sldLayoutId id="2147484708" r:id="rId9"/>
    <p:sldLayoutId id="2147484709" r:id="rId10"/>
    <p:sldLayoutId id="2147484710" r:id="rId11"/>
    <p:sldLayoutId id="2147484711" r:id="rId12"/>
    <p:sldLayoutId id="2147484712" r:id="rId13"/>
    <p:sldLayoutId id="2147484713" r:id="rId14"/>
    <p:sldLayoutId id="2147484714" r:id="rId15"/>
    <p:sldLayoutId id="2147484715" r:id="rId16"/>
  </p:sldLayoutIdLst>
  <p:hf sldNum="0" hdr="0" ftr="0" dt="0"/>
  <p:txStyles>
    <p:titleStyle>
      <a:lvl1pPr algn="l" defTabSz="914332" rtl="0" eaLnBrk="1" latinLnBrk="0" hangingPunct="1">
        <a:lnSpc>
          <a:spcPct val="90000"/>
        </a:lnSpc>
        <a:spcBef>
          <a:spcPct val="0"/>
        </a:spcBef>
        <a:buNone/>
        <a:defRPr sz="3000" b="1" kern="0" spc="0" baseline="0">
          <a:solidFill>
            <a:schemeClr val="tx1">
              <a:lumMod val="95000"/>
              <a:lumOff val="5000"/>
            </a:schemeClr>
          </a:solidFill>
          <a:latin typeface="+mj-lt"/>
          <a:ea typeface="+mj-ea"/>
          <a:cs typeface="+mj-cs"/>
        </a:defRPr>
      </a:lvl1pPr>
    </p:titleStyle>
    <p:body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lumMod val="95000"/>
              <a:lumOff val="5000"/>
            </a:schemeClr>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lumMod val="95000"/>
              <a:lumOff val="5000"/>
            </a:schemeClr>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lumMod val="95000"/>
              <a:lumOff val="5000"/>
            </a:schemeClr>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lumMod val="95000"/>
              <a:lumOff val="5000"/>
            </a:schemeClr>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lumMod val="95000"/>
              <a:lumOff val="5000"/>
            </a:schemeClr>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0">
          <p15:clr>
            <a:srgbClr val="F26B43"/>
          </p15:clr>
        </p15:guide>
        <p15:guide id="9" orient="horz" pos="255">
          <p15:clr>
            <a:srgbClr val="F26B43"/>
          </p15:clr>
        </p15:guide>
        <p15:guide id="10" pos="257">
          <p15:clr>
            <a:srgbClr val="F26B43"/>
          </p15:clr>
        </p15:guide>
        <p15:guide id="11" pos="7423">
          <p15:clr>
            <a:srgbClr val="F26B43"/>
          </p15:clr>
        </p15:guide>
        <p15:guide id="12" orient="horz" pos="4156">
          <p15:clr>
            <a:srgbClr val="F26B43"/>
          </p15:clr>
        </p15:guide>
        <p15:guide id="14" orient="horz" pos="1095">
          <p15:clr>
            <a:srgbClr val="F26B43"/>
          </p15:clr>
        </p15:guide>
        <p15:guide id="15" orient="horz" pos="550">
          <p15:clr>
            <a:srgbClr val="F26B43"/>
          </p15:clr>
        </p15:guide>
        <p15:guide id="16" orient="horz" pos="3725">
          <p15:clr>
            <a:srgbClr val="F26B43"/>
          </p15:clr>
        </p15:guide>
        <p15:guide id="17" orient="horz" pos="40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Platshållare för rubrik 1">
            <a:extLst>
              <a:ext uri="{FF2B5EF4-FFF2-40B4-BE49-F238E27FC236}">
                <a16:creationId xmlns:a16="http://schemas.microsoft.com/office/drawing/2014/main" id="{0F91ECD4-9258-45E0-83DE-D200F507C8B7}"/>
              </a:ext>
            </a:extLst>
          </p:cNvPr>
          <p:cNvSpPr>
            <a:spLocks noGrp="1"/>
          </p:cNvSpPr>
          <p:nvPr>
            <p:ph type="title"/>
          </p:nvPr>
        </p:nvSpPr>
        <p:spPr>
          <a:xfrm>
            <a:off x="407988" y="404813"/>
            <a:ext cx="9170279" cy="736959"/>
          </a:xfrm>
          <a:prstGeom prst="rect">
            <a:avLst/>
          </a:prstGeom>
        </p:spPr>
        <p:txBody>
          <a:bodyPr vert="horz" lIns="0" tIns="45720" rIns="0" bIns="45720" rtlCol="0" anchor="ctr">
            <a:normAutofit/>
          </a:bodyPr>
          <a:lstStyle/>
          <a:p>
            <a:r>
              <a:rPr lang="sv-SE"/>
              <a:t>Klicka här för att ändra format</a:t>
            </a:r>
          </a:p>
        </p:txBody>
      </p:sp>
      <p:sp>
        <p:nvSpPr>
          <p:cNvPr id="3" name="Text Placeholder 2"/>
          <p:cNvSpPr>
            <a:spLocks noGrp="1"/>
          </p:cNvSpPr>
          <p:nvPr>
            <p:ph type="body" idx="1"/>
          </p:nvPr>
        </p:nvSpPr>
        <p:spPr>
          <a:xfrm>
            <a:off x="1056000" y="1744652"/>
            <a:ext cx="10080000" cy="4168785"/>
          </a:xfrm>
          <a:prstGeom prst="rect">
            <a:avLst/>
          </a:prstGeom>
        </p:spPr>
        <p:txBody>
          <a:bodyPr vert="horz" lIns="0" tIns="0" rIns="0" bIns="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pic>
        <p:nvPicPr>
          <p:cNvPr id="9" name="Bildobjekt 8" descr="Logo" title="Logo">
            <a:extLst>
              <a:ext uri="{FF2B5EF4-FFF2-40B4-BE49-F238E27FC236}">
                <a16:creationId xmlns:a16="http://schemas.microsoft.com/office/drawing/2014/main" id="{E827BE2D-9929-4BFA-9192-B82AEC788915}"/>
              </a:ext>
            </a:extLst>
          </p:cNvPr>
          <p:cNvPicPr>
            <a:picLocks noChangeAspect="1"/>
          </p:cNvPicPr>
          <p:nvPr userDrawn="1"/>
        </p:nvPicPr>
        <p:blipFill>
          <a:blip r:embed="rId22"/>
          <a:stretch>
            <a:fillRect/>
          </a:stretch>
        </p:blipFill>
        <p:spPr>
          <a:xfrm>
            <a:off x="10297795" y="401983"/>
            <a:ext cx="1481456" cy="499915"/>
          </a:xfrm>
          <a:prstGeom prst="rect">
            <a:avLst/>
          </a:prstGeom>
        </p:spPr>
      </p:pic>
      <p:sp>
        <p:nvSpPr>
          <p:cNvPr id="7" name="textruta 6">
            <a:extLst>
              <a:ext uri="{FF2B5EF4-FFF2-40B4-BE49-F238E27FC236}">
                <a16:creationId xmlns:a16="http://schemas.microsoft.com/office/drawing/2014/main" id="{C30862AA-79CD-47D7-A508-195920CF797F}"/>
              </a:ext>
            </a:extLst>
          </p:cNvPr>
          <p:cNvSpPr txBox="1"/>
          <p:nvPr userDrawn="1"/>
        </p:nvSpPr>
        <p:spPr>
          <a:xfrm>
            <a:off x="407988" y="6454562"/>
            <a:ext cx="8640000" cy="144000"/>
          </a:xfrm>
          <a:prstGeom prst="rect">
            <a:avLst/>
          </a:prstGeom>
          <a:noFill/>
        </p:spPr>
        <p:txBody>
          <a:bodyPr wrap="square" lIns="0" tIns="0" rIns="0" bIns="0" rtlCol="0" anchor="ctr" anchorCtr="0">
            <a:noAutofit/>
          </a:bodyPr>
          <a:lstStyle/>
          <a:p>
            <a:r>
              <a:rPr lang="sv-SE" sz="1100">
                <a:solidFill>
                  <a:schemeClr val="tx1"/>
                </a:solidFill>
              </a:rPr>
              <a:t>Hållbar stad – öppen för världen</a:t>
            </a:r>
          </a:p>
        </p:txBody>
      </p:sp>
      <p:sp>
        <p:nvSpPr>
          <p:cNvPr id="10" name="Platshållare för bildnummer 1">
            <a:extLst>
              <a:ext uri="{FF2B5EF4-FFF2-40B4-BE49-F238E27FC236}">
                <a16:creationId xmlns:a16="http://schemas.microsoft.com/office/drawing/2014/main" id="{0B5FE696-6F97-4D3C-86EA-DA1B9AC17F4B}"/>
              </a:ext>
            </a:extLst>
          </p:cNvPr>
          <p:cNvSpPr>
            <a:spLocks noGrp="1"/>
          </p:cNvSpPr>
          <p:nvPr>
            <p:ph type="sldNum" sz="quarter" idx="4"/>
          </p:nvPr>
        </p:nvSpPr>
        <p:spPr>
          <a:xfrm>
            <a:off x="11136000" y="6453187"/>
            <a:ext cx="643250" cy="144463"/>
          </a:xfrm>
          <a:prstGeom prst="rect">
            <a:avLst/>
          </a:prstGeom>
        </p:spPr>
        <p:txBody>
          <a:bodyPr vert="horz" lIns="0" tIns="180000" rIns="0" bIns="0" rtlCol="0" anchor="b" anchorCtr="0"/>
          <a:lstStyle>
            <a:lvl1pPr algn="r">
              <a:defRPr sz="1000" b="1">
                <a:solidFill>
                  <a:schemeClr val="tx1">
                    <a:lumMod val="95000"/>
                    <a:lumOff val="5000"/>
                  </a:schemeClr>
                </a:solidFill>
              </a:defRPr>
            </a:lvl1pPr>
          </a:lstStyle>
          <a:p>
            <a:fld id="{59C8BBA8-F427-4879-AAC6-186856FF899B}" type="slidenum">
              <a:rPr lang="sv-SE" smtClean="0"/>
              <a:pPr/>
              <a:t>‹#›</a:t>
            </a:fld>
            <a:endParaRPr lang="sv-SE"/>
          </a:p>
        </p:txBody>
      </p:sp>
    </p:spTree>
    <p:extLst>
      <p:ext uri="{BB962C8B-B14F-4D97-AF65-F5344CB8AC3E}">
        <p14:creationId xmlns:p14="http://schemas.microsoft.com/office/powerpoint/2010/main" val="1729497481"/>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Lst>
  <p:hf sldNum="0" hdr="0" ftr="0" dt="0"/>
  <p:txStyles>
    <p:titleStyle>
      <a:lvl1pPr algn="l" defTabSz="914332" rtl="0" eaLnBrk="1" latinLnBrk="0" hangingPunct="1">
        <a:lnSpc>
          <a:spcPct val="90000"/>
        </a:lnSpc>
        <a:spcBef>
          <a:spcPct val="0"/>
        </a:spcBef>
        <a:buNone/>
        <a:defRPr sz="3000" b="1" kern="0" spc="0" baseline="0">
          <a:solidFill>
            <a:schemeClr val="tx1"/>
          </a:solidFill>
          <a:latin typeface="+mj-lt"/>
          <a:ea typeface="+mj-ea"/>
          <a:cs typeface="+mj-cs"/>
        </a:defRPr>
      </a:lvl1pPr>
    </p:titleStyle>
    <p:body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0">
          <p15:clr>
            <a:srgbClr val="F26B43"/>
          </p15:clr>
        </p15:guide>
        <p15:guide id="9" orient="horz" pos="255">
          <p15:clr>
            <a:srgbClr val="F26B43"/>
          </p15:clr>
        </p15:guide>
        <p15:guide id="10" pos="257">
          <p15:clr>
            <a:srgbClr val="F26B43"/>
          </p15:clr>
        </p15:guide>
        <p15:guide id="11" pos="7423">
          <p15:clr>
            <a:srgbClr val="F26B43"/>
          </p15:clr>
        </p15:guide>
        <p15:guide id="12" orient="horz" pos="4156">
          <p15:clr>
            <a:srgbClr val="F26B43"/>
          </p15:clr>
        </p15:guide>
        <p15:guide id="14" orient="horz" pos="1095">
          <p15:clr>
            <a:srgbClr val="F26B43"/>
          </p15:clr>
        </p15:guide>
        <p15:guide id="15" orient="horz" pos="550">
          <p15:clr>
            <a:srgbClr val="F26B43"/>
          </p15:clr>
        </p15:guide>
        <p15:guide id="16" orient="horz" pos="3725">
          <p15:clr>
            <a:srgbClr val="F26B43"/>
          </p15:clr>
        </p15:guide>
        <p15:guide id="17"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mailto:jennica.kjallstrand@miljo.goteborg.se"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hyperlink" Target="mailto:nina.zachrisson@miljo.goteborg.se" TargetMode="External"/><Relationship Id="rId5" Type="http://schemas.openxmlformats.org/officeDocument/2006/relationships/hyperlink" Target="https://goteborg.se/wps/portal?uri=gbglnk%3a2016326143938300" TargetMode="External"/><Relationship Id="rId4" Type="http://schemas.openxmlformats.org/officeDocument/2006/relationships/hyperlink" Target="https://goteborg.se/wps/portal?uri=gbglnk%3a2022018105048942"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40.png"/><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40.png"/><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17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descr="En bild som visar utomhus, hjul, Landfordon, himmel&#10;&#10;AI-genererat innehåll kan vara felaktigt.">
            <a:extLst>
              <a:ext uri="{FF2B5EF4-FFF2-40B4-BE49-F238E27FC236}">
                <a16:creationId xmlns:a16="http://schemas.microsoft.com/office/drawing/2014/main" id="{DBB16DC9-84F0-B1FD-0C57-B9557D2C6DFA}"/>
              </a:ext>
            </a:extLst>
          </p:cNvPr>
          <p:cNvPicPr>
            <a:picLocks noChangeAspect="1"/>
          </p:cNvPicPr>
          <p:nvPr/>
        </p:nvPicPr>
        <p:blipFill>
          <a:blip r:embed="rId3">
            <a:alphaModFix/>
            <a:extLst>
              <a:ext uri="{BEBA8EAE-BF5A-486C-A8C5-ECC9F3942E4B}">
                <a14:imgProps xmlns:a14="http://schemas.microsoft.com/office/drawing/2010/main">
                  <a14:imgLayer r:embed="rId4">
                    <a14:imgEffect>
                      <a14:brightnessContrast bright="-29000"/>
                    </a14:imgEffect>
                  </a14:imgLayer>
                </a14:imgProps>
              </a:ext>
              <a:ext uri="{28A0092B-C50C-407E-A947-70E740481C1C}">
                <a14:useLocalDpi xmlns:a14="http://schemas.microsoft.com/office/drawing/2010/main" val="0"/>
              </a:ext>
            </a:extLst>
          </a:blip>
          <a:srcRect l="3402" t="16494" r="3504" b="5842"/>
          <a:stretch/>
        </p:blipFill>
        <p:spPr>
          <a:xfrm>
            <a:off x="414778" y="1131216"/>
            <a:ext cx="11349873" cy="5326145"/>
          </a:xfrm>
          <a:prstGeom prst="round2SameRect">
            <a:avLst>
              <a:gd name="adj1" fmla="val 0"/>
              <a:gd name="adj2" fmla="val 0"/>
            </a:avLst>
          </a:prstGeom>
          <a:noFill/>
          <a:effectLst>
            <a:outerShdw blurRad="50800" dist="50800" dir="5400000" algn="ctr" rotWithShape="0">
              <a:srgbClr val="000000">
                <a:alpha val="0"/>
              </a:srgbClr>
            </a:outerShdw>
          </a:effectLst>
        </p:spPr>
      </p:pic>
      <p:sp>
        <p:nvSpPr>
          <p:cNvPr id="2" name="Rubrik 1">
            <a:extLst>
              <a:ext uri="{FF2B5EF4-FFF2-40B4-BE49-F238E27FC236}">
                <a16:creationId xmlns:a16="http://schemas.microsoft.com/office/drawing/2014/main" id="{E5920628-F32D-4B59-82A3-068B459839A7}"/>
              </a:ext>
            </a:extLst>
          </p:cNvPr>
          <p:cNvSpPr>
            <a:spLocks noGrp="1"/>
          </p:cNvSpPr>
          <p:nvPr>
            <p:ph type="ctrTitle"/>
          </p:nvPr>
        </p:nvSpPr>
        <p:spPr>
          <a:xfrm>
            <a:off x="1436833" y="3067189"/>
            <a:ext cx="9305759" cy="1349829"/>
          </a:xfrm>
        </p:spPr>
        <p:txBody>
          <a:bodyPr/>
          <a:lstStyle/>
          <a:p>
            <a:pPr algn="ctr"/>
            <a:r>
              <a:rPr lang="sv-SE" sz="4000" dirty="0"/>
              <a:t>Uppföljning av målen i </a:t>
            </a:r>
            <a:br>
              <a:rPr lang="sv-SE" sz="4000" dirty="0"/>
            </a:br>
            <a:r>
              <a:rPr lang="sv-SE" sz="4000" dirty="0"/>
              <a:t>miljö- och klimatprogrammet </a:t>
            </a:r>
            <a:br>
              <a:rPr lang="sv-SE" sz="4000" dirty="0"/>
            </a:br>
            <a:br>
              <a:rPr lang="sv-SE" sz="4400" b="0" i="0" dirty="0">
                <a:ln w="0"/>
                <a:effectLst>
                  <a:outerShdw blurRad="38100" dist="19050" dir="2700000" algn="tl" rotWithShape="0">
                    <a:schemeClr val="dk1">
                      <a:alpha val="40000"/>
                    </a:schemeClr>
                  </a:outerShdw>
                </a:effectLst>
              </a:rPr>
            </a:br>
            <a:r>
              <a:rPr lang="sv-SE" sz="2800" dirty="0"/>
              <a:t>Stadsmiljönämnden 21 november 2025</a:t>
            </a:r>
            <a:endParaRPr lang="sv-SE" dirty="0"/>
          </a:p>
        </p:txBody>
      </p:sp>
      <p:sp>
        <p:nvSpPr>
          <p:cNvPr id="3" name="Platshållare för text 2">
            <a:extLst>
              <a:ext uri="{FF2B5EF4-FFF2-40B4-BE49-F238E27FC236}">
                <a16:creationId xmlns:a16="http://schemas.microsoft.com/office/drawing/2014/main" id="{27097D5D-E399-4255-9468-0116A1B0B0E1}"/>
              </a:ext>
            </a:extLst>
          </p:cNvPr>
          <p:cNvSpPr>
            <a:spLocks noGrp="1"/>
          </p:cNvSpPr>
          <p:nvPr>
            <p:ph type="body" sz="quarter" idx="10"/>
          </p:nvPr>
        </p:nvSpPr>
        <p:spPr/>
        <p:txBody>
          <a:bodyPr vert="horz" lIns="0" tIns="0" rIns="0" bIns="0" rtlCol="0" anchor="t">
            <a:noAutofit/>
          </a:bodyPr>
          <a:lstStyle/>
          <a:p>
            <a:endParaRPr lang="sv-SE" sz="1800"/>
          </a:p>
          <a:p>
            <a:endParaRPr lang="sv-SE"/>
          </a:p>
        </p:txBody>
      </p:sp>
      <p:sp>
        <p:nvSpPr>
          <p:cNvPr id="4" name="Platshållare för text 3">
            <a:extLst>
              <a:ext uri="{FF2B5EF4-FFF2-40B4-BE49-F238E27FC236}">
                <a16:creationId xmlns:a16="http://schemas.microsoft.com/office/drawing/2014/main" id="{67432880-EABA-4426-91B8-2D839C20B2ED}"/>
              </a:ext>
            </a:extLst>
          </p:cNvPr>
          <p:cNvSpPr>
            <a:spLocks noGrp="1"/>
          </p:cNvSpPr>
          <p:nvPr>
            <p:ph type="body" sz="quarter" idx="11"/>
          </p:nvPr>
        </p:nvSpPr>
        <p:spPr>
          <a:xfrm>
            <a:off x="1190866" y="5042524"/>
            <a:ext cx="9797695" cy="251417"/>
          </a:xfrm>
        </p:spPr>
        <p:txBody>
          <a:bodyPr/>
          <a:lstStyle/>
          <a:p>
            <a:pPr algn="ctr"/>
            <a:r>
              <a:rPr lang="sv-SE" sz="2400" dirty="0">
                <a:solidFill>
                  <a:schemeClr val="bg1"/>
                </a:solidFill>
              </a:rPr>
              <a:t>Emma Rex och Jennica Kjällstrand, miljöförvaltningen</a:t>
            </a:r>
          </a:p>
        </p:txBody>
      </p:sp>
    </p:spTree>
    <p:extLst>
      <p:ext uri="{BB962C8B-B14F-4D97-AF65-F5344CB8AC3E}">
        <p14:creationId xmlns:p14="http://schemas.microsoft.com/office/powerpoint/2010/main" val="35787890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CA60A79-0E45-DC0D-02E7-ED4FEC02B183}"/>
              </a:ext>
            </a:extLst>
          </p:cNvPr>
          <p:cNvSpPr>
            <a:spLocks noGrp="1"/>
          </p:cNvSpPr>
          <p:nvPr>
            <p:ph type="title"/>
          </p:nvPr>
        </p:nvSpPr>
        <p:spPr>
          <a:xfrm>
            <a:off x="6237005" y="930609"/>
            <a:ext cx="4876800" cy="1325563"/>
          </a:xfrm>
        </p:spPr>
        <p:txBody>
          <a:bodyPr>
            <a:normAutofit/>
          </a:bodyPr>
          <a:lstStyle/>
          <a:p>
            <a:r>
              <a:rPr lang="sv-SE" dirty="0"/>
              <a:t>Mål Hållbarhet 2025</a:t>
            </a:r>
          </a:p>
        </p:txBody>
      </p:sp>
      <p:sp>
        <p:nvSpPr>
          <p:cNvPr id="3" name="Platshållare för innehåll 2">
            <a:extLst>
              <a:ext uri="{FF2B5EF4-FFF2-40B4-BE49-F238E27FC236}">
                <a16:creationId xmlns:a16="http://schemas.microsoft.com/office/drawing/2014/main" id="{F002D61A-C5E1-D5F7-2EE6-C0CDD744D4F3}"/>
              </a:ext>
            </a:extLst>
          </p:cNvPr>
          <p:cNvSpPr>
            <a:spLocks noGrp="1"/>
          </p:cNvSpPr>
          <p:nvPr>
            <p:ph sz="half" idx="1"/>
          </p:nvPr>
        </p:nvSpPr>
        <p:spPr>
          <a:xfrm>
            <a:off x="6237005" y="2559552"/>
            <a:ext cx="5954995" cy="4185876"/>
          </a:xfrm>
        </p:spPr>
        <p:txBody>
          <a:bodyPr>
            <a:normAutofit fontScale="32500" lnSpcReduction="20000"/>
          </a:bodyPr>
          <a:lstStyle/>
          <a:p>
            <a:pPr marL="0" indent="0">
              <a:lnSpc>
                <a:spcPct val="107000"/>
              </a:lnSpc>
              <a:spcAft>
                <a:spcPts val="600"/>
              </a:spcAft>
              <a:buNone/>
            </a:pPr>
            <a:r>
              <a:rPr lang="sv-SE" sz="4000" b="1" dirty="0">
                <a:effectLst/>
                <a:latin typeface="Calibri" panose="020F0502020204030204" pitchFamily="34" charset="0"/>
                <a:ea typeface="Calibri" panose="020F0502020204030204" pitchFamily="34" charset="0"/>
                <a:cs typeface="Arial" panose="020B0604020202020204" pitchFamily="34" charset="0"/>
              </a:rPr>
              <a:t>Externa mål:</a:t>
            </a:r>
          </a:p>
          <a:p>
            <a:pPr marL="0" indent="0">
              <a:lnSpc>
                <a:spcPct val="107000"/>
              </a:lnSpc>
              <a:spcAft>
                <a:spcPts val="800"/>
              </a:spcAft>
              <a:buSzPts val="1000"/>
              <a:buNone/>
              <a:tabLst>
                <a:tab pos="457200" algn="l"/>
              </a:tabLst>
            </a:pPr>
            <a:r>
              <a:rPr lang="sv-SE" sz="4000" b="1" dirty="0">
                <a:effectLst/>
                <a:latin typeface="Calibri" panose="020F0502020204030204" pitchFamily="34" charset="0"/>
                <a:ea typeface="Calibri" panose="020F0502020204030204" pitchFamily="34" charset="0"/>
                <a:cs typeface="Arial" panose="020B0604020202020204" pitchFamily="34" charset="0"/>
              </a:rPr>
              <a:t>Ekologiskt:</a:t>
            </a:r>
          </a:p>
          <a:p>
            <a:pPr marL="0" indent="0">
              <a:lnSpc>
                <a:spcPct val="107000"/>
              </a:lnSpc>
              <a:spcAft>
                <a:spcPts val="800"/>
              </a:spcAft>
              <a:buSzPts val="1000"/>
              <a:buNone/>
              <a:tabLst>
                <a:tab pos="457200" algn="l"/>
              </a:tabLst>
            </a:pPr>
            <a:r>
              <a:rPr lang="sv-SE" sz="4000" b="1" dirty="0">
                <a:latin typeface="Calibri" panose="020F0502020204030204" pitchFamily="34" charset="0"/>
                <a:ea typeface="Calibri" panose="020F0502020204030204" pitchFamily="34" charset="0"/>
                <a:cs typeface="Arial" panose="020B0604020202020204" pitchFamily="34" charset="0"/>
              </a:rPr>
              <a:t>-</a:t>
            </a:r>
            <a:r>
              <a:rPr lang="sv-SE" sz="4000" dirty="0">
                <a:latin typeface="Calibri" panose="020F0502020204030204" pitchFamily="34" charset="0"/>
                <a:ea typeface="Calibri" panose="020F0502020204030204" pitchFamily="34" charset="0"/>
                <a:cs typeface="Arial" panose="020B0604020202020204" pitchFamily="34" charset="0"/>
              </a:rPr>
              <a:t> Minst 40 företag skall genomföra hållbarhetsanalysen.</a:t>
            </a:r>
            <a:br>
              <a:rPr lang="sv-SE" sz="4000" dirty="0">
                <a:latin typeface="Calibri" panose="020F0502020204030204" pitchFamily="34" charset="0"/>
                <a:ea typeface="Calibri" panose="020F0502020204030204" pitchFamily="34" charset="0"/>
                <a:cs typeface="Arial" panose="020B0604020202020204" pitchFamily="34" charset="0"/>
              </a:rPr>
            </a:br>
            <a:r>
              <a:rPr lang="sv-SE" sz="4000" dirty="0">
                <a:latin typeface="Calibri" panose="020F0502020204030204" pitchFamily="34" charset="0"/>
                <a:ea typeface="Calibri" panose="020F0502020204030204" pitchFamily="34" charset="0"/>
                <a:cs typeface="Arial" panose="020B0604020202020204" pitchFamily="34" charset="0"/>
              </a:rPr>
              <a:t>- Minst 50 företag skall genomföra Hållbarhetshjulet/Cirkulär Affärsutveckling</a:t>
            </a:r>
            <a:br>
              <a:rPr lang="sv-SE" sz="4000" dirty="0">
                <a:latin typeface="Calibri" panose="020F0502020204030204" pitchFamily="34" charset="0"/>
                <a:ea typeface="Calibri" panose="020F0502020204030204" pitchFamily="34" charset="0"/>
                <a:cs typeface="Arial" panose="020B0604020202020204" pitchFamily="34" charset="0"/>
              </a:rPr>
            </a:br>
            <a:r>
              <a:rPr lang="sv-SE" sz="4000" dirty="0">
                <a:latin typeface="Calibri" panose="020F0502020204030204" pitchFamily="34" charset="0"/>
                <a:ea typeface="Calibri" panose="020F0502020204030204" pitchFamily="34" charset="0"/>
                <a:cs typeface="Arial" panose="020B0604020202020204" pitchFamily="34" charset="0"/>
              </a:rPr>
              <a:t>- 8 antal gröna etableringar </a:t>
            </a:r>
          </a:p>
          <a:p>
            <a:pPr marL="0" indent="0">
              <a:lnSpc>
                <a:spcPct val="107000"/>
              </a:lnSpc>
              <a:spcAft>
                <a:spcPts val="800"/>
              </a:spcAft>
              <a:buSzPts val="1000"/>
              <a:buNone/>
              <a:tabLst>
                <a:tab pos="457200" algn="l"/>
              </a:tabLst>
            </a:pPr>
            <a:br>
              <a:rPr lang="sv-SE" sz="4000" dirty="0">
                <a:effectLst/>
                <a:latin typeface="Calibri" panose="020F0502020204030204" pitchFamily="34" charset="0"/>
                <a:ea typeface="Calibri" panose="020F0502020204030204" pitchFamily="34" charset="0"/>
                <a:cs typeface="Arial" panose="020B0604020202020204" pitchFamily="34" charset="0"/>
              </a:rPr>
            </a:br>
            <a:r>
              <a:rPr lang="sv-SE" sz="4000" b="1" dirty="0">
                <a:effectLst/>
                <a:latin typeface="Calibri" panose="020F0502020204030204" pitchFamily="34" charset="0"/>
                <a:ea typeface="Calibri" panose="020F0502020204030204" pitchFamily="34" charset="0"/>
                <a:cs typeface="Arial" panose="020B0604020202020204" pitchFamily="34" charset="0"/>
              </a:rPr>
              <a:t>Socialt:</a:t>
            </a:r>
            <a:br>
              <a:rPr lang="sv-SE" sz="4000" b="1" dirty="0">
                <a:effectLst/>
                <a:latin typeface="Calibri" panose="020F0502020204030204" pitchFamily="34" charset="0"/>
                <a:ea typeface="Calibri" panose="020F0502020204030204" pitchFamily="34" charset="0"/>
                <a:cs typeface="Arial" panose="020B0604020202020204" pitchFamily="34" charset="0"/>
              </a:rPr>
            </a:br>
            <a:r>
              <a:rPr lang="sv-SE" sz="4000" b="1" dirty="0">
                <a:effectLst/>
                <a:latin typeface="Calibri" panose="020F0502020204030204" pitchFamily="34" charset="0"/>
                <a:ea typeface="Calibri" panose="020F0502020204030204" pitchFamily="34" charset="0"/>
                <a:cs typeface="Arial" panose="020B0604020202020204" pitchFamily="34" charset="0"/>
              </a:rPr>
              <a:t>- </a:t>
            </a:r>
            <a:r>
              <a:rPr lang="sv-SE" sz="4000" dirty="0">
                <a:effectLst/>
                <a:latin typeface="Calibri" panose="020F0502020204030204" pitchFamily="34" charset="0"/>
                <a:ea typeface="Calibri" panose="020F0502020204030204" pitchFamily="34" charset="0"/>
                <a:cs typeface="Arial" panose="020B0604020202020204" pitchFamily="34" charset="0"/>
              </a:rPr>
              <a:t>420 stycken unika rådgivningar som resulterar i minst 120 startade företag genom vår</a:t>
            </a:r>
            <a:r>
              <a:rPr lang="sv-SE" sz="4000" dirty="0">
                <a:latin typeface="Calibri" panose="020F0502020204030204" pitchFamily="34" charset="0"/>
                <a:ea typeface="Calibri" panose="020F0502020204030204" pitchFamily="34" charset="0"/>
                <a:cs typeface="Arial" panose="020B0604020202020204" pitchFamily="34" charset="0"/>
              </a:rPr>
              <a:t>          </a:t>
            </a:r>
            <a:r>
              <a:rPr lang="sv-SE" sz="4000" dirty="0">
                <a:effectLst/>
                <a:latin typeface="Calibri" panose="020F0502020204030204" pitchFamily="34" charset="0"/>
                <a:ea typeface="Calibri" panose="020F0502020204030204" pitchFamily="34" charset="0"/>
                <a:cs typeface="Arial" panose="020B0604020202020204" pitchFamily="34" charset="0"/>
              </a:rPr>
              <a:t>Starta-rådgivning som genomförs på Business Center Angered, på Yesbox och digitalt.</a:t>
            </a:r>
            <a:br>
              <a:rPr lang="sv-SE" sz="4000" dirty="0">
                <a:effectLst/>
                <a:latin typeface="Calibri" panose="020F0502020204030204" pitchFamily="34" charset="0"/>
                <a:ea typeface="Calibri" panose="020F0502020204030204" pitchFamily="34" charset="0"/>
                <a:cs typeface="Arial" panose="020B0604020202020204" pitchFamily="34" charset="0"/>
              </a:rPr>
            </a:br>
            <a:r>
              <a:rPr lang="sv-SE" sz="4000" dirty="0">
                <a:effectLst/>
                <a:latin typeface="Calibri" panose="020F0502020204030204" pitchFamily="34" charset="0"/>
                <a:ea typeface="Calibri" panose="020F0502020204030204" pitchFamily="34" charset="0"/>
                <a:cs typeface="Arial" panose="020B0604020202020204" pitchFamily="34" charset="0"/>
              </a:rPr>
              <a:t>- Minst 50 företag som deltagit i workshop ”Säkra rätt kompetens” (ARUBA) </a:t>
            </a:r>
          </a:p>
          <a:p>
            <a:pPr marL="0" lvl="0" indent="0">
              <a:lnSpc>
                <a:spcPct val="107000"/>
              </a:lnSpc>
              <a:spcAft>
                <a:spcPts val="800"/>
              </a:spcAft>
              <a:buSzPts val="1000"/>
              <a:buNone/>
              <a:tabLst>
                <a:tab pos="457200" algn="l"/>
              </a:tabLst>
            </a:pPr>
            <a:r>
              <a:rPr lang="sv-SE" sz="4000" b="1" dirty="0">
                <a:effectLst/>
                <a:latin typeface="Calibri" panose="020F0502020204030204" pitchFamily="34" charset="0"/>
                <a:ea typeface="Calibri" panose="020F0502020204030204" pitchFamily="34" charset="0"/>
                <a:cs typeface="Arial" panose="020B0604020202020204" pitchFamily="34" charset="0"/>
              </a:rPr>
              <a:t>Ekonomisk:</a:t>
            </a:r>
            <a:br>
              <a:rPr lang="sv-SE" sz="4000" dirty="0">
                <a:effectLst/>
                <a:latin typeface="Calibri" panose="020F0502020204030204" pitchFamily="34" charset="0"/>
                <a:ea typeface="Calibri" panose="020F0502020204030204" pitchFamily="34" charset="0"/>
                <a:cs typeface="Arial" panose="020B0604020202020204" pitchFamily="34" charset="0"/>
              </a:rPr>
            </a:br>
            <a:r>
              <a:rPr lang="sv-SE" sz="4000" dirty="0">
                <a:effectLst/>
                <a:latin typeface="Calibri" panose="020F0502020204030204" pitchFamily="34" charset="0"/>
                <a:ea typeface="Calibri" panose="020F0502020204030204" pitchFamily="34" charset="0"/>
                <a:cs typeface="Arial" panose="020B0604020202020204" pitchFamily="34" charset="0"/>
              </a:rPr>
              <a:t>- Minst 300 företag medverkar i Tillväxtprogrammet och genomför 5 000   aktivitetstimmar.</a:t>
            </a:r>
            <a:br>
              <a:rPr lang="sv-SE" sz="4000" dirty="0">
                <a:effectLst/>
                <a:latin typeface="Calibri" panose="020F0502020204030204" pitchFamily="34" charset="0"/>
                <a:ea typeface="Calibri" panose="020F0502020204030204" pitchFamily="34" charset="0"/>
                <a:cs typeface="Arial" panose="020B0604020202020204" pitchFamily="34" charset="0"/>
              </a:rPr>
            </a:br>
            <a:r>
              <a:rPr lang="sv-SE" sz="4000" dirty="0">
                <a:latin typeface="Calibri" panose="020F0502020204030204" pitchFamily="34" charset="0"/>
                <a:ea typeface="Calibri" panose="020F0502020204030204" pitchFamily="34" charset="0"/>
                <a:cs typeface="Arial" panose="020B0604020202020204" pitchFamily="34" charset="0"/>
              </a:rPr>
              <a:t>-3</a:t>
            </a:r>
            <a:r>
              <a:rPr lang="sv-SE" sz="4000" dirty="0">
                <a:effectLst/>
                <a:latin typeface="Calibri" panose="020F0502020204030204" pitchFamily="34" charset="0"/>
                <a:ea typeface="Calibri" panose="020F0502020204030204" pitchFamily="34" charset="0"/>
                <a:cs typeface="Arial" panose="020B0604020202020204" pitchFamily="34" charset="0"/>
              </a:rPr>
              <a:t>0 antal företag som deltar i </a:t>
            </a:r>
            <a:r>
              <a:rPr lang="sv-SE" sz="4000" dirty="0" err="1">
                <a:effectLst/>
                <a:latin typeface="Calibri" panose="020F0502020204030204" pitchFamily="34" charset="0"/>
                <a:ea typeface="Calibri" panose="020F0502020204030204" pitchFamily="34" charset="0"/>
                <a:cs typeface="Arial" panose="020B0604020202020204" pitchFamily="34" charset="0"/>
              </a:rPr>
              <a:t>Living</a:t>
            </a:r>
            <a:r>
              <a:rPr lang="sv-SE" sz="4000" dirty="0">
                <a:effectLst/>
                <a:latin typeface="Calibri" panose="020F0502020204030204" pitchFamily="34" charset="0"/>
                <a:ea typeface="Calibri" panose="020F0502020204030204" pitchFamily="34" charset="0"/>
                <a:cs typeface="Arial" panose="020B0604020202020204" pitchFamily="34" charset="0"/>
              </a:rPr>
              <a:t> Lab - Klimatneutralt byggande fram till 2027. 10 av </a:t>
            </a:r>
            <a:br>
              <a:rPr lang="sv-SE" sz="4000" dirty="0">
                <a:effectLst/>
                <a:latin typeface="Calibri" panose="020F0502020204030204" pitchFamily="34" charset="0"/>
                <a:ea typeface="Calibri" panose="020F0502020204030204" pitchFamily="34" charset="0"/>
                <a:cs typeface="Arial" panose="020B0604020202020204" pitchFamily="34" charset="0"/>
              </a:rPr>
            </a:br>
            <a:r>
              <a:rPr lang="sv-SE" sz="4000" dirty="0">
                <a:effectLst/>
                <a:latin typeface="Calibri" panose="020F0502020204030204" pitchFamily="34" charset="0"/>
                <a:ea typeface="Calibri" panose="020F0502020204030204" pitchFamily="34" charset="0"/>
                <a:cs typeface="Arial" panose="020B0604020202020204" pitchFamily="34" charset="0"/>
              </a:rPr>
              <a:t> dessa företag under 2025.</a:t>
            </a:r>
            <a:br>
              <a:rPr lang="sv-SE" sz="4000" dirty="0">
                <a:effectLst/>
                <a:latin typeface="Calibri" panose="020F0502020204030204" pitchFamily="34" charset="0"/>
                <a:ea typeface="Calibri" panose="020F0502020204030204" pitchFamily="34" charset="0"/>
                <a:cs typeface="Arial" panose="020B0604020202020204" pitchFamily="34" charset="0"/>
              </a:rPr>
            </a:br>
            <a:r>
              <a:rPr lang="sv-SE" sz="4000" dirty="0">
                <a:effectLst/>
                <a:latin typeface="Calibri" panose="020F0502020204030204" pitchFamily="34" charset="0"/>
                <a:ea typeface="Calibri" panose="020F0502020204030204" pitchFamily="34" charset="0"/>
                <a:cs typeface="Arial" panose="020B0604020202020204" pitchFamily="34" charset="0"/>
              </a:rPr>
              <a:t>- Göteborgs plattform för klimatneutralt byggande växer med 10 nya aktörer.</a:t>
            </a:r>
          </a:p>
          <a:p>
            <a:pPr marL="0" indent="0">
              <a:buNone/>
            </a:pPr>
            <a:endParaRPr lang="sv-SE" dirty="0"/>
          </a:p>
          <a:p>
            <a:pPr marL="0" indent="0">
              <a:buNone/>
            </a:pPr>
            <a:endParaRPr lang="sv-SE" dirty="0"/>
          </a:p>
        </p:txBody>
      </p:sp>
      <p:pic>
        <p:nvPicPr>
          <p:cNvPr id="6" name="Platshållare för bild 5" descr="En bild som visar bil, fordon, Fordonsdelar, motorcykel&#10;&#10;Automatiskt genererad beskrivning">
            <a:extLst>
              <a:ext uri="{FF2B5EF4-FFF2-40B4-BE49-F238E27FC236}">
                <a16:creationId xmlns:a16="http://schemas.microsoft.com/office/drawing/2014/main" id="{A7230E9C-AB0F-53EF-8506-40DB09AA818D}"/>
              </a:ext>
            </a:extLst>
          </p:cNvPr>
          <p:cNvPicPr>
            <a:picLocks noGrp="1" noChangeAspect="1"/>
          </p:cNvPicPr>
          <p:nvPr>
            <p:ph type="pic" sz="quarter" idx="13"/>
          </p:nvPr>
        </p:nvPicPr>
        <p:blipFill>
          <a:blip r:embed="rId3"/>
          <a:srcRect l="25010" r="25010"/>
          <a:stretch>
            <a:fillRect/>
          </a:stretch>
        </p:blipFill>
        <p:spPr/>
      </p:pic>
    </p:spTree>
    <p:extLst>
      <p:ext uri="{BB962C8B-B14F-4D97-AF65-F5344CB8AC3E}">
        <p14:creationId xmlns:p14="http://schemas.microsoft.com/office/powerpoint/2010/main" val="18981896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ubrik 7">
            <a:extLst>
              <a:ext uri="{FF2B5EF4-FFF2-40B4-BE49-F238E27FC236}">
                <a16:creationId xmlns:a16="http://schemas.microsoft.com/office/drawing/2014/main" id="{8BCFF82C-A4A5-6B41-3A4E-C811F676F355}"/>
              </a:ext>
            </a:extLst>
          </p:cNvPr>
          <p:cNvSpPr>
            <a:spLocks noGrp="1"/>
          </p:cNvSpPr>
          <p:nvPr>
            <p:ph type="title"/>
          </p:nvPr>
        </p:nvSpPr>
        <p:spPr>
          <a:xfrm>
            <a:off x="294992" y="353517"/>
            <a:ext cx="4876800" cy="1325563"/>
          </a:xfrm>
        </p:spPr>
        <p:txBody>
          <a:bodyPr/>
          <a:lstStyle/>
          <a:p>
            <a:r>
              <a:rPr lang="sv-SE" dirty="0"/>
              <a:t>Mål Hållbarhet 2025</a:t>
            </a:r>
          </a:p>
        </p:txBody>
      </p:sp>
      <p:sp>
        <p:nvSpPr>
          <p:cNvPr id="9" name="Platshållare för innehåll 8">
            <a:extLst>
              <a:ext uri="{FF2B5EF4-FFF2-40B4-BE49-F238E27FC236}">
                <a16:creationId xmlns:a16="http://schemas.microsoft.com/office/drawing/2014/main" id="{B8A81BBE-C1A9-C5FB-D3B1-D590C41A2D0F}"/>
              </a:ext>
            </a:extLst>
          </p:cNvPr>
          <p:cNvSpPr>
            <a:spLocks noGrp="1"/>
          </p:cNvSpPr>
          <p:nvPr>
            <p:ph sz="half" idx="1"/>
          </p:nvPr>
        </p:nvSpPr>
        <p:spPr>
          <a:xfrm>
            <a:off x="294992" y="1861838"/>
            <a:ext cx="4876800" cy="3979863"/>
          </a:xfrm>
        </p:spPr>
        <p:txBody>
          <a:bodyPr>
            <a:normAutofit lnSpcReduction="10000"/>
          </a:bodyPr>
          <a:lstStyle/>
          <a:p>
            <a:pPr marL="0" indent="0">
              <a:lnSpc>
                <a:spcPct val="107000"/>
              </a:lnSpc>
              <a:spcAft>
                <a:spcPts val="800"/>
              </a:spcAft>
              <a:buNone/>
            </a:pPr>
            <a:r>
              <a:rPr lang="sv-SE" sz="1800" b="1" dirty="0">
                <a:effectLst/>
                <a:latin typeface="Calibri" panose="020F0502020204030204" pitchFamily="34" charset="0"/>
                <a:ea typeface="Calibri" panose="020F0502020204030204" pitchFamily="34" charset="0"/>
                <a:cs typeface="Arial" panose="020B0604020202020204" pitchFamily="34" charset="0"/>
              </a:rPr>
              <a:t>Interna mål</a:t>
            </a:r>
            <a:endParaRPr lang="sv-SE"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sv-SE" sz="1800" b="1" dirty="0">
                <a:effectLst/>
                <a:latin typeface="Calibri" panose="020F0502020204030204" pitchFamily="34" charset="0"/>
                <a:ea typeface="Calibri" panose="020F0502020204030204" pitchFamily="34" charset="0"/>
                <a:cs typeface="Arial" panose="020B0604020202020204" pitchFamily="34" charset="0"/>
              </a:rPr>
              <a:t>Ekologiskt</a:t>
            </a:r>
            <a:r>
              <a:rPr lang="sv-SE" sz="1800" dirty="0">
                <a:effectLst/>
                <a:latin typeface="Calibri" panose="020F0502020204030204" pitchFamily="34" charset="0"/>
                <a:ea typeface="Calibri" panose="020F0502020204030204" pitchFamily="34" charset="0"/>
                <a:cs typeface="Arial" panose="020B0604020202020204" pitchFamily="34" charset="0"/>
              </a:rPr>
              <a:t>: Transporter på inköp och tjänsteresor.  Begränsa antalet resor med flyg (2023 gjordes 214 flygresor). </a:t>
            </a:r>
          </a:p>
          <a:p>
            <a:pPr marL="342900" lvl="0" indent="-342900">
              <a:lnSpc>
                <a:spcPct val="107000"/>
              </a:lnSpc>
              <a:spcAft>
                <a:spcPts val="800"/>
              </a:spcAft>
              <a:buSzPts val="1000"/>
              <a:buFont typeface="Symbol" panose="05050102010706020507" pitchFamily="18" charset="2"/>
              <a:buChar char=""/>
              <a:tabLst>
                <a:tab pos="457200" algn="l"/>
              </a:tabLst>
            </a:pPr>
            <a:r>
              <a:rPr lang="sv-SE" sz="1800" b="1" dirty="0">
                <a:effectLst/>
                <a:latin typeface="Calibri" panose="020F0502020204030204" pitchFamily="34" charset="0"/>
                <a:ea typeface="Calibri" panose="020F0502020204030204" pitchFamily="34" charset="0"/>
                <a:cs typeface="Arial" panose="020B0604020202020204" pitchFamily="34" charset="0"/>
              </a:rPr>
              <a:t>Socialt</a:t>
            </a:r>
            <a:r>
              <a:rPr lang="sv-SE" sz="1800" dirty="0">
                <a:effectLst/>
                <a:latin typeface="Calibri" panose="020F0502020204030204" pitchFamily="34" charset="0"/>
                <a:ea typeface="Calibri" panose="020F0502020204030204" pitchFamily="34" charset="0"/>
                <a:cs typeface="Arial" panose="020B0604020202020204" pitchFamily="34" charset="0"/>
              </a:rPr>
              <a:t>: Genomföra arbetet med </a:t>
            </a:r>
            <a:r>
              <a:rPr lang="sv-SE" sz="1800" dirty="0" err="1">
                <a:effectLst/>
                <a:latin typeface="Calibri" panose="020F0502020204030204" pitchFamily="34" charset="0"/>
                <a:ea typeface="Calibri" panose="020F0502020204030204" pitchFamily="34" charset="0"/>
                <a:cs typeface="Arial" panose="020B0604020202020204" pitchFamily="34" charset="0"/>
              </a:rPr>
              <a:t>Habitud</a:t>
            </a:r>
            <a:r>
              <a:rPr lang="sv-SE" sz="1800" dirty="0">
                <a:effectLst/>
                <a:latin typeface="Calibri" panose="020F0502020204030204" pitchFamily="34" charset="0"/>
                <a:ea typeface="Calibri" panose="020F0502020204030204" pitchFamily="34" charset="0"/>
                <a:cs typeface="Arial" panose="020B0604020202020204" pitchFamily="34" charset="0"/>
              </a:rPr>
              <a:t> så att vi får en gemensam plattform och språk för hur vi arbetar, pratar och agerar till positiv, inspirerande och motiverande arbetsmiljö internt. Behålla HME-mål över 80.</a:t>
            </a:r>
          </a:p>
          <a:p>
            <a:pPr marL="342900" lvl="0" indent="-342900">
              <a:lnSpc>
                <a:spcPct val="107000"/>
              </a:lnSpc>
              <a:spcAft>
                <a:spcPts val="800"/>
              </a:spcAft>
              <a:buSzPts val="1000"/>
              <a:buFont typeface="Symbol" panose="05050102010706020507" pitchFamily="18" charset="2"/>
              <a:buChar char=""/>
              <a:tabLst>
                <a:tab pos="457200" algn="l"/>
              </a:tabLst>
            </a:pPr>
            <a:r>
              <a:rPr lang="sv-SE" sz="1800" b="1" dirty="0">
                <a:effectLst/>
                <a:latin typeface="Calibri" panose="020F0502020204030204" pitchFamily="34" charset="0"/>
                <a:ea typeface="Calibri" panose="020F0502020204030204" pitchFamily="34" charset="0"/>
                <a:cs typeface="Arial" panose="020B0604020202020204" pitchFamily="34" charset="0"/>
              </a:rPr>
              <a:t>Ekonomisk</a:t>
            </a:r>
            <a:r>
              <a:rPr lang="sv-SE" sz="1800" dirty="0">
                <a:effectLst/>
                <a:latin typeface="Calibri" panose="020F0502020204030204" pitchFamily="34" charset="0"/>
                <a:ea typeface="Calibri" panose="020F0502020204030204" pitchFamily="34" charset="0"/>
                <a:cs typeface="Arial" panose="020B0604020202020204" pitchFamily="34" charset="0"/>
              </a:rPr>
              <a:t>: Ställa krav vid inköp och optimera inköpsprocessen, öka elektrifierade och utsläppsfria transporter vid leverans.</a:t>
            </a:r>
          </a:p>
          <a:p>
            <a:endParaRPr lang="sv-SE" dirty="0"/>
          </a:p>
        </p:txBody>
      </p:sp>
      <p:pic>
        <p:nvPicPr>
          <p:cNvPr id="15" name="Platshållare för bild 14">
            <a:extLst>
              <a:ext uri="{FF2B5EF4-FFF2-40B4-BE49-F238E27FC236}">
                <a16:creationId xmlns:a16="http://schemas.microsoft.com/office/drawing/2014/main" id="{8EDF0FCC-A00D-0C76-3913-3CAFC2F392BC}"/>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p:pic>
      <p:sp>
        <p:nvSpPr>
          <p:cNvPr id="10" name="Platshållare för bild 9">
            <a:extLst>
              <a:ext uri="{FF2B5EF4-FFF2-40B4-BE49-F238E27FC236}">
                <a16:creationId xmlns:a16="http://schemas.microsoft.com/office/drawing/2014/main" id="{D4DB7E32-57B3-77CA-685F-0DA3A2BDAF12}"/>
              </a:ext>
            </a:extLst>
          </p:cNvPr>
          <p:cNvSpPr>
            <a:spLocks noGrp="1"/>
          </p:cNvSpPr>
          <p:nvPr>
            <p:ph type="pic" sz="quarter" idx="11"/>
          </p:nvPr>
        </p:nvSpPr>
        <p:spPr/>
        <p:txBody>
          <a:bodyPr/>
          <a:lstStyle/>
          <a:p>
            <a:endParaRPr lang="sv-SE"/>
          </a:p>
        </p:txBody>
      </p:sp>
    </p:spTree>
    <p:extLst>
      <p:ext uri="{BB962C8B-B14F-4D97-AF65-F5344CB8AC3E}">
        <p14:creationId xmlns:p14="http://schemas.microsoft.com/office/powerpoint/2010/main" val="810014556"/>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FA62B00-1BDA-83D5-A2FC-8F010BD5A11B}"/>
              </a:ext>
            </a:extLst>
          </p:cNvPr>
          <p:cNvSpPr>
            <a:spLocks noGrp="1"/>
          </p:cNvSpPr>
          <p:nvPr>
            <p:ph type="title"/>
          </p:nvPr>
        </p:nvSpPr>
        <p:spPr/>
        <p:txBody>
          <a:bodyPr/>
          <a:lstStyle/>
          <a:p>
            <a:r>
              <a:rPr lang="sv-SE"/>
              <a:t>Läs mer i rapporten!</a:t>
            </a:r>
          </a:p>
        </p:txBody>
      </p:sp>
      <p:pic>
        <p:nvPicPr>
          <p:cNvPr id="3" name="Bildobjekt 2">
            <a:extLst>
              <a:ext uri="{FF2B5EF4-FFF2-40B4-BE49-F238E27FC236}">
                <a16:creationId xmlns:a16="http://schemas.microsoft.com/office/drawing/2014/main" id="{9D5C6453-DDAD-B607-3443-6E4CE0BCFC52}"/>
              </a:ext>
            </a:extLst>
          </p:cNvPr>
          <p:cNvPicPr>
            <a:picLocks noChangeAspect="1"/>
          </p:cNvPicPr>
          <p:nvPr/>
        </p:nvPicPr>
        <p:blipFill>
          <a:blip r:embed="rId3"/>
          <a:stretch>
            <a:fillRect/>
          </a:stretch>
        </p:blipFill>
        <p:spPr>
          <a:xfrm rot="21177964">
            <a:off x="1428349" y="1332634"/>
            <a:ext cx="3413743" cy="4824757"/>
          </a:xfrm>
          <a:prstGeom prst="rect">
            <a:avLst/>
          </a:prstGeom>
          <a:ln>
            <a:solidFill>
              <a:schemeClr val="tx1">
                <a:lumMod val="40000"/>
                <a:lumOff val="60000"/>
              </a:schemeClr>
            </a:solidFill>
          </a:ln>
          <a:effectLst>
            <a:outerShdw blurRad="292100" dist="139700" dir="2700000" algn="tl" rotWithShape="0">
              <a:srgbClr val="333333">
                <a:alpha val="65000"/>
              </a:srgbClr>
            </a:outerShdw>
          </a:effectLst>
        </p:spPr>
      </p:pic>
      <p:sp>
        <p:nvSpPr>
          <p:cNvPr id="6" name="Platshållare för innehåll 3">
            <a:extLst>
              <a:ext uri="{FF2B5EF4-FFF2-40B4-BE49-F238E27FC236}">
                <a16:creationId xmlns:a16="http://schemas.microsoft.com/office/drawing/2014/main" id="{9ADD5F08-C8E8-0E21-3CF0-9D5901CBC6BC}"/>
              </a:ext>
            </a:extLst>
          </p:cNvPr>
          <p:cNvSpPr txBox="1">
            <a:spLocks/>
          </p:cNvSpPr>
          <p:nvPr/>
        </p:nvSpPr>
        <p:spPr>
          <a:xfrm>
            <a:off x="6183307" y="2289976"/>
            <a:ext cx="4359647" cy="3362206"/>
          </a:xfrm>
          <a:prstGeom prst="rect">
            <a:avLst/>
          </a:prstGeom>
        </p:spPr>
        <p:txBody>
          <a:bodyPr vert="horz" lIns="0" tIns="0" rIns="0" bIns="0" rtlCol="0" anchor="t">
            <a:normAutofit/>
          </a:bodyPr>
          <a:lst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32"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sv-SE" sz="1800" b="0" i="0" u="none" strike="noStrike" kern="1200" cap="none" spc="0" normalizeH="0" baseline="0" noProof="0" dirty="0">
                <a:ln>
                  <a:noFill/>
                </a:ln>
                <a:solidFill>
                  <a:srgbClr val="333333"/>
                </a:solidFill>
                <a:effectLst/>
                <a:uLnTx/>
                <a:uFillTx/>
                <a:latin typeface="Arial"/>
                <a:ea typeface="+mn-ea"/>
                <a:cs typeface="+mn-cs"/>
              </a:rPr>
              <a:t>Rapporten hittar du på enhetssidan </a:t>
            </a:r>
            <a:r>
              <a:rPr kumimoji="0" lang="sv-SE" sz="1800" b="0" i="0" u="none" strike="noStrike" kern="1200" cap="none" spc="0" normalizeH="0" baseline="0" noProof="0" dirty="0">
                <a:ln>
                  <a:noFill/>
                </a:ln>
                <a:solidFill>
                  <a:srgbClr val="333333"/>
                </a:solidFill>
                <a:effectLst/>
                <a:uLnTx/>
                <a:uFillTx/>
                <a:latin typeface="Arial"/>
                <a:ea typeface="+mn-ea"/>
                <a:cs typeface="+mn-cs"/>
                <a:hlinkClick r:id="rId4"/>
              </a:rPr>
              <a:t>Miljö och klimat Göteborg 2030 </a:t>
            </a:r>
            <a:r>
              <a:rPr kumimoji="0" lang="sv-SE" sz="1800" b="0" i="0" u="none" strike="noStrike" kern="1200" cap="none" spc="0" normalizeH="0" baseline="0" noProof="0" dirty="0">
                <a:ln>
                  <a:noFill/>
                </a:ln>
                <a:solidFill>
                  <a:srgbClr val="333333"/>
                </a:solidFill>
                <a:effectLst/>
                <a:uLnTx/>
                <a:uFillTx/>
                <a:latin typeface="Arial"/>
                <a:ea typeface="+mn-ea"/>
                <a:cs typeface="+mn-cs"/>
              </a:rPr>
              <a:t>och i </a:t>
            </a:r>
            <a:r>
              <a:rPr kumimoji="0" lang="sv-SE" sz="1800" b="0" i="0" u="none" strike="noStrike" kern="1200" cap="none" spc="0" normalizeH="0" baseline="0" noProof="0" dirty="0">
                <a:ln>
                  <a:noFill/>
                </a:ln>
                <a:solidFill>
                  <a:srgbClr val="333333"/>
                </a:solidFill>
                <a:effectLst/>
                <a:uLnTx/>
                <a:uFillTx/>
                <a:latin typeface="Arial"/>
                <a:ea typeface="+mn-ea"/>
                <a:cs typeface="+mn-cs"/>
                <a:hlinkClick r:id="rId5"/>
              </a:rPr>
              <a:t>miljöförvaltningens rapportserie</a:t>
            </a:r>
            <a:endParaRPr kumimoji="0" lang="sv-SE" sz="18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l" defTabSz="914332" rtl="0" eaLnBrk="1" fontAlgn="auto" latinLnBrk="0" hangingPunct="1">
              <a:lnSpc>
                <a:spcPct val="110000"/>
              </a:lnSpc>
              <a:spcBef>
                <a:spcPts val="600"/>
              </a:spcBef>
              <a:spcAft>
                <a:spcPts val="300"/>
              </a:spcAft>
              <a:buClrTx/>
              <a:buSzTx/>
              <a:buFont typeface="Arial" panose="020B0604020202020204" pitchFamily="34" charset="0"/>
              <a:buNone/>
              <a:tabLst/>
              <a:defRPr/>
            </a:pPr>
            <a:endParaRPr kumimoji="0" lang="sv-SE" sz="18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l" defTabSz="914332"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sv-SE" sz="1800" b="0" i="0" u="none" strike="noStrike" kern="1200" cap="none" spc="0" normalizeH="0" baseline="0" noProof="0" dirty="0">
                <a:ln>
                  <a:noFill/>
                </a:ln>
                <a:solidFill>
                  <a:srgbClr val="333333"/>
                </a:solidFill>
                <a:effectLst/>
                <a:uLnTx/>
                <a:uFillTx/>
                <a:latin typeface="Arial"/>
                <a:ea typeface="+mn-ea"/>
                <a:cs typeface="+mn-cs"/>
              </a:rPr>
              <a:t>Kontakt: </a:t>
            </a:r>
            <a:br>
              <a:rPr kumimoji="0" lang="sv-SE" sz="1800" b="0" i="0" u="none" strike="noStrike" kern="1200" cap="none" spc="0" normalizeH="0" baseline="0" noProof="0" dirty="0">
                <a:ln>
                  <a:noFill/>
                </a:ln>
                <a:solidFill>
                  <a:srgbClr val="333333"/>
                </a:solidFill>
                <a:effectLst/>
                <a:uLnTx/>
                <a:uFillTx/>
                <a:latin typeface="Arial"/>
                <a:ea typeface="+mn-ea"/>
                <a:cs typeface="+mn-cs"/>
              </a:rPr>
            </a:br>
            <a:r>
              <a:rPr kumimoji="0" lang="sv-SE" sz="1800" b="0" i="0" u="none" strike="noStrike" kern="1200" cap="none" spc="0" normalizeH="0" baseline="0" noProof="0" dirty="0">
                <a:ln>
                  <a:noFill/>
                </a:ln>
                <a:solidFill>
                  <a:srgbClr val="333333"/>
                </a:solidFill>
                <a:effectLst/>
                <a:uLnTx/>
                <a:uFillTx/>
                <a:latin typeface="Arial"/>
                <a:ea typeface="+mn-ea"/>
                <a:cs typeface="+mn-cs"/>
                <a:hlinkClick r:id="rId6"/>
              </a:rPr>
              <a:t>emma.rex@miljo.goteborg.se</a:t>
            </a:r>
            <a:endParaRPr kumimoji="0" lang="sv-SE" sz="18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l" defTabSz="914332"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sv-SE" sz="1800" b="0" i="0" u="none" strike="noStrike" kern="1200" cap="none" spc="0" normalizeH="0" baseline="0" noProof="0" dirty="0">
                <a:ln>
                  <a:noFill/>
                </a:ln>
                <a:solidFill>
                  <a:srgbClr val="333333"/>
                </a:solidFill>
                <a:effectLst/>
                <a:uLnTx/>
                <a:uFillTx/>
                <a:latin typeface="Arial"/>
                <a:ea typeface="+mn-ea"/>
                <a:cs typeface="+mn-cs"/>
                <a:hlinkClick r:id="rId7"/>
              </a:rPr>
              <a:t>jennica.kjallstrand@miljo.goteborg.se</a:t>
            </a:r>
            <a:endParaRPr kumimoji="0" lang="sv-SE" sz="1800" b="0" i="0" u="none" strike="noStrike" kern="1200" cap="none" spc="0" normalizeH="0" baseline="0" noProof="0" dirty="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3955303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 11">
            <a:extLst>
              <a:ext uri="{FF2B5EF4-FFF2-40B4-BE49-F238E27FC236}">
                <a16:creationId xmlns:a16="http://schemas.microsoft.com/office/drawing/2014/main" id="{47786E6D-EE42-4972-AD84-6CE30BD22C2F}"/>
              </a:ext>
            </a:extLst>
          </p:cNvPr>
          <p:cNvGrpSpPr/>
          <p:nvPr/>
        </p:nvGrpSpPr>
        <p:grpSpPr>
          <a:xfrm>
            <a:off x="778300" y="3978130"/>
            <a:ext cx="10270831" cy="2184053"/>
            <a:chOff x="778300" y="3978130"/>
            <a:chExt cx="10270831" cy="2184053"/>
          </a:xfrm>
        </p:grpSpPr>
        <p:sp>
          <p:nvSpPr>
            <p:cNvPr id="42" name="Bild 24">
              <a:extLst>
                <a:ext uri="{FF2B5EF4-FFF2-40B4-BE49-F238E27FC236}">
                  <a16:creationId xmlns:a16="http://schemas.microsoft.com/office/drawing/2014/main" id="{154F1FFF-CAB9-4910-90F9-0676AE1CFAE3}"/>
                </a:ext>
              </a:extLst>
            </p:cNvPr>
            <p:cNvSpPr/>
            <p:nvPr/>
          </p:nvSpPr>
          <p:spPr>
            <a:xfrm rot="10800000">
              <a:off x="778300" y="4002183"/>
              <a:ext cx="381000" cy="2160000"/>
            </a:xfrm>
            <a:custGeom>
              <a:avLst/>
              <a:gdLst>
                <a:gd name="connsiteX0" fmla="*/ 0 w 381000"/>
                <a:gd name="connsiteY0" fmla="*/ 0 h 781050"/>
                <a:gd name="connsiteX1" fmla="*/ 388811 w 381000"/>
                <a:gd name="connsiteY1" fmla="*/ 0 h 781050"/>
                <a:gd name="connsiteX2" fmla="*/ 388811 w 381000"/>
                <a:gd name="connsiteY2" fmla="*/ 790289 h 781050"/>
                <a:gd name="connsiteX3" fmla="*/ 0 w 381000"/>
                <a:gd name="connsiteY3" fmla="*/ 790289 h 781050"/>
              </a:gdLst>
              <a:ahLst/>
              <a:cxnLst>
                <a:cxn ang="0">
                  <a:pos x="connsiteX0" y="connsiteY0"/>
                </a:cxn>
                <a:cxn ang="0">
                  <a:pos x="connsiteX1" y="connsiteY1"/>
                </a:cxn>
                <a:cxn ang="0">
                  <a:pos x="connsiteX2" y="connsiteY2"/>
                </a:cxn>
                <a:cxn ang="0">
                  <a:pos x="connsiteX3" y="connsiteY3"/>
                </a:cxn>
              </a:cxnLst>
              <a:rect l="l" t="t" r="r" b="b"/>
              <a:pathLst>
                <a:path w="381000" h="781050">
                  <a:moveTo>
                    <a:pt x="0" y="0"/>
                  </a:moveTo>
                  <a:lnTo>
                    <a:pt x="388811" y="0"/>
                  </a:lnTo>
                  <a:lnTo>
                    <a:pt x="388811" y="790289"/>
                  </a:lnTo>
                  <a:lnTo>
                    <a:pt x="0" y="790289"/>
                  </a:lnTo>
                  <a:close/>
                </a:path>
              </a:pathLst>
            </a:custGeom>
            <a:solidFill>
              <a:srgbClr val="008391"/>
            </a:solidFill>
            <a:ln w="9525" cap="flat">
              <a:noFill/>
              <a:prstDash val="solid"/>
              <a:miter/>
            </a:ln>
          </p:spPr>
          <p:txBody>
            <a:bodyPr vert="vert" lIns="108000" tIns="72000" rtlCol="0"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prstClr val="white"/>
                  </a:solidFill>
                  <a:effectLst/>
                  <a:uLnTx/>
                  <a:uFillTx/>
                  <a:latin typeface="Arial Black"/>
                  <a:ea typeface="+mn-ea"/>
                  <a:cs typeface="+mn-cs"/>
                </a:rPr>
                <a:t>Strategier</a:t>
              </a:r>
            </a:p>
          </p:txBody>
        </p:sp>
        <p:grpSp>
          <p:nvGrpSpPr>
            <p:cNvPr id="11" name="Grupp 10">
              <a:extLst>
                <a:ext uri="{FF2B5EF4-FFF2-40B4-BE49-F238E27FC236}">
                  <a16:creationId xmlns:a16="http://schemas.microsoft.com/office/drawing/2014/main" id="{CABE4726-8D89-49F6-9901-2D1CD6B76432}"/>
                </a:ext>
              </a:extLst>
            </p:cNvPr>
            <p:cNvGrpSpPr/>
            <p:nvPr/>
          </p:nvGrpSpPr>
          <p:grpSpPr>
            <a:xfrm>
              <a:off x="1217185" y="3978130"/>
              <a:ext cx="9831946" cy="2171587"/>
              <a:chOff x="1217185" y="3978130"/>
              <a:chExt cx="9831946" cy="2171587"/>
            </a:xfrm>
          </p:grpSpPr>
          <p:grpSp>
            <p:nvGrpSpPr>
              <p:cNvPr id="10" name="Grupp 9">
                <a:extLst>
                  <a:ext uri="{FF2B5EF4-FFF2-40B4-BE49-F238E27FC236}">
                    <a16:creationId xmlns:a16="http://schemas.microsoft.com/office/drawing/2014/main" id="{BBE3D64F-AD08-4814-B4C9-B553F86829B0}"/>
                  </a:ext>
                </a:extLst>
              </p:cNvPr>
              <p:cNvGrpSpPr/>
              <p:nvPr/>
            </p:nvGrpSpPr>
            <p:grpSpPr>
              <a:xfrm>
                <a:off x="1217185" y="3978130"/>
                <a:ext cx="9831946" cy="2171587"/>
                <a:chOff x="1217185" y="3978130"/>
                <a:chExt cx="9831946" cy="2171587"/>
              </a:xfrm>
            </p:grpSpPr>
            <p:sp>
              <p:nvSpPr>
                <p:cNvPr id="60" name="Bild 2">
                  <a:extLst>
                    <a:ext uri="{FF2B5EF4-FFF2-40B4-BE49-F238E27FC236}">
                      <a16:creationId xmlns:a16="http://schemas.microsoft.com/office/drawing/2014/main" id="{A5531AD3-B414-4891-8676-A0D7DAF1C4ED}"/>
                    </a:ext>
                  </a:extLst>
                </p:cNvPr>
                <p:cNvSpPr/>
                <p:nvPr/>
              </p:nvSpPr>
              <p:spPr>
                <a:xfrm>
                  <a:off x="4498979" y="3988763"/>
                  <a:ext cx="3240000" cy="2160000"/>
                </a:xfrm>
                <a:custGeom>
                  <a:avLst/>
                  <a:gdLst>
                    <a:gd name="connsiteX0" fmla="*/ 0 w 2162175"/>
                    <a:gd name="connsiteY0" fmla="*/ 0 h 1133475"/>
                    <a:gd name="connsiteX1" fmla="*/ 2169414 w 2162175"/>
                    <a:gd name="connsiteY1" fmla="*/ 0 h 1133475"/>
                    <a:gd name="connsiteX2" fmla="*/ 2169414 w 2162175"/>
                    <a:gd name="connsiteY2" fmla="*/ 1134713 h 1133475"/>
                    <a:gd name="connsiteX3" fmla="*/ 0 w 2162175"/>
                    <a:gd name="connsiteY3" fmla="*/ 1134713 h 1133475"/>
                  </a:gdLst>
                  <a:ahLst/>
                  <a:cxnLst>
                    <a:cxn ang="0">
                      <a:pos x="connsiteX0" y="connsiteY0"/>
                    </a:cxn>
                    <a:cxn ang="0">
                      <a:pos x="connsiteX1" y="connsiteY1"/>
                    </a:cxn>
                    <a:cxn ang="0">
                      <a:pos x="connsiteX2" y="connsiteY2"/>
                    </a:cxn>
                    <a:cxn ang="0">
                      <a:pos x="connsiteX3" y="connsiteY3"/>
                    </a:cxn>
                  </a:cxnLst>
                  <a:rect l="l" t="t" r="r" b="b"/>
                  <a:pathLst>
                    <a:path w="2162175" h="1133475">
                      <a:moveTo>
                        <a:pt x="0" y="0"/>
                      </a:moveTo>
                      <a:lnTo>
                        <a:pt x="2169414" y="0"/>
                      </a:lnTo>
                      <a:lnTo>
                        <a:pt x="2169414" y="1134713"/>
                      </a:lnTo>
                      <a:lnTo>
                        <a:pt x="0" y="1134713"/>
                      </a:lnTo>
                      <a:close/>
                    </a:path>
                  </a:pathLst>
                </a:custGeom>
                <a:solidFill>
                  <a:srgbClr val="FBCFB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63" name="Bild 2">
                  <a:extLst>
                    <a:ext uri="{FF2B5EF4-FFF2-40B4-BE49-F238E27FC236}">
                      <a16:creationId xmlns:a16="http://schemas.microsoft.com/office/drawing/2014/main" id="{D26FF3BB-B916-4536-A86D-F4874CF14BE7}"/>
                    </a:ext>
                  </a:extLst>
                </p:cNvPr>
                <p:cNvSpPr/>
                <p:nvPr/>
              </p:nvSpPr>
              <p:spPr>
                <a:xfrm>
                  <a:off x="1217185" y="3978130"/>
                  <a:ext cx="3240000" cy="2160000"/>
                </a:xfrm>
                <a:custGeom>
                  <a:avLst/>
                  <a:gdLst>
                    <a:gd name="connsiteX0" fmla="*/ 0 w 2162175"/>
                    <a:gd name="connsiteY0" fmla="*/ 0 h 1133475"/>
                    <a:gd name="connsiteX1" fmla="*/ 2169414 w 2162175"/>
                    <a:gd name="connsiteY1" fmla="*/ 0 h 1133475"/>
                    <a:gd name="connsiteX2" fmla="*/ 2169414 w 2162175"/>
                    <a:gd name="connsiteY2" fmla="*/ 1134713 h 1133475"/>
                    <a:gd name="connsiteX3" fmla="*/ 0 w 2162175"/>
                    <a:gd name="connsiteY3" fmla="*/ 1134713 h 1133475"/>
                  </a:gdLst>
                  <a:ahLst/>
                  <a:cxnLst>
                    <a:cxn ang="0">
                      <a:pos x="connsiteX0" y="connsiteY0"/>
                    </a:cxn>
                    <a:cxn ang="0">
                      <a:pos x="connsiteX1" y="connsiteY1"/>
                    </a:cxn>
                    <a:cxn ang="0">
                      <a:pos x="connsiteX2" y="connsiteY2"/>
                    </a:cxn>
                    <a:cxn ang="0">
                      <a:pos x="connsiteX3" y="connsiteY3"/>
                    </a:cxn>
                  </a:cxnLst>
                  <a:rect l="l" t="t" r="r" b="b"/>
                  <a:pathLst>
                    <a:path w="2162175" h="1133475">
                      <a:moveTo>
                        <a:pt x="0" y="0"/>
                      </a:moveTo>
                      <a:lnTo>
                        <a:pt x="2169414" y="0"/>
                      </a:lnTo>
                      <a:lnTo>
                        <a:pt x="2169414" y="1134713"/>
                      </a:lnTo>
                      <a:lnTo>
                        <a:pt x="0" y="1134713"/>
                      </a:lnTo>
                      <a:close/>
                    </a:path>
                  </a:pathLst>
                </a:custGeom>
                <a:solidFill>
                  <a:srgbClr val="B8E1C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Bild 2">
                  <a:extLst>
                    <a:ext uri="{FF2B5EF4-FFF2-40B4-BE49-F238E27FC236}">
                      <a16:creationId xmlns:a16="http://schemas.microsoft.com/office/drawing/2014/main" id="{43A854B1-D576-4288-B3E7-42696729E919}"/>
                    </a:ext>
                  </a:extLst>
                </p:cNvPr>
                <p:cNvSpPr/>
                <p:nvPr/>
              </p:nvSpPr>
              <p:spPr>
                <a:xfrm>
                  <a:off x="7809131" y="3989717"/>
                  <a:ext cx="3240000" cy="2160000"/>
                </a:xfrm>
                <a:custGeom>
                  <a:avLst/>
                  <a:gdLst>
                    <a:gd name="connsiteX0" fmla="*/ 0 w 2162175"/>
                    <a:gd name="connsiteY0" fmla="*/ 0 h 1133475"/>
                    <a:gd name="connsiteX1" fmla="*/ 2169414 w 2162175"/>
                    <a:gd name="connsiteY1" fmla="*/ 0 h 1133475"/>
                    <a:gd name="connsiteX2" fmla="*/ 2169414 w 2162175"/>
                    <a:gd name="connsiteY2" fmla="*/ 1134713 h 1133475"/>
                    <a:gd name="connsiteX3" fmla="*/ 0 w 2162175"/>
                    <a:gd name="connsiteY3" fmla="*/ 1134713 h 1133475"/>
                  </a:gdLst>
                  <a:ahLst/>
                  <a:cxnLst>
                    <a:cxn ang="0">
                      <a:pos x="connsiteX0" y="connsiteY0"/>
                    </a:cxn>
                    <a:cxn ang="0">
                      <a:pos x="connsiteX1" y="connsiteY1"/>
                    </a:cxn>
                    <a:cxn ang="0">
                      <a:pos x="connsiteX2" y="connsiteY2"/>
                    </a:cxn>
                    <a:cxn ang="0">
                      <a:pos x="connsiteX3" y="connsiteY3"/>
                    </a:cxn>
                  </a:cxnLst>
                  <a:rect l="l" t="t" r="r" b="b"/>
                  <a:pathLst>
                    <a:path w="2162175" h="1133475">
                      <a:moveTo>
                        <a:pt x="0" y="0"/>
                      </a:moveTo>
                      <a:lnTo>
                        <a:pt x="2169414" y="0"/>
                      </a:lnTo>
                      <a:lnTo>
                        <a:pt x="2169414" y="1134713"/>
                      </a:lnTo>
                      <a:lnTo>
                        <a:pt x="0" y="1134713"/>
                      </a:lnTo>
                      <a:close/>
                    </a:path>
                  </a:pathLst>
                </a:custGeom>
                <a:solidFill>
                  <a:srgbClr val="C0E4F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78" name="Bild 76">
                <a:extLst>
                  <a:ext uri="{FF2B5EF4-FFF2-40B4-BE49-F238E27FC236}">
                    <a16:creationId xmlns:a16="http://schemas.microsoft.com/office/drawing/2014/main" id="{4B8BF53D-5D27-4ED4-9EF6-2D44F2D28DCE}"/>
                  </a:ext>
                </a:extLst>
              </p:cNvPr>
              <p:cNvSpPr/>
              <p:nvPr/>
            </p:nvSpPr>
            <p:spPr>
              <a:xfrm>
                <a:off x="2930040" y="4952519"/>
                <a:ext cx="6236893" cy="253207"/>
              </a:xfrm>
              <a:custGeom>
                <a:avLst/>
                <a:gdLst>
                  <a:gd name="connsiteX0" fmla="*/ 78105 w 4457700"/>
                  <a:gd name="connsiteY0" fmla="*/ 0 h 180975"/>
                  <a:gd name="connsiteX1" fmla="*/ 0 w 4457700"/>
                  <a:gd name="connsiteY1" fmla="*/ 91154 h 180975"/>
                  <a:gd name="connsiteX2" fmla="*/ 78105 w 4457700"/>
                  <a:gd name="connsiteY2" fmla="*/ 182309 h 180975"/>
                  <a:gd name="connsiteX3" fmla="*/ 4384072 w 4457700"/>
                  <a:gd name="connsiteY3" fmla="*/ 182309 h 180975"/>
                  <a:gd name="connsiteX4" fmla="*/ 4462272 w 4457700"/>
                  <a:gd name="connsiteY4" fmla="*/ 91154 h 180975"/>
                  <a:gd name="connsiteX5" fmla="*/ 4384072 w 4457700"/>
                  <a:gd name="connsiteY5"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700" h="180975">
                    <a:moveTo>
                      <a:pt x="78105" y="0"/>
                    </a:moveTo>
                    <a:lnTo>
                      <a:pt x="0" y="91154"/>
                    </a:lnTo>
                    <a:lnTo>
                      <a:pt x="78105" y="182309"/>
                    </a:lnTo>
                    <a:lnTo>
                      <a:pt x="4384072" y="182309"/>
                    </a:lnTo>
                    <a:lnTo>
                      <a:pt x="4462272" y="91154"/>
                    </a:lnTo>
                    <a:lnTo>
                      <a:pt x="4384072" y="0"/>
                    </a:lnTo>
                    <a:close/>
                  </a:path>
                </a:pathLst>
              </a:custGeom>
              <a:solidFill>
                <a:srgbClr val="048493"/>
              </a:solidFill>
              <a:ln w="9525" cap="flat">
                <a:noFill/>
                <a:prstDash val="solid"/>
                <a:miter/>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Arial Black"/>
                    <a:ea typeface="+mn-ea"/>
                    <a:cs typeface="+mn-cs"/>
                  </a:rPr>
                  <a:t>Vi arbetar strategiskt med finansiering för ökad takt i omställningen</a:t>
                </a:r>
              </a:p>
            </p:txBody>
          </p:sp>
          <p:sp>
            <p:nvSpPr>
              <p:cNvPr id="40" name="Bild 76">
                <a:extLst>
                  <a:ext uri="{FF2B5EF4-FFF2-40B4-BE49-F238E27FC236}">
                    <a16:creationId xmlns:a16="http://schemas.microsoft.com/office/drawing/2014/main" id="{75AB7167-D059-4AB4-B94F-D6D74E6D59F0}"/>
                  </a:ext>
                </a:extLst>
              </p:cNvPr>
              <p:cNvSpPr/>
              <p:nvPr/>
            </p:nvSpPr>
            <p:spPr>
              <a:xfrm>
                <a:off x="2930040" y="5251046"/>
                <a:ext cx="6236893" cy="253207"/>
              </a:xfrm>
              <a:custGeom>
                <a:avLst/>
                <a:gdLst>
                  <a:gd name="connsiteX0" fmla="*/ 78105 w 4457700"/>
                  <a:gd name="connsiteY0" fmla="*/ 0 h 180975"/>
                  <a:gd name="connsiteX1" fmla="*/ 0 w 4457700"/>
                  <a:gd name="connsiteY1" fmla="*/ 91154 h 180975"/>
                  <a:gd name="connsiteX2" fmla="*/ 78105 w 4457700"/>
                  <a:gd name="connsiteY2" fmla="*/ 182309 h 180975"/>
                  <a:gd name="connsiteX3" fmla="*/ 4384072 w 4457700"/>
                  <a:gd name="connsiteY3" fmla="*/ 182309 h 180975"/>
                  <a:gd name="connsiteX4" fmla="*/ 4462272 w 4457700"/>
                  <a:gd name="connsiteY4" fmla="*/ 91154 h 180975"/>
                  <a:gd name="connsiteX5" fmla="*/ 4384072 w 4457700"/>
                  <a:gd name="connsiteY5"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700" h="180975">
                    <a:moveTo>
                      <a:pt x="78105" y="0"/>
                    </a:moveTo>
                    <a:lnTo>
                      <a:pt x="0" y="91154"/>
                    </a:lnTo>
                    <a:lnTo>
                      <a:pt x="78105" y="182309"/>
                    </a:lnTo>
                    <a:lnTo>
                      <a:pt x="4384072" y="182309"/>
                    </a:lnTo>
                    <a:lnTo>
                      <a:pt x="4462272" y="91154"/>
                    </a:lnTo>
                    <a:lnTo>
                      <a:pt x="4384072" y="0"/>
                    </a:lnTo>
                    <a:close/>
                  </a:path>
                </a:pathLst>
              </a:custGeom>
              <a:solidFill>
                <a:srgbClr val="048493"/>
              </a:solidFill>
              <a:ln w="9525" cap="flat">
                <a:noFill/>
                <a:prstDash val="solid"/>
                <a:miter/>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Arial Black"/>
                    <a:ea typeface="+mn-ea"/>
                    <a:cs typeface="+mn-cs"/>
                  </a:rPr>
                  <a:t>Vi driver på utvecklingen för hållbart byggande</a:t>
                </a:r>
              </a:p>
            </p:txBody>
          </p:sp>
          <p:sp>
            <p:nvSpPr>
              <p:cNvPr id="50" name="Bild 76">
                <a:extLst>
                  <a:ext uri="{FF2B5EF4-FFF2-40B4-BE49-F238E27FC236}">
                    <a16:creationId xmlns:a16="http://schemas.microsoft.com/office/drawing/2014/main" id="{DF6279CD-353B-4E61-8BC7-CB081353C923}"/>
                  </a:ext>
                </a:extLst>
              </p:cNvPr>
              <p:cNvSpPr/>
              <p:nvPr/>
            </p:nvSpPr>
            <p:spPr>
              <a:xfrm>
                <a:off x="2930040" y="5549572"/>
                <a:ext cx="6236893" cy="253207"/>
              </a:xfrm>
              <a:custGeom>
                <a:avLst/>
                <a:gdLst>
                  <a:gd name="connsiteX0" fmla="*/ 78105 w 4457700"/>
                  <a:gd name="connsiteY0" fmla="*/ 0 h 180975"/>
                  <a:gd name="connsiteX1" fmla="*/ 0 w 4457700"/>
                  <a:gd name="connsiteY1" fmla="*/ 91154 h 180975"/>
                  <a:gd name="connsiteX2" fmla="*/ 78105 w 4457700"/>
                  <a:gd name="connsiteY2" fmla="*/ 182309 h 180975"/>
                  <a:gd name="connsiteX3" fmla="*/ 4384072 w 4457700"/>
                  <a:gd name="connsiteY3" fmla="*/ 182309 h 180975"/>
                  <a:gd name="connsiteX4" fmla="*/ 4462272 w 4457700"/>
                  <a:gd name="connsiteY4" fmla="*/ 91154 h 180975"/>
                  <a:gd name="connsiteX5" fmla="*/ 4384072 w 4457700"/>
                  <a:gd name="connsiteY5"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700" h="180975">
                    <a:moveTo>
                      <a:pt x="78105" y="0"/>
                    </a:moveTo>
                    <a:lnTo>
                      <a:pt x="0" y="91154"/>
                    </a:lnTo>
                    <a:lnTo>
                      <a:pt x="78105" y="182309"/>
                    </a:lnTo>
                    <a:lnTo>
                      <a:pt x="4384072" y="182309"/>
                    </a:lnTo>
                    <a:lnTo>
                      <a:pt x="4462272" y="91154"/>
                    </a:lnTo>
                    <a:lnTo>
                      <a:pt x="4384072" y="0"/>
                    </a:lnTo>
                    <a:close/>
                  </a:path>
                </a:pathLst>
              </a:custGeom>
              <a:solidFill>
                <a:srgbClr val="048493"/>
              </a:solidFill>
              <a:ln w="9525" cap="flat">
                <a:noFill/>
                <a:prstDash val="solid"/>
                <a:miter/>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Arial Black"/>
                    <a:ea typeface="+mn-ea"/>
                    <a:cs typeface="+mn-cs"/>
                  </a:rPr>
                  <a:t>Vi planerar för en grön och robust stad</a:t>
                </a:r>
              </a:p>
            </p:txBody>
          </p:sp>
          <p:sp>
            <p:nvSpPr>
              <p:cNvPr id="51" name="Bild 76">
                <a:extLst>
                  <a:ext uri="{FF2B5EF4-FFF2-40B4-BE49-F238E27FC236}">
                    <a16:creationId xmlns:a16="http://schemas.microsoft.com/office/drawing/2014/main" id="{C9BE2E2A-B831-441D-8A11-DF71A3836CB7}"/>
                  </a:ext>
                </a:extLst>
              </p:cNvPr>
              <p:cNvSpPr/>
              <p:nvPr/>
            </p:nvSpPr>
            <p:spPr>
              <a:xfrm>
                <a:off x="2920404" y="4654230"/>
                <a:ext cx="6236893" cy="253207"/>
              </a:xfrm>
              <a:custGeom>
                <a:avLst/>
                <a:gdLst>
                  <a:gd name="connsiteX0" fmla="*/ 78105 w 4457700"/>
                  <a:gd name="connsiteY0" fmla="*/ 0 h 180975"/>
                  <a:gd name="connsiteX1" fmla="*/ 0 w 4457700"/>
                  <a:gd name="connsiteY1" fmla="*/ 91154 h 180975"/>
                  <a:gd name="connsiteX2" fmla="*/ 78105 w 4457700"/>
                  <a:gd name="connsiteY2" fmla="*/ 182309 h 180975"/>
                  <a:gd name="connsiteX3" fmla="*/ 4384072 w 4457700"/>
                  <a:gd name="connsiteY3" fmla="*/ 182309 h 180975"/>
                  <a:gd name="connsiteX4" fmla="*/ 4462272 w 4457700"/>
                  <a:gd name="connsiteY4" fmla="*/ 91154 h 180975"/>
                  <a:gd name="connsiteX5" fmla="*/ 4384072 w 4457700"/>
                  <a:gd name="connsiteY5"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700" h="180975">
                    <a:moveTo>
                      <a:pt x="78105" y="0"/>
                    </a:moveTo>
                    <a:lnTo>
                      <a:pt x="0" y="91154"/>
                    </a:lnTo>
                    <a:lnTo>
                      <a:pt x="78105" y="182309"/>
                    </a:lnTo>
                    <a:lnTo>
                      <a:pt x="4384072" y="182309"/>
                    </a:lnTo>
                    <a:lnTo>
                      <a:pt x="4462272" y="91154"/>
                    </a:lnTo>
                    <a:lnTo>
                      <a:pt x="4384072" y="0"/>
                    </a:lnTo>
                    <a:close/>
                  </a:path>
                </a:pathLst>
              </a:custGeom>
              <a:solidFill>
                <a:srgbClr val="048493"/>
              </a:solidFill>
              <a:ln w="9525" cap="flat">
                <a:noFill/>
                <a:prstDash val="solid"/>
                <a:miter/>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Arial Black"/>
                    <a:ea typeface="+mn-ea"/>
                    <a:cs typeface="+mn-cs"/>
                  </a:rPr>
                  <a:t>Vi driver på utvecklingen av cirkulär ekonomi</a:t>
                </a:r>
              </a:p>
            </p:txBody>
          </p:sp>
          <p:sp>
            <p:nvSpPr>
              <p:cNvPr id="52" name="Bild 76">
                <a:extLst>
                  <a:ext uri="{FF2B5EF4-FFF2-40B4-BE49-F238E27FC236}">
                    <a16:creationId xmlns:a16="http://schemas.microsoft.com/office/drawing/2014/main" id="{6B396947-0CA7-423B-AA81-889B316DAB71}"/>
                  </a:ext>
                </a:extLst>
              </p:cNvPr>
              <p:cNvSpPr/>
              <p:nvPr/>
            </p:nvSpPr>
            <p:spPr>
              <a:xfrm>
                <a:off x="2936078" y="4363914"/>
                <a:ext cx="6236893" cy="253207"/>
              </a:xfrm>
              <a:custGeom>
                <a:avLst/>
                <a:gdLst>
                  <a:gd name="connsiteX0" fmla="*/ 78105 w 4457700"/>
                  <a:gd name="connsiteY0" fmla="*/ 0 h 180975"/>
                  <a:gd name="connsiteX1" fmla="*/ 0 w 4457700"/>
                  <a:gd name="connsiteY1" fmla="*/ 91154 h 180975"/>
                  <a:gd name="connsiteX2" fmla="*/ 78105 w 4457700"/>
                  <a:gd name="connsiteY2" fmla="*/ 182309 h 180975"/>
                  <a:gd name="connsiteX3" fmla="*/ 4384072 w 4457700"/>
                  <a:gd name="connsiteY3" fmla="*/ 182309 h 180975"/>
                  <a:gd name="connsiteX4" fmla="*/ 4462272 w 4457700"/>
                  <a:gd name="connsiteY4" fmla="*/ 91154 h 180975"/>
                  <a:gd name="connsiteX5" fmla="*/ 4384072 w 4457700"/>
                  <a:gd name="connsiteY5"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700" h="180975">
                    <a:moveTo>
                      <a:pt x="78105" y="0"/>
                    </a:moveTo>
                    <a:lnTo>
                      <a:pt x="0" y="91154"/>
                    </a:lnTo>
                    <a:lnTo>
                      <a:pt x="78105" y="182309"/>
                    </a:lnTo>
                    <a:lnTo>
                      <a:pt x="4384072" y="182309"/>
                    </a:lnTo>
                    <a:lnTo>
                      <a:pt x="4462272" y="91154"/>
                    </a:lnTo>
                    <a:lnTo>
                      <a:pt x="4384072" y="0"/>
                    </a:lnTo>
                    <a:close/>
                  </a:path>
                </a:pathLst>
              </a:custGeom>
              <a:solidFill>
                <a:srgbClr val="048493"/>
              </a:solidFill>
              <a:ln w="9525" cap="flat">
                <a:noFill/>
                <a:prstDash val="solid"/>
                <a:miter/>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Arial Black"/>
                    <a:ea typeface="+mn-ea"/>
                    <a:cs typeface="+mn-cs"/>
                  </a:rPr>
                  <a:t>Vi skapar förutsättningar för att leva hållbart</a:t>
                </a:r>
              </a:p>
            </p:txBody>
          </p:sp>
          <p:sp>
            <p:nvSpPr>
              <p:cNvPr id="53" name="Bild 76">
                <a:extLst>
                  <a:ext uri="{FF2B5EF4-FFF2-40B4-BE49-F238E27FC236}">
                    <a16:creationId xmlns:a16="http://schemas.microsoft.com/office/drawing/2014/main" id="{8B7F5104-422C-4D01-A7B7-58A351DF5240}"/>
                  </a:ext>
                </a:extLst>
              </p:cNvPr>
              <p:cNvSpPr/>
              <p:nvPr/>
            </p:nvSpPr>
            <p:spPr>
              <a:xfrm>
                <a:off x="2936078" y="4068733"/>
                <a:ext cx="6236893" cy="253207"/>
              </a:xfrm>
              <a:custGeom>
                <a:avLst/>
                <a:gdLst>
                  <a:gd name="connsiteX0" fmla="*/ 78105 w 4457700"/>
                  <a:gd name="connsiteY0" fmla="*/ 0 h 180975"/>
                  <a:gd name="connsiteX1" fmla="*/ 0 w 4457700"/>
                  <a:gd name="connsiteY1" fmla="*/ 91154 h 180975"/>
                  <a:gd name="connsiteX2" fmla="*/ 78105 w 4457700"/>
                  <a:gd name="connsiteY2" fmla="*/ 182309 h 180975"/>
                  <a:gd name="connsiteX3" fmla="*/ 4384072 w 4457700"/>
                  <a:gd name="connsiteY3" fmla="*/ 182309 h 180975"/>
                  <a:gd name="connsiteX4" fmla="*/ 4462272 w 4457700"/>
                  <a:gd name="connsiteY4" fmla="*/ 91154 h 180975"/>
                  <a:gd name="connsiteX5" fmla="*/ 4384072 w 4457700"/>
                  <a:gd name="connsiteY5"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700" h="180975">
                    <a:moveTo>
                      <a:pt x="78105" y="0"/>
                    </a:moveTo>
                    <a:lnTo>
                      <a:pt x="0" y="91154"/>
                    </a:lnTo>
                    <a:lnTo>
                      <a:pt x="78105" y="182309"/>
                    </a:lnTo>
                    <a:lnTo>
                      <a:pt x="4384072" y="182309"/>
                    </a:lnTo>
                    <a:lnTo>
                      <a:pt x="4462272" y="91154"/>
                    </a:lnTo>
                    <a:lnTo>
                      <a:pt x="4384072" y="0"/>
                    </a:lnTo>
                    <a:close/>
                  </a:path>
                </a:pathLst>
              </a:custGeom>
              <a:solidFill>
                <a:srgbClr val="048493"/>
              </a:solidFill>
              <a:ln w="9525" cap="flat">
                <a:noFill/>
                <a:prstDash val="solid"/>
                <a:miter/>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Arial Black"/>
                    <a:ea typeface="+mn-ea"/>
                    <a:cs typeface="+mn-cs"/>
                  </a:rPr>
                  <a:t>Vi agerar som föregångare</a:t>
                </a:r>
              </a:p>
            </p:txBody>
          </p:sp>
          <p:sp>
            <p:nvSpPr>
              <p:cNvPr id="47" name="Bild 76">
                <a:extLst>
                  <a:ext uri="{FF2B5EF4-FFF2-40B4-BE49-F238E27FC236}">
                    <a16:creationId xmlns:a16="http://schemas.microsoft.com/office/drawing/2014/main" id="{F78BCBD1-CFA3-4B43-83D9-8B93220D7D9B}"/>
                  </a:ext>
                </a:extLst>
              </p:cNvPr>
              <p:cNvSpPr/>
              <p:nvPr/>
            </p:nvSpPr>
            <p:spPr>
              <a:xfrm>
                <a:off x="2936078" y="5849049"/>
                <a:ext cx="6236893" cy="253207"/>
              </a:xfrm>
              <a:custGeom>
                <a:avLst/>
                <a:gdLst>
                  <a:gd name="connsiteX0" fmla="*/ 78105 w 4457700"/>
                  <a:gd name="connsiteY0" fmla="*/ 0 h 180975"/>
                  <a:gd name="connsiteX1" fmla="*/ 0 w 4457700"/>
                  <a:gd name="connsiteY1" fmla="*/ 91154 h 180975"/>
                  <a:gd name="connsiteX2" fmla="*/ 78105 w 4457700"/>
                  <a:gd name="connsiteY2" fmla="*/ 182309 h 180975"/>
                  <a:gd name="connsiteX3" fmla="*/ 4384072 w 4457700"/>
                  <a:gd name="connsiteY3" fmla="*/ 182309 h 180975"/>
                  <a:gd name="connsiteX4" fmla="*/ 4462272 w 4457700"/>
                  <a:gd name="connsiteY4" fmla="*/ 91154 h 180975"/>
                  <a:gd name="connsiteX5" fmla="*/ 4384072 w 4457700"/>
                  <a:gd name="connsiteY5"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700" h="180975">
                    <a:moveTo>
                      <a:pt x="78105" y="0"/>
                    </a:moveTo>
                    <a:lnTo>
                      <a:pt x="0" y="91154"/>
                    </a:lnTo>
                    <a:lnTo>
                      <a:pt x="78105" y="182309"/>
                    </a:lnTo>
                    <a:lnTo>
                      <a:pt x="4384072" y="182309"/>
                    </a:lnTo>
                    <a:lnTo>
                      <a:pt x="4462272" y="91154"/>
                    </a:lnTo>
                    <a:lnTo>
                      <a:pt x="4384072" y="0"/>
                    </a:lnTo>
                    <a:close/>
                  </a:path>
                </a:pathLst>
              </a:custGeom>
              <a:solidFill>
                <a:srgbClr val="048493"/>
              </a:solidFill>
              <a:ln w="9525" cap="flat">
                <a:noFill/>
                <a:prstDash val="solid"/>
                <a:miter/>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chemeClr val="bg1"/>
                    </a:solidFill>
                    <a:effectLst/>
                    <a:uLnTx/>
                    <a:uFillTx/>
                    <a:latin typeface="Arial Black"/>
                    <a:ea typeface="+mn-ea"/>
                    <a:cs typeface="+mn-cs"/>
                  </a:rPr>
                  <a:t>Vi driver på utvecklingen av hållbara transporter</a:t>
                </a:r>
              </a:p>
            </p:txBody>
          </p:sp>
        </p:grpSp>
      </p:grpSp>
      <p:grpSp>
        <p:nvGrpSpPr>
          <p:cNvPr id="57" name="Grupp 56">
            <a:extLst>
              <a:ext uri="{FF2B5EF4-FFF2-40B4-BE49-F238E27FC236}">
                <a16:creationId xmlns:a16="http://schemas.microsoft.com/office/drawing/2014/main" id="{474AD3DA-89C2-4B17-A332-35F20A5CE810}"/>
              </a:ext>
            </a:extLst>
          </p:cNvPr>
          <p:cNvGrpSpPr/>
          <p:nvPr/>
        </p:nvGrpSpPr>
        <p:grpSpPr>
          <a:xfrm>
            <a:off x="8644250" y="953635"/>
            <a:ext cx="2556000" cy="5400000"/>
            <a:chOff x="10278717" y="1534260"/>
            <a:chExt cx="751234" cy="4419688"/>
          </a:xfrm>
        </p:grpSpPr>
        <p:cxnSp>
          <p:nvCxnSpPr>
            <p:cNvPr id="64" name="Rak koppling 63">
              <a:extLst>
                <a:ext uri="{FF2B5EF4-FFF2-40B4-BE49-F238E27FC236}">
                  <a16:creationId xmlns:a16="http://schemas.microsoft.com/office/drawing/2014/main" id="{317589B8-5769-41D2-97CD-2A8BDD4D9E87}"/>
                </a:ext>
              </a:extLst>
            </p:cNvPr>
            <p:cNvCxnSpPr>
              <a:cxnSpLocks/>
            </p:cNvCxnSpPr>
            <p:nvPr/>
          </p:nvCxnSpPr>
          <p:spPr>
            <a:xfrm>
              <a:off x="10420350" y="1534260"/>
              <a:ext cx="60960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Rak koppling 64">
              <a:extLst>
                <a:ext uri="{FF2B5EF4-FFF2-40B4-BE49-F238E27FC236}">
                  <a16:creationId xmlns:a16="http://schemas.microsoft.com/office/drawing/2014/main" id="{8BD6A5A4-7E80-4923-AA5E-D8D44B9443C8}"/>
                </a:ext>
              </a:extLst>
            </p:cNvPr>
            <p:cNvCxnSpPr>
              <a:cxnSpLocks/>
            </p:cNvCxnSpPr>
            <p:nvPr/>
          </p:nvCxnSpPr>
          <p:spPr>
            <a:xfrm>
              <a:off x="11029950" y="1534260"/>
              <a:ext cx="0" cy="4419688"/>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7" name="Rak koppling 66">
              <a:extLst>
                <a:ext uri="{FF2B5EF4-FFF2-40B4-BE49-F238E27FC236}">
                  <a16:creationId xmlns:a16="http://schemas.microsoft.com/office/drawing/2014/main" id="{CEDE29F4-99B5-49E1-AE59-0683DA9DEED2}"/>
                </a:ext>
              </a:extLst>
            </p:cNvPr>
            <p:cNvCxnSpPr>
              <a:cxnSpLocks/>
            </p:cNvCxnSpPr>
            <p:nvPr/>
          </p:nvCxnSpPr>
          <p:spPr>
            <a:xfrm rot="10800000" flipH="1">
              <a:off x="10278717" y="5953948"/>
              <a:ext cx="751234" cy="0"/>
            </a:xfrm>
            <a:prstGeom prst="line">
              <a:avLst/>
            </a:prstGeom>
            <a:ln w="15875">
              <a:solidFill>
                <a:schemeClr val="tx1"/>
              </a:solidFill>
              <a:headEnd type="arrow"/>
            </a:ln>
          </p:spPr>
          <p:style>
            <a:lnRef idx="1">
              <a:schemeClr val="accent1"/>
            </a:lnRef>
            <a:fillRef idx="0">
              <a:schemeClr val="accent1"/>
            </a:fillRef>
            <a:effectRef idx="0">
              <a:schemeClr val="accent1"/>
            </a:effectRef>
            <a:fontRef idx="minor">
              <a:schemeClr val="tx1"/>
            </a:fontRef>
          </p:style>
        </p:cxnSp>
      </p:grpSp>
      <p:sp>
        <p:nvSpPr>
          <p:cNvPr id="68" name="Rektangel 67">
            <a:extLst>
              <a:ext uri="{FF2B5EF4-FFF2-40B4-BE49-F238E27FC236}">
                <a16:creationId xmlns:a16="http://schemas.microsoft.com/office/drawing/2014/main" id="{5AB99E20-1FAD-4F4A-97E8-EDB2F7B1ADB9}"/>
              </a:ext>
            </a:extLst>
          </p:cNvPr>
          <p:cNvSpPr/>
          <p:nvPr/>
        </p:nvSpPr>
        <p:spPr>
          <a:xfrm>
            <a:off x="1860275" y="810818"/>
            <a:ext cx="879984" cy="29238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300" b="1" i="0" u="none" strike="noStrike" kern="1200" cap="none" spc="0" normalizeH="0" baseline="0" noProof="0">
                <a:ln>
                  <a:noFill/>
                </a:ln>
                <a:solidFill>
                  <a:prstClr val="black"/>
                </a:solidFill>
                <a:effectLst/>
                <a:uLnTx/>
                <a:uFillTx/>
                <a:latin typeface="Arial Black"/>
                <a:ea typeface="+mn-ea"/>
                <a:cs typeface="+mn-cs"/>
              </a:rPr>
              <a:t>Planera</a:t>
            </a:r>
          </a:p>
        </p:txBody>
      </p:sp>
      <p:sp>
        <p:nvSpPr>
          <p:cNvPr id="69" name="Rektangel 68">
            <a:extLst>
              <a:ext uri="{FF2B5EF4-FFF2-40B4-BE49-F238E27FC236}">
                <a16:creationId xmlns:a16="http://schemas.microsoft.com/office/drawing/2014/main" id="{18D70804-2CE7-4526-97A3-D43C1FE1DD42}"/>
              </a:ext>
            </a:extLst>
          </p:cNvPr>
          <p:cNvSpPr/>
          <p:nvPr/>
        </p:nvSpPr>
        <p:spPr>
          <a:xfrm>
            <a:off x="7862753" y="814521"/>
            <a:ext cx="1184555" cy="29238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300" b="1" i="0" u="none" strike="noStrike" kern="1200" cap="none" spc="0" normalizeH="0" baseline="0" noProof="0">
                <a:ln>
                  <a:noFill/>
                </a:ln>
                <a:solidFill>
                  <a:prstClr val="black"/>
                </a:solidFill>
                <a:effectLst/>
                <a:uLnTx/>
                <a:uFillTx/>
                <a:latin typeface="Arial Black"/>
                <a:ea typeface="+mn-ea"/>
                <a:cs typeface="+mn-cs"/>
              </a:rPr>
              <a:t>Genomföra</a:t>
            </a:r>
          </a:p>
        </p:txBody>
      </p:sp>
      <p:sp>
        <p:nvSpPr>
          <p:cNvPr id="70" name="Rektangel 69">
            <a:extLst>
              <a:ext uri="{FF2B5EF4-FFF2-40B4-BE49-F238E27FC236}">
                <a16:creationId xmlns:a16="http://schemas.microsoft.com/office/drawing/2014/main" id="{148DB115-E912-4217-AB9B-06FD09DC3D71}"/>
              </a:ext>
            </a:extLst>
          </p:cNvPr>
          <p:cNvSpPr/>
          <p:nvPr/>
        </p:nvSpPr>
        <p:spPr>
          <a:xfrm>
            <a:off x="7687229" y="6206879"/>
            <a:ext cx="1010918" cy="29238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300" b="1" i="0" u="none" strike="noStrike" kern="1200" cap="none" spc="0" normalizeH="0" baseline="0" noProof="0">
                <a:ln>
                  <a:noFill/>
                </a:ln>
                <a:solidFill>
                  <a:prstClr val="black"/>
                </a:solidFill>
                <a:effectLst/>
                <a:uLnTx/>
                <a:uFillTx/>
                <a:latin typeface="Arial Black"/>
                <a:ea typeface="+mn-ea"/>
                <a:cs typeface="+mn-cs"/>
              </a:rPr>
              <a:t>Följa upp</a:t>
            </a:r>
          </a:p>
        </p:txBody>
      </p:sp>
      <p:sp>
        <p:nvSpPr>
          <p:cNvPr id="71" name="Rektangel 70">
            <a:extLst>
              <a:ext uri="{FF2B5EF4-FFF2-40B4-BE49-F238E27FC236}">
                <a16:creationId xmlns:a16="http://schemas.microsoft.com/office/drawing/2014/main" id="{EDAD511E-5F7B-415B-8BA6-AC16ABC0563D}"/>
              </a:ext>
            </a:extLst>
          </p:cNvPr>
          <p:cNvSpPr/>
          <p:nvPr/>
        </p:nvSpPr>
        <p:spPr>
          <a:xfrm>
            <a:off x="1598133" y="6159620"/>
            <a:ext cx="1029769" cy="292388"/>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300" b="1" i="0" u="none" strike="noStrike" kern="1200" cap="none" spc="0" normalizeH="0" baseline="0" noProof="0">
                <a:ln>
                  <a:noFill/>
                </a:ln>
                <a:solidFill>
                  <a:prstClr val="black"/>
                </a:solidFill>
                <a:effectLst/>
                <a:uLnTx/>
                <a:uFillTx/>
                <a:latin typeface="Arial Black"/>
                <a:ea typeface="+mn-ea"/>
                <a:cs typeface="+mn-cs"/>
              </a:rPr>
              <a:t>Förbättra</a:t>
            </a:r>
          </a:p>
        </p:txBody>
      </p:sp>
      <p:cxnSp>
        <p:nvCxnSpPr>
          <p:cNvPr id="75" name="Rak pilkoppling 74">
            <a:extLst>
              <a:ext uri="{FF2B5EF4-FFF2-40B4-BE49-F238E27FC236}">
                <a16:creationId xmlns:a16="http://schemas.microsoft.com/office/drawing/2014/main" id="{E30639CC-28AE-4186-87E0-8A56107306CE}"/>
              </a:ext>
            </a:extLst>
          </p:cNvPr>
          <p:cNvCxnSpPr>
            <a:cxnSpLocks/>
          </p:cNvCxnSpPr>
          <p:nvPr/>
        </p:nvCxnSpPr>
        <p:spPr>
          <a:xfrm>
            <a:off x="2798735" y="946296"/>
            <a:ext cx="5040000" cy="0"/>
          </a:xfrm>
          <a:prstGeom prst="straightConnector1">
            <a:avLst/>
          </a:prstGeom>
          <a:ln w="15875"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Rak pilkoppling 75">
            <a:extLst>
              <a:ext uri="{FF2B5EF4-FFF2-40B4-BE49-F238E27FC236}">
                <a16:creationId xmlns:a16="http://schemas.microsoft.com/office/drawing/2014/main" id="{F3F8486A-C59A-4A8F-805D-EB1321909DC2}"/>
              </a:ext>
            </a:extLst>
          </p:cNvPr>
          <p:cNvCxnSpPr>
            <a:cxnSpLocks/>
          </p:cNvCxnSpPr>
          <p:nvPr/>
        </p:nvCxnSpPr>
        <p:spPr>
          <a:xfrm>
            <a:off x="2625263" y="6305003"/>
            <a:ext cx="4991856" cy="26262"/>
          </a:xfrm>
          <a:prstGeom prst="straightConnector1">
            <a:avLst/>
          </a:prstGeom>
          <a:ln w="15875" cmpd="sng">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grpSp>
        <p:nvGrpSpPr>
          <p:cNvPr id="77" name="Grupp 76">
            <a:extLst>
              <a:ext uri="{FF2B5EF4-FFF2-40B4-BE49-F238E27FC236}">
                <a16:creationId xmlns:a16="http://schemas.microsoft.com/office/drawing/2014/main" id="{AFFA0B24-3799-4DC3-A700-63C3DD301DD8}"/>
              </a:ext>
            </a:extLst>
          </p:cNvPr>
          <p:cNvGrpSpPr/>
          <p:nvPr/>
        </p:nvGrpSpPr>
        <p:grpSpPr>
          <a:xfrm rot="10800000">
            <a:off x="648854" y="941392"/>
            <a:ext cx="1227373" cy="5364000"/>
            <a:chOff x="10279288" y="1534260"/>
            <a:chExt cx="751234" cy="4420466"/>
          </a:xfrm>
        </p:grpSpPr>
        <p:cxnSp>
          <p:nvCxnSpPr>
            <p:cNvPr id="79" name="Rak koppling 78">
              <a:extLst>
                <a:ext uri="{FF2B5EF4-FFF2-40B4-BE49-F238E27FC236}">
                  <a16:creationId xmlns:a16="http://schemas.microsoft.com/office/drawing/2014/main" id="{A3BF0DC4-3DD1-4EB8-9360-9AF2A449AF16}"/>
                </a:ext>
              </a:extLst>
            </p:cNvPr>
            <p:cNvCxnSpPr>
              <a:cxnSpLocks/>
            </p:cNvCxnSpPr>
            <p:nvPr/>
          </p:nvCxnSpPr>
          <p:spPr>
            <a:xfrm>
              <a:off x="10420350" y="1534260"/>
              <a:ext cx="60960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Rak koppling 79">
              <a:extLst>
                <a:ext uri="{FF2B5EF4-FFF2-40B4-BE49-F238E27FC236}">
                  <a16:creationId xmlns:a16="http://schemas.microsoft.com/office/drawing/2014/main" id="{D6DCB065-EEE1-4AEE-976A-1DDDE24C426E}"/>
                </a:ext>
              </a:extLst>
            </p:cNvPr>
            <p:cNvCxnSpPr>
              <a:cxnSpLocks/>
            </p:cNvCxnSpPr>
            <p:nvPr/>
          </p:nvCxnSpPr>
          <p:spPr>
            <a:xfrm>
              <a:off x="11029950" y="1534260"/>
              <a:ext cx="0" cy="4419688"/>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1" name="Rak koppling 80">
              <a:extLst>
                <a:ext uri="{FF2B5EF4-FFF2-40B4-BE49-F238E27FC236}">
                  <a16:creationId xmlns:a16="http://schemas.microsoft.com/office/drawing/2014/main" id="{7DCD68A1-F3D6-4385-95D1-7EFA70177484}"/>
                </a:ext>
              </a:extLst>
            </p:cNvPr>
            <p:cNvCxnSpPr>
              <a:cxnSpLocks/>
            </p:cNvCxnSpPr>
            <p:nvPr/>
          </p:nvCxnSpPr>
          <p:spPr>
            <a:xfrm rot="10800000" flipH="1">
              <a:off x="10279288" y="5954726"/>
              <a:ext cx="751234" cy="0"/>
            </a:xfrm>
            <a:prstGeom prst="line">
              <a:avLst/>
            </a:prstGeom>
            <a:ln w="15875">
              <a:solidFill>
                <a:schemeClr val="tx1"/>
              </a:solidFill>
              <a:headEnd type="arrow"/>
            </a:ln>
          </p:spPr>
          <p:style>
            <a:lnRef idx="1">
              <a:schemeClr val="accent1"/>
            </a:lnRef>
            <a:fillRef idx="0">
              <a:schemeClr val="accent1"/>
            </a:fillRef>
            <a:effectRef idx="0">
              <a:schemeClr val="accent1"/>
            </a:effectRef>
            <a:fontRef idx="minor">
              <a:schemeClr val="tx1"/>
            </a:fontRef>
          </p:style>
        </p:cxnSp>
      </p:grpSp>
      <p:grpSp>
        <p:nvGrpSpPr>
          <p:cNvPr id="14" name="Grupp 13">
            <a:extLst>
              <a:ext uri="{FF2B5EF4-FFF2-40B4-BE49-F238E27FC236}">
                <a16:creationId xmlns:a16="http://schemas.microsoft.com/office/drawing/2014/main" id="{CA9E349C-43A8-48C2-BE81-E6E3D688148B}"/>
              </a:ext>
            </a:extLst>
          </p:cNvPr>
          <p:cNvGrpSpPr/>
          <p:nvPr/>
        </p:nvGrpSpPr>
        <p:grpSpPr>
          <a:xfrm>
            <a:off x="778258" y="1930886"/>
            <a:ext cx="10271659" cy="882987"/>
            <a:chOff x="778258" y="1930886"/>
            <a:chExt cx="10271659" cy="882987"/>
          </a:xfrm>
        </p:grpSpPr>
        <p:sp>
          <p:nvSpPr>
            <p:cNvPr id="30" name="Bild 24">
              <a:extLst>
                <a:ext uri="{FF2B5EF4-FFF2-40B4-BE49-F238E27FC236}">
                  <a16:creationId xmlns:a16="http://schemas.microsoft.com/office/drawing/2014/main" id="{6B0E4B50-251F-42EC-9762-7D9B1D0ECAF6}"/>
                </a:ext>
              </a:extLst>
            </p:cNvPr>
            <p:cNvSpPr/>
            <p:nvPr/>
          </p:nvSpPr>
          <p:spPr>
            <a:xfrm rot="10800000">
              <a:off x="778258" y="1937904"/>
              <a:ext cx="381600" cy="864000"/>
            </a:xfrm>
            <a:custGeom>
              <a:avLst/>
              <a:gdLst>
                <a:gd name="connsiteX0" fmla="*/ 0 w 381000"/>
                <a:gd name="connsiteY0" fmla="*/ 0 h 781050"/>
                <a:gd name="connsiteX1" fmla="*/ 388811 w 381000"/>
                <a:gd name="connsiteY1" fmla="*/ 0 h 781050"/>
                <a:gd name="connsiteX2" fmla="*/ 388811 w 381000"/>
                <a:gd name="connsiteY2" fmla="*/ 790289 h 781050"/>
                <a:gd name="connsiteX3" fmla="*/ 0 w 381000"/>
                <a:gd name="connsiteY3" fmla="*/ 790289 h 781050"/>
              </a:gdLst>
              <a:ahLst/>
              <a:cxnLst>
                <a:cxn ang="0">
                  <a:pos x="connsiteX0" y="connsiteY0"/>
                </a:cxn>
                <a:cxn ang="0">
                  <a:pos x="connsiteX1" y="connsiteY1"/>
                </a:cxn>
                <a:cxn ang="0">
                  <a:pos x="connsiteX2" y="connsiteY2"/>
                </a:cxn>
                <a:cxn ang="0">
                  <a:pos x="connsiteX3" y="connsiteY3"/>
                </a:cxn>
              </a:cxnLst>
              <a:rect l="l" t="t" r="r" b="b"/>
              <a:pathLst>
                <a:path w="381000" h="781050">
                  <a:moveTo>
                    <a:pt x="0" y="0"/>
                  </a:moveTo>
                  <a:lnTo>
                    <a:pt x="388811" y="0"/>
                  </a:lnTo>
                  <a:lnTo>
                    <a:pt x="388811" y="790289"/>
                  </a:lnTo>
                  <a:lnTo>
                    <a:pt x="0" y="790289"/>
                  </a:lnTo>
                  <a:close/>
                </a:path>
              </a:pathLst>
            </a:custGeom>
            <a:solidFill>
              <a:srgbClr val="008391"/>
            </a:solidFill>
            <a:ln w="9525" cap="flat">
              <a:noFill/>
              <a:prstDash val="solid"/>
              <a:miter/>
            </a:ln>
          </p:spPr>
          <p:txBody>
            <a:bodyPr vert="vert" lIns="108000" rtlCol="0"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prstClr val="white"/>
                  </a:solidFill>
                  <a:effectLst/>
                  <a:uLnTx/>
                  <a:uFillTx/>
                  <a:latin typeface="Arial Black"/>
                  <a:ea typeface="+mn-ea"/>
                  <a:cs typeface="+mn-cs"/>
                </a:rPr>
                <a:t>Miljömål</a:t>
              </a:r>
            </a:p>
          </p:txBody>
        </p:sp>
        <p:grpSp>
          <p:nvGrpSpPr>
            <p:cNvPr id="6" name="Grupp 5">
              <a:extLst>
                <a:ext uri="{FF2B5EF4-FFF2-40B4-BE49-F238E27FC236}">
                  <a16:creationId xmlns:a16="http://schemas.microsoft.com/office/drawing/2014/main" id="{6234FA60-B1C8-44B7-90A6-484945C8E29F}"/>
                </a:ext>
              </a:extLst>
            </p:cNvPr>
            <p:cNvGrpSpPr/>
            <p:nvPr/>
          </p:nvGrpSpPr>
          <p:grpSpPr>
            <a:xfrm>
              <a:off x="7809917" y="1930886"/>
              <a:ext cx="3240000" cy="877647"/>
              <a:chOff x="7809917" y="1930886"/>
              <a:chExt cx="3240000" cy="877647"/>
            </a:xfrm>
          </p:grpSpPr>
          <p:sp>
            <p:nvSpPr>
              <p:cNvPr id="36" name="Bild 13">
                <a:extLst>
                  <a:ext uri="{FF2B5EF4-FFF2-40B4-BE49-F238E27FC236}">
                    <a16:creationId xmlns:a16="http://schemas.microsoft.com/office/drawing/2014/main" id="{A4DFC49D-E4C7-42EB-85C1-F7DF9CCEF0A8}"/>
                  </a:ext>
                </a:extLst>
              </p:cNvPr>
              <p:cNvSpPr/>
              <p:nvPr/>
            </p:nvSpPr>
            <p:spPr>
              <a:xfrm>
                <a:off x="7809917" y="1930886"/>
                <a:ext cx="3240000" cy="877647"/>
              </a:xfrm>
              <a:custGeom>
                <a:avLst/>
                <a:gdLst>
                  <a:gd name="connsiteX0" fmla="*/ 0 w 2171700"/>
                  <a:gd name="connsiteY0" fmla="*/ 0 h 781050"/>
                  <a:gd name="connsiteX1" fmla="*/ 2173224 w 2171700"/>
                  <a:gd name="connsiteY1" fmla="*/ 0 h 781050"/>
                  <a:gd name="connsiteX2" fmla="*/ 2173224 w 2171700"/>
                  <a:gd name="connsiteY2" fmla="*/ 790289 h 781050"/>
                  <a:gd name="connsiteX3" fmla="*/ 0 w 2171700"/>
                  <a:gd name="connsiteY3" fmla="*/ 790289 h 781050"/>
                </a:gdLst>
                <a:ahLst/>
                <a:cxnLst>
                  <a:cxn ang="0">
                    <a:pos x="connsiteX0" y="connsiteY0"/>
                  </a:cxn>
                  <a:cxn ang="0">
                    <a:pos x="connsiteX1" y="connsiteY1"/>
                  </a:cxn>
                  <a:cxn ang="0">
                    <a:pos x="connsiteX2" y="connsiteY2"/>
                  </a:cxn>
                  <a:cxn ang="0">
                    <a:pos x="connsiteX3" y="connsiteY3"/>
                  </a:cxn>
                </a:cxnLst>
                <a:rect l="l" t="t" r="r" b="b"/>
                <a:pathLst>
                  <a:path w="2171700" h="781050">
                    <a:moveTo>
                      <a:pt x="0" y="0"/>
                    </a:moveTo>
                    <a:lnTo>
                      <a:pt x="2173224" y="0"/>
                    </a:lnTo>
                    <a:lnTo>
                      <a:pt x="2173224" y="790289"/>
                    </a:lnTo>
                    <a:lnTo>
                      <a:pt x="0" y="790289"/>
                    </a:lnTo>
                    <a:close/>
                  </a:path>
                </a:pathLst>
              </a:custGeom>
              <a:solidFill>
                <a:srgbClr val="C0E4F2"/>
              </a:solidFill>
              <a:ln w="9525" cap="flat">
                <a:noFill/>
                <a:prstDash val="solid"/>
                <a:miter/>
              </a:ln>
            </p:spPr>
            <p:txBody>
              <a:bodyPr lIns="936000" tIns="111600" rtlCol="0" anchor="t"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prstClr val="black"/>
                    </a:solidFill>
                    <a:effectLst/>
                    <a:uLnTx/>
                    <a:uFillTx/>
                    <a:latin typeface="Arial Black"/>
                    <a:ea typeface="+mn-ea"/>
                    <a:cs typeface="+mn-cs"/>
                  </a:rPr>
                  <a:t>Människ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black"/>
                    </a:solidFill>
                    <a:effectLst/>
                    <a:uLnTx/>
                    <a:uFillTx/>
                    <a:latin typeface="Arial"/>
                    <a:ea typeface="+mn-ea"/>
                    <a:cs typeface="+mn-cs"/>
                  </a:rPr>
                  <a:t>Göteborgarna har en hälsosam livsmiljö </a:t>
                </a:r>
              </a:p>
            </p:txBody>
          </p:sp>
          <p:pic>
            <p:nvPicPr>
              <p:cNvPr id="49" name="Bild 48">
                <a:extLst>
                  <a:ext uri="{FF2B5EF4-FFF2-40B4-BE49-F238E27FC236}">
                    <a16:creationId xmlns:a16="http://schemas.microsoft.com/office/drawing/2014/main" id="{9D64A04D-0238-41DA-A10D-7471AC74C9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72069" y="2064236"/>
                <a:ext cx="620606" cy="620606"/>
              </a:xfrm>
              <a:prstGeom prst="rect">
                <a:avLst/>
              </a:prstGeom>
            </p:spPr>
          </p:pic>
        </p:grpSp>
        <p:grpSp>
          <p:nvGrpSpPr>
            <p:cNvPr id="55" name="Grupp 54">
              <a:extLst>
                <a:ext uri="{FF2B5EF4-FFF2-40B4-BE49-F238E27FC236}">
                  <a16:creationId xmlns:a16="http://schemas.microsoft.com/office/drawing/2014/main" id="{3BD0129B-E6EA-4B78-82D9-00FFA8D4570E}"/>
                </a:ext>
              </a:extLst>
            </p:cNvPr>
            <p:cNvGrpSpPr/>
            <p:nvPr/>
          </p:nvGrpSpPr>
          <p:grpSpPr>
            <a:xfrm>
              <a:off x="1217185" y="1934893"/>
              <a:ext cx="3240000" cy="871808"/>
              <a:chOff x="1217185" y="1934893"/>
              <a:chExt cx="3240000" cy="871808"/>
            </a:xfrm>
          </p:grpSpPr>
          <p:sp>
            <p:nvSpPr>
              <p:cNvPr id="56" name="Bild 13">
                <a:extLst>
                  <a:ext uri="{FF2B5EF4-FFF2-40B4-BE49-F238E27FC236}">
                    <a16:creationId xmlns:a16="http://schemas.microsoft.com/office/drawing/2014/main" id="{22653AC8-9358-4A54-A19B-E6B52F4894B8}"/>
                  </a:ext>
                </a:extLst>
              </p:cNvPr>
              <p:cNvSpPr/>
              <p:nvPr/>
            </p:nvSpPr>
            <p:spPr>
              <a:xfrm>
                <a:off x="1217185" y="1934893"/>
                <a:ext cx="3240000" cy="871808"/>
              </a:xfrm>
              <a:custGeom>
                <a:avLst/>
                <a:gdLst>
                  <a:gd name="connsiteX0" fmla="*/ 0 w 2171700"/>
                  <a:gd name="connsiteY0" fmla="*/ 0 h 781050"/>
                  <a:gd name="connsiteX1" fmla="*/ 2173224 w 2171700"/>
                  <a:gd name="connsiteY1" fmla="*/ 0 h 781050"/>
                  <a:gd name="connsiteX2" fmla="*/ 2173224 w 2171700"/>
                  <a:gd name="connsiteY2" fmla="*/ 790289 h 781050"/>
                  <a:gd name="connsiteX3" fmla="*/ 0 w 2171700"/>
                  <a:gd name="connsiteY3" fmla="*/ 790289 h 781050"/>
                </a:gdLst>
                <a:ahLst/>
                <a:cxnLst>
                  <a:cxn ang="0">
                    <a:pos x="connsiteX0" y="connsiteY0"/>
                  </a:cxn>
                  <a:cxn ang="0">
                    <a:pos x="connsiteX1" y="connsiteY1"/>
                  </a:cxn>
                  <a:cxn ang="0">
                    <a:pos x="connsiteX2" y="connsiteY2"/>
                  </a:cxn>
                  <a:cxn ang="0">
                    <a:pos x="connsiteX3" y="connsiteY3"/>
                  </a:cxn>
                </a:cxnLst>
                <a:rect l="l" t="t" r="r" b="b"/>
                <a:pathLst>
                  <a:path w="2171700" h="781050">
                    <a:moveTo>
                      <a:pt x="0" y="0"/>
                    </a:moveTo>
                    <a:lnTo>
                      <a:pt x="2173224" y="0"/>
                    </a:lnTo>
                    <a:lnTo>
                      <a:pt x="2173224" y="790289"/>
                    </a:lnTo>
                    <a:lnTo>
                      <a:pt x="0" y="790289"/>
                    </a:lnTo>
                    <a:close/>
                  </a:path>
                </a:pathLst>
              </a:custGeom>
              <a:solidFill>
                <a:srgbClr val="B8E1C8"/>
              </a:solidFill>
              <a:ln w="9525" cap="flat">
                <a:noFill/>
                <a:prstDash val="solid"/>
                <a:miter/>
              </a:ln>
            </p:spPr>
            <p:txBody>
              <a:bodyPr lIns="936000" tIns="111600" rtlCol="0" anchor="t"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prstClr val="black"/>
                    </a:solidFill>
                    <a:effectLst/>
                    <a:uLnTx/>
                    <a:uFillTx/>
                    <a:latin typeface="Arial Black"/>
                    <a:ea typeface="+mn-ea"/>
                    <a:cs typeface="+mn-cs"/>
                  </a:rPr>
                  <a:t>Natur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black"/>
                    </a:solidFill>
                    <a:effectLst/>
                    <a:uLnTx/>
                    <a:uFillTx/>
                    <a:latin typeface="Arial"/>
                    <a:ea typeface="+mn-ea"/>
                    <a:cs typeface="+mn-cs"/>
                  </a:rPr>
                  <a:t>Göteborg har en hög biologisk mångfald</a:t>
                </a:r>
              </a:p>
            </p:txBody>
          </p:sp>
          <p:pic>
            <p:nvPicPr>
              <p:cNvPr id="72" name="Bild 71">
                <a:extLst>
                  <a:ext uri="{FF2B5EF4-FFF2-40B4-BE49-F238E27FC236}">
                    <a16:creationId xmlns:a16="http://schemas.microsoft.com/office/drawing/2014/main" id="{D0E0019D-596D-484C-8362-AF5A2F415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79957" y="2079694"/>
                <a:ext cx="620606" cy="620606"/>
              </a:xfrm>
              <a:prstGeom prst="rect">
                <a:avLst/>
              </a:prstGeom>
            </p:spPr>
          </p:pic>
        </p:grpSp>
        <p:grpSp>
          <p:nvGrpSpPr>
            <p:cNvPr id="73" name="Grupp 72">
              <a:extLst>
                <a:ext uri="{FF2B5EF4-FFF2-40B4-BE49-F238E27FC236}">
                  <a16:creationId xmlns:a16="http://schemas.microsoft.com/office/drawing/2014/main" id="{E41C3CE1-6780-4113-AABD-58C0B4867691}"/>
                </a:ext>
              </a:extLst>
            </p:cNvPr>
            <p:cNvGrpSpPr/>
            <p:nvPr/>
          </p:nvGrpSpPr>
          <p:grpSpPr>
            <a:xfrm>
              <a:off x="4514512" y="1936226"/>
              <a:ext cx="3240000" cy="877647"/>
              <a:chOff x="4514512" y="1936226"/>
              <a:chExt cx="3240000" cy="877647"/>
            </a:xfrm>
          </p:grpSpPr>
          <p:sp>
            <p:nvSpPr>
              <p:cNvPr id="74" name="Bild 13">
                <a:extLst>
                  <a:ext uri="{FF2B5EF4-FFF2-40B4-BE49-F238E27FC236}">
                    <a16:creationId xmlns:a16="http://schemas.microsoft.com/office/drawing/2014/main" id="{5AEFF00B-8127-45A0-8500-88F86C4E8B50}"/>
                  </a:ext>
                </a:extLst>
              </p:cNvPr>
              <p:cNvSpPr/>
              <p:nvPr/>
            </p:nvSpPr>
            <p:spPr>
              <a:xfrm>
                <a:off x="4514512" y="1936226"/>
                <a:ext cx="3240000" cy="877647"/>
              </a:xfrm>
              <a:custGeom>
                <a:avLst/>
                <a:gdLst>
                  <a:gd name="connsiteX0" fmla="*/ 0 w 2171700"/>
                  <a:gd name="connsiteY0" fmla="*/ 0 h 781050"/>
                  <a:gd name="connsiteX1" fmla="*/ 2173224 w 2171700"/>
                  <a:gd name="connsiteY1" fmla="*/ 0 h 781050"/>
                  <a:gd name="connsiteX2" fmla="*/ 2173224 w 2171700"/>
                  <a:gd name="connsiteY2" fmla="*/ 790289 h 781050"/>
                  <a:gd name="connsiteX3" fmla="*/ 0 w 2171700"/>
                  <a:gd name="connsiteY3" fmla="*/ 790289 h 781050"/>
                </a:gdLst>
                <a:ahLst/>
                <a:cxnLst>
                  <a:cxn ang="0">
                    <a:pos x="connsiteX0" y="connsiteY0"/>
                  </a:cxn>
                  <a:cxn ang="0">
                    <a:pos x="connsiteX1" y="connsiteY1"/>
                  </a:cxn>
                  <a:cxn ang="0">
                    <a:pos x="connsiteX2" y="connsiteY2"/>
                  </a:cxn>
                  <a:cxn ang="0">
                    <a:pos x="connsiteX3" y="connsiteY3"/>
                  </a:cxn>
                </a:cxnLst>
                <a:rect l="l" t="t" r="r" b="b"/>
                <a:pathLst>
                  <a:path w="2171700" h="781050">
                    <a:moveTo>
                      <a:pt x="0" y="0"/>
                    </a:moveTo>
                    <a:lnTo>
                      <a:pt x="2173224" y="0"/>
                    </a:lnTo>
                    <a:lnTo>
                      <a:pt x="2173224" y="790289"/>
                    </a:lnTo>
                    <a:lnTo>
                      <a:pt x="0" y="790289"/>
                    </a:lnTo>
                    <a:close/>
                  </a:path>
                </a:pathLst>
              </a:custGeom>
              <a:solidFill>
                <a:srgbClr val="FBCFB9"/>
              </a:solidFill>
              <a:ln w="9525" cap="flat">
                <a:noFill/>
                <a:prstDash val="solid"/>
                <a:miter/>
              </a:ln>
            </p:spPr>
            <p:txBody>
              <a:bodyPr lIns="936000" tIns="111600" rtlCol="0" anchor="t"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prstClr val="black"/>
                    </a:solidFill>
                    <a:effectLst/>
                    <a:uLnTx/>
                    <a:uFillTx/>
                    <a:latin typeface="Arial Black"/>
                    <a:ea typeface="+mn-ea"/>
                    <a:cs typeface="+mn-cs"/>
                  </a:rPr>
                  <a:t>Klimate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black"/>
                    </a:solidFill>
                    <a:effectLst/>
                    <a:uLnTx/>
                    <a:uFillTx/>
                    <a:latin typeface="Arial"/>
                    <a:ea typeface="+mn-ea"/>
                    <a:cs typeface="+mn-cs"/>
                  </a:rPr>
                  <a:t>Göteborgs klimatavtryck är nära noll</a:t>
                </a:r>
              </a:p>
            </p:txBody>
          </p:sp>
          <p:pic>
            <p:nvPicPr>
              <p:cNvPr id="82" name="Bild 81">
                <a:extLst>
                  <a:ext uri="{FF2B5EF4-FFF2-40B4-BE49-F238E27FC236}">
                    <a16:creationId xmlns:a16="http://schemas.microsoft.com/office/drawing/2014/main" id="{64A36202-5E88-45F8-9268-96014A59B00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77285" y="2079911"/>
                <a:ext cx="620606" cy="620606"/>
              </a:xfrm>
              <a:prstGeom prst="rect">
                <a:avLst/>
              </a:prstGeom>
            </p:spPr>
          </p:pic>
        </p:grpSp>
      </p:grpSp>
      <p:grpSp>
        <p:nvGrpSpPr>
          <p:cNvPr id="13" name="Grupp 12">
            <a:extLst>
              <a:ext uri="{FF2B5EF4-FFF2-40B4-BE49-F238E27FC236}">
                <a16:creationId xmlns:a16="http://schemas.microsoft.com/office/drawing/2014/main" id="{F7CCBC8C-ED09-44CB-A2BB-4ADE51012C04}"/>
              </a:ext>
            </a:extLst>
          </p:cNvPr>
          <p:cNvGrpSpPr/>
          <p:nvPr/>
        </p:nvGrpSpPr>
        <p:grpSpPr>
          <a:xfrm>
            <a:off x="778300" y="2846457"/>
            <a:ext cx="10271617" cy="1125367"/>
            <a:chOff x="778300" y="2846457"/>
            <a:chExt cx="10271617" cy="1125367"/>
          </a:xfrm>
        </p:grpSpPr>
        <p:sp>
          <p:nvSpPr>
            <p:cNvPr id="31" name="Bild 24">
              <a:extLst>
                <a:ext uri="{FF2B5EF4-FFF2-40B4-BE49-F238E27FC236}">
                  <a16:creationId xmlns:a16="http://schemas.microsoft.com/office/drawing/2014/main" id="{1A8012E1-FBE1-444B-A722-D254AFC4E533}"/>
                </a:ext>
              </a:extLst>
            </p:cNvPr>
            <p:cNvSpPr/>
            <p:nvPr/>
          </p:nvSpPr>
          <p:spPr>
            <a:xfrm rot="10800000">
              <a:off x="778300" y="2869885"/>
              <a:ext cx="381000" cy="1080000"/>
            </a:xfrm>
            <a:custGeom>
              <a:avLst/>
              <a:gdLst>
                <a:gd name="connsiteX0" fmla="*/ 0 w 381000"/>
                <a:gd name="connsiteY0" fmla="*/ 0 h 781050"/>
                <a:gd name="connsiteX1" fmla="*/ 388811 w 381000"/>
                <a:gd name="connsiteY1" fmla="*/ 0 h 781050"/>
                <a:gd name="connsiteX2" fmla="*/ 388811 w 381000"/>
                <a:gd name="connsiteY2" fmla="*/ 790289 h 781050"/>
                <a:gd name="connsiteX3" fmla="*/ 0 w 381000"/>
                <a:gd name="connsiteY3" fmla="*/ 790289 h 781050"/>
              </a:gdLst>
              <a:ahLst/>
              <a:cxnLst>
                <a:cxn ang="0">
                  <a:pos x="connsiteX0" y="connsiteY0"/>
                </a:cxn>
                <a:cxn ang="0">
                  <a:pos x="connsiteX1" y="connsiteY1"/>
                </a:cxn>
                <a:cxn ang="0">
                  <a:pos x="connsiteX2" y="connsiteY2"/>
                </a:cxn>
                <a:cxn ang="0">
                  <a:pos x="connsiteX3" y="connsiteY3"/>
                </a:cxn>
              </a:cxnLst>
              <a:rect l="l" t="t" r="r" b="b"/>
              <a:pathLst>
                <a:path w="381000" h="781050">
                  <a:moveTo>
                    <a:pt x="0" y="0"/>
                  </a:moveTo>
                  <a:lnTo>
                    <a:pt x="388811" y="0"/>
                  </a:lnTo>
                  <a:lnTo>
                    <a:pt x="388811" y="790289"/>
                  </a:lnTo>
                  <a:lnTo>
                    <a:pt x="0" y="790289"/>
                  </a:lnTo>
                  <a:close/>
                </a:path>
              </a:pathLst>
            </a:custGeom>
            <a:solidFill>
              <a:srgbClr val="008391"/>
            </a:solidFill>
            <a:ln w="9525" cap="flat">
              <a:noFill/>
              <a:prstDash val="solid"/>
              <a:miter/>
            </a:ln>
          </p:spPr>
          <p:txBody>
            <a:bodyPr vert="vert" lIns="108000" rtlCol="0"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prstClr val="white"/>
                  </a:solidFill>
                  <a:effectLst/>
                  <a:uLnTx/>
                  <a:uFillTx/>
                  <a:latin typeface="Arial Black"/>
                  <a:ea typeface="+mn-ea"/>
                  <a:cs typeface="+mn-cs"/>
                </a:rPr>
                <a:t>Delmål</a:t>
              </a:r>
            </a:p>
          </p:txBody>
        </p:sp>
        <p:grpSp>
          <p:nvGrpSpPr>
            <p:cNvPr id="8" name="Grupp 7">
              <a:extLst>
                <a:ext uri="{FF2B5EF4-FFF2-40B4-BE49-F238E27FC236}">
                  <a16:creationId xmlns:a16="http://schemas.microsoft.com/office/drawing/2014/main" id="{A49D7220-8F4B-4182-96D8-DC492CA00B2F}"/>
                </a:ext>
              </a:extLst>
            </p:cNvPr>
            <p:cNvGrpSpPr/>
            <p:nvPr/>
          </p:nvGrpSpPr>
          <p:grpSpPr>
            <a:xfrm>
              <a:off x="4494031" y="2856666"/>
              <a:ext cx="3276000" cy="1080000"/>
              <a:chOff x="4494031" y="2856666"/>
              <a:chExt cx="3276000" cy="1080000"/>
            </a:xfrm>
          </p:grpSpPr>
          <p:sp>
            <p:nvSpPr>
              <p:cNvPr id="59" name="Bild 12">
                <a:extLst>
                  <a:ext uri="{FF2B5EF4-FFF2-40B4-BE49-F238E27FC236}">
                    <a16:creationId xmlns:a16="http://schemas.microsoft.com/office/drawing/2014/main" id="{AD633D52-F843-49EA-9B21-F79A280EA816}"/>
                  </a:ext>
                </a:extLst>
              </p:cNvPr>
              <p:cNvSpPr/>
              <p:nvPr/>
            </p:nvSpPr>
            <p:spPr>
              <a:xfrm>
                <a:off x="4512031" y="2856666"/>
                <a:ext cx="3240000" cy="1080000"/>
              </a:xfrm>
              <a:custGeom>
                <a:avLst/>
                <a:gdLst>
                  <a:gd name="connsiteX0" fmla="*/ 0 w 2162175"/>
                  <a:gd name="connsiteY0" fmla="*/ 0 h 904875"/>
                  <a:gd name="connsiteX1" fmla="*/ 2169414 w 2162175"/>
                  <a:gd name="connsiteY1" fmla="*/ 0 h 904875"/>
                  <a:gd name="connsiteX2" fmla="*/ 2169414 w 2162175"/>
                  <a:gd name="connsiteY2" fmla="*/ 911733 h 904875"/>
                  <a:gd name="connsiteX3" fmla="*/ 0 w 2162175"/>
                  <a:gd name="connsiteY3" fmla="*/ 911733 h 904875"/>
                </a:gdLst>
                <a:ahLst/>
                <a:cxnLst>
                  <a:cxn ang="0">
                    <a:pos x="connsiteX0" y="connsiteY0"/>
                  </a:cxn>
                  <a:cxn ang="0">
                    <a:pos x="connsiteX1" y="connsiteY1"/>
                  </a:cxn>
                  <a:cxn ang="0">
                    <a:pos x="connsiteX2" y="connsiteY2"/>
                  </a:cxn>
                  <a:cxn ang="0">
                    <a:pos x="connsiteX3" y="connsiteY3"/>
                  </a:cxn>
                </a:cxnLst>
                <a:rect l="l" t="t" r="r" b="b"/>
                <a:pathLst>
                  <a:path w="2162175" h="904875">
                    <a:moveTo>
                      <a:pt x="0" y="0"/>
                    </a:moveTo>
                    <a:lnTo>
                      <a:pt x="2169414" y="0"/>
                    </a:lnTo>
                    <a:lnTo>
                      <a:pt x="2169414" y="911733"/>
                    </a:lnTo>
                    <a:lnTo>
                      <a:pt x="0" y="911733"/>
                    </a:lnTo>
                    <a:close/>
                  </a:path>
                </a:pathLst>
              </a:custGeom>
              <a:solidFill>
                <a:srgbClr val="FBCFB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45" name="textruta 44">
                <a:extLst>
                  <a:ext uri="{FF2B5EF4-FFF2-40B4-BE49-F238E27FC236}">
                    <a16:creationId xmlns:a16="http://schemas.microsoft.com/office/drawing/2014/main" id="{CABC7E8E-5A58-4005-BDC2-724601D9696A}"/>
                  </a:ext>
                </a:extLst>
              </p:cNvPr>
              <p:cNvSpPr txBox="1"/>
              <p:nvPr/>
            </p:nvSpPr>
            <p:spPr>
              <a:xfrm>
                <a:off x="4494031" y="2888335"/>
                <a:ext cx="3276000" cy="1008000"/>
              </a:xfrm>
              <a:prstGeom prst="rect">
                <a:avLst/>
              </a:prstGeom>
              <a:noFill/>
            </p:spPr>
            <p:txBody>
              <a:bodyPr wrap="square" rtlCol="0">
                <a:spAutoFit/>
              </a:bodyPr>
              <a:lstStyle/>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Minska</a:t>
                </a:r>
                <a:r>
                  <a:rPr kumimoji="0" lang="sv-SE" sz="1000" b="1" i="0" u="none" strike="noStrike" kern="1200" cap="none" spc="0" normalizeH="0" baseline="0" noProof="0">
                    <a:ln>
                      <a:noFill/>
                    </a:ln>
                    <a:solidFill>
                      <a:prstClr val="black"/>
                    </a:solidFill>
                    <a:effectLst/>
                    <a:uLnTx/>
                    <a:uFillTx/>
                    <a:latin typeface="Arial"/>
                    <a:ea typeface="+mn-ea"/>
                    <a:cs typeface="+mn-cs"/>
                  </a:rPr>
                  <a:t> energianvändningen i bostäder och lokaler </a:t>
                </a:r>
              </a:p>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Producera energi enbart av förnybara källor</a:t>
                </a:r>
                <a:endParaRPr kumimoji="0" lang="sv-SE" sz="1000" b="1" i="0" u="none" strike="noStrike" kern="1200" cap="none" spc="0" normalizeH="0" baseline="0" noProof="0">
                  <a:ln>
                    <a:noFill/>
                  </a:ln>
                  <a:solidFill>
                    <a:prstClr val="black"/>
                  </a:solidFill>
                  <a:effectLst/>
                  <a:uLnTx/>
                  <a:uFillTx/>
                  <a:latin typeface="Arial"/>
                  <a:ea typeface="+mn-ea"/>
                  <a:cs typeface="+mn-cs"/>
                </a:endParaRPr>
              </a:p>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Minska klimatpåverkan från transporter</a:t>
                </a:r>
              </a:p>
              <a:p>
                <a:pPr marL="180000" marR="0" lvl="0" indent="-180000" algn="l" defTabSz="457200" rtl="0" eaLnBrk="1" fontAlgn="auto" latinLnBrk="0" hangingPunct="1">
                  <a:spcBef>
                    <a:spcPts val="150"/>
                  </a:spcBef>
                  <a:spcAft>
                    <a:spcPts val="150"/>
                  </a:spcAft>
                  <a:buClrTx/>
                  <a:buSzTx/>
                  <a:buFont typeface="+mj-lt"/>
                  <a:buAutoNum type="arabicPeriod"/>
                  <a:tabLst/>
                  <a:defRPr/>
                </a:pPr>
                <a:r>
                  <a:rPr kumimoji="0" lang="sv-SE" sz="1000" b="1" i="0" u="none" strike="noStrike" kern="1200" cap="none" spc="0" normalizeH="0" baseline="0" noProof="0">
                    <a:ln>
                      <a:noFill/>
                    </a:ln>
                    <a:solidFill>
                      <a:prstClr val="black"/>
                    </a:solidFill>
                    <a:effectLst/>
                    <a:uLnTx/>
                    <a:uFillTx/>
                    <a:latin typeface="Arial"/>
                    <a:ea typeface="+mn-ea"/>
                    <a:cs typeface="+mn-cs"/>
                  </a:rPr>
                  <a:t>Minska</a:t>
                </a:r>
                <a:r>
                  <a:rPr lang="sv-SE" sz="1000" b="1">
                    <a:solidFill>
                      <a:prstClr val="black"/>
                    </a:solidFill>
                    <a:latin typeface="Arial"/>
                  </a:rPr>
                  <a:t> klimatpåverkan från inköp</a:t>
                </a:r>
              </a:p>
            </p:txBody>
          </p:sp>
        </p:grpSp>
        <p:grpSp>
          <p:nvGrpSpPr>
            <p:cNvPr id="9" name="Grupp 8">
              <a:extLst>
                <a:ext uri="{FF2B5EF4-FFF2-40B4-BE49-F238E27FC236}">
                  <a16:creationId xmlns:a16="http://schemas.microsoft.com/office/drawing/2014/main" id="{A75517EE-1AC1-4D59-BE34-31E14547E3FF}"/>
                </a:ext>
              </a:extLst>
            </p:cNvPr>
            <p:cNvGrpSpPr/>
            <p:nvPr/>
          </p:nvGrpSpPr>
          <p:grpSpPr>
            <a:xfrm>
              <a:off x="7806875" y="2856855"/>
              <a:ext cx="3243042" cy="1079055"/>
              <a:chOff x="7806875" y="2856855"/>
              <a:chExt cx="3243042" cy="1079055"/>
            </a:xfrm>
          </p:grpSpPr>
          <p:sp>
            <p:nvSpPr>
              <p:cNvPr id="37" name="Bild 12">
                <a:extLst>
                  <a:ext uri="{FF2B5EF4-FFF2-40B4-BE49-F238E27FC236}">
                    <a16:creationId xmlns:a16="http://schemas.microsoft.com/office/drawing/2014/main" id="{043F5CB3-F91A-4258-9C93-D2D13C57B2D6}"/>
                  </a:ext>
                </a:extLst>
              </p:cNvPr>
              <p:cNvSpPr/>
              <p:nvPr/>
            </p:nvSpPr>
            <p:spPr>
              <a:xfrm>
                <a:off x="7809917" y="2856855"/>
                <a:ext cx="3240000" cy="1079055"/>
              </a:xfrm>
              <a:custGeom>
                <a:avLst/>
                <a:gdLst>
                  <a:gd name="connsiteX0" fmla="*/ 0 w 2162175"/>
                  <a:gd name="connsiteY0" fmla="*/ 0 h 904875"/>
                  <a:gd name="connsiteX1" fmla="*/ 2169414 w 2162175"/>
                  <a:gd name="connsiteY1" fmla="*/ 0 h 904875"/>
                  <a:gd name="connsiteX2" fmla="*/ 2169414 w 2162175"/>
                  <a:gd name="connsiteY2" fmla="*/ 911733 h 904875"/>
                  <a:gd name="connsiteX3" fmla="*/ 0 w 2162175"/>
                  <a:gd name="connsiteY3" fmla="*/ 911733 h 904875"/>
                </a:gdLst>
                <a:ahLst/>
                <a:cxnLst>
                  <a:cxn ang="0">
                    <a:pos x="connsiteX0" y="connsiteY0"/>
                  </a:cxn>
                  <a:cxn ang="0">
                    <a:pos x="connsiteX1" y="connsiteY1"/>
                  </a:cxn>
                  <a:cxn ang="0">
                    <a:pos x="connsiteX2" y="connsiteY2"/>
                  </a:cxn>
                  <a:cxn ang="0">
                    <a:pos x="connsiteX3" y="connsiteY3"/>
                  </a:cxn>
                </a:cxnLst>
                <a:rect l="l" t="t" r="r" b="b"/>
                <a:pathLst>
                  <a:path w="2162175" h="904875">
                    <a:moveTo>
                      <a:pt x="0" y="0"/>
                    </a:moveTo>
                    <a:lnTo>
                      <a:pt x="2169414" y="0"/>
                    </a:lnTo>
                    <a:lnTo>
                      <a:pt x="2169414" y="911733"/>
                    </a:lnTo>
                    <a:lnTo>
                      <a:pt x="0" y="911733"/>
                    </a:lnTo>
                    <a:close/>
                  </a:path>
                </a:pathLst>
              </a:custGeom>
              <a:solidFill>
                <a:srgbClr val="C0E4F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46" name="textruta 45">
                <a:extLst>
                  <a:ext uri="{FF2B5EF4-FFF2-40B4-BE49-F238E27FC236}">
                    <a16:creationId xmlns:a16="http://schemas.microsoft.com/office/drawing/2014/main" id="{D62633B4-505D-43E5-9B2B-779F9C0801B6}"/>
                  </a:ext>
                </a:extLst>
              </p:cNvPr>
              <p:cNvSpPr txBox="1"/>
              <p:nvPr/>
            </p:nvSpPr>
            <p:spPr>
              <a:xfrm>
                <a:off x="7806875" y="2896033"/>
                <a:ext cx="3239999" cy="972000"/>
              </a:xfrm>
              <a:prstGeom prst="rect">
                <a:avLst/>
              </a:prstGeom>
              <a:noFill/>
            </p:spPr>
            <p:txBody>
              <a:bodyPr wrap="square" rtlCol="0">
                <a:noAutofit/>
              </a:bodyPr>
              <a:lstStyle/>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Minska användningen av skadliga ämnen</a:t>
                </a:r>
                <a:endParaRPr kumimoji="0" lang="sv-SE" sz="1000" b="1" i="0" u="none" strike="noStrike" kern="1200" cap="none" spc="0" normalizeH="0" baseline="0" noProof="0">
                  <a:ln>
                    <a:noFill/>
                  </a:ln>
                  <a:solidFill>
                    <a:prstClr val="black"/>
                  </a:solidFill>
                  <a:effectLst/>
                  <a:uLnTx/>
                  <a:uFillTx/>
                  <a:latin typeface="Arial"/>
                  <a:ea typeface="+mn-ea"/>
                  <a:cs typeface="+mn-cs"/>
                </a:endParaRPr>
              </a:p>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Säkra en god luftkvalitet för göteborgarna</a:t>
                </a:r>
                <a:endParaRPr kumimoji="0" lang="sv-SE" sz="1000" b="1" i="0" u="none" strike="noStrike" kern="1200" cap="none" spc="0" normalizeH="0" baseline="0" noProof="0">
                  <a:ln>
                    <a:noFill/>
                  </a:ln>
                  <a:solidFill>
                    <a:prstClr val="black"/>
                  </a:solidFill>
                  <a:effectLst/>
                  <a:uLnTx/>
                  <a:uFillTx/>
                  <a:latin typeface="Arial"/>
                  <a:ea typeface="+mn-ea"/>
                  <a:cs typeface="+mn-cs"/>
                </a:endParaRPr>
              </a:p>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Säkra en god ljudmiljö för göteborgarna</a:t>
                </a:r>
              </a:p>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Säkra tillgången</a:t>
                </a:r>
                <a:r>
                  <a:rPr kumimoji="0" lang="sv-SE" sz="1000" b="1" i="0" u="none" strike="noStrike" kern="1200" cap="none" spc="0" normalizeH="0" baseline="0" noProof="0">
                    <a:ln>
                      <a:noFill/>
                    </a:ln>
                    <a:solidFill>
                      <a:prstClr val="black"/>
                    </a:solidFill>
                    <a:effectLst/>
                    <a:uLnTx/>
                    <a:uFillTx/>
                    <a:latin typeface="Arial"/>
                    <a:ea typeface="+mn-ea"/>
                    <a:cs typeface="+mn-cs"/>
                  </a:rPr>
                  <a:t> till grönområden och nyttja ekosystemtjänster</a:t>
                </a:r>
              </a:p>
            </p:txBody>
          </p:sp>
        </p:grpSp>
        <p:grpSp>
          <p:nvGrpSpPr>
            <p:cNvPr id="7" name="Grupp 6">
              <a:extLst>
                <a:ext uri="{FF2B5EF4-FFF2-40B4-BE49-F238E27FC236}">
                  <a16:creationId xmlns:a16="http://schemas.microsoft.com/office/drawing/2014/main" id="{7FFE34CE-9D5A-48CE-BF6C-CF2B2638F76C}"/>
                </a:ext>
              </a:extLst>
            </p:cNvPr>
            <p:cNvGrpSpPr/>
            <p:nvPr/>
          </p:nvGrpSpPr>
          <p:grpSpPr>
            <a:xfrm>
              <a:off x="1217186" y="2846457"/>
              <a:ext cx="3268313" cy="1125367"/>
              <a:chOff x="1217186" y="2846457"/>
              <a:chExt cx="3268313" cy="1125367"/>
            </a:xfrm>
          </p:grpSpPr>
          <p:sp>
            <p:nvSpPr>
              <p:cNvPr id="62" name="Bild 12">
                <a:extLst>
                  <a:ext uri="{FF2B5EF4-FFF2-40B4-BE49-F238E27FC236}">
                    <a16:creationId xmlns:a16="http://schemas.microsoft.com/office/drawing/2014/main" id="{4E71F312-CFBE-4C71-B9B3-CC7D4F38CF3B}"/>
                  </a:ext>
                </a:extLst>
              </p:cNvPr>
              <p:cNvSpPr/>
              <p:nvPr/>
            </p:nvSpPr>
            <p:spPr>
              <a:xfrm>
                <a:off x="1217186" y="2846457"/>
                <a:ext cx="3240000" cy="1080000"/>
              </a:xfrm>
              <a:custGeom>
                <a:avLst/>
                <a:gdLst>
                  <a:gd name="connsiteX0" fmla="*/ 0 w 2162175"/>
                  <a:gd name="connsiteY0" fmla="*/ 0 h 904875"/>
                  <a:gd name="connsiteX1" fmla="*/ 2169414 w 2162175"/>
                  <a:gd name="connsiteY1" fmla="*/ 0 h 904875"/>
                  <a:gd name="connsiteX2" fmla="*/ 2169414 w 2162175"/>
                  <a:gd name="connsiteY2" fmla="*/ 911733 h 904875"/>
                  <a:gd name="connsiteX3" fmla="*/ 0 w 2162175"/>
                  <a:gd name="connsiteY3" fmla="*/ 911733 h 904875"/>
                </a:gdLst>
                <a:ahLst/>
                <a:cxnLst>
                  <a:cxn ang="0">
                    <a:pos x="connsiteX0" y="connsiteY0"/>
                  </a:cxn>
                  <a:cxn ang="0">
                    <a:pos x="connsiteX1" y="connsiteY1"/>
                  </a:cxn>
                  <a:cxn ang="0">
                    <a:pos x="connsiteX2" y="connsiteY2"/>
                  </a:cxn>
                  <a:cxn ang="0">
                    <a:pos x="connsiteX3" y="connsiteY3"/>
                  </a:cxn>
                </a:cxnLst>
                <a:rect l="l" t="t" r="r" b="b"/>
                <a:pathLst>
                  <a:path w="2162175" h="904875">
                    <a:moveTo>
                      <a:pt x="0" y="0"/>
                    </a:moveTo>
                    <a:lnTo>
                      <a:pt x="2169414" y="0"/>
                    </a:lnTo>
                    <a:lnTo>
                      <a:pt x="2169414" y="911733"/>
                    </a:lnTo>
                    <a:lnTo>
                      <a:pt x="0" y="911733"/>
                    </a:lnTo>
                    <a:close/>
                  </a:path>
                </a:pathLst>
              </a:custGeom>
              <a:solidFill>
                <a:srgbClr val="B8E1C8"/>
              </a:solidFill>
              <a:ln w="9525" cap="flat">
                <a:noFill/>
                <a:prstDash val="solid"/>
                <a:miter/>
              </a:ln>
            </p:spPr>
            <p:txBody>
              <a:bodyPr wrap="square" lIns="144000" tIns="0" rIns="0" bIns="0" rtlCol="0" anchor="ctr" anchorCtr="0"/>
              <a:lstStyle/>
              <a:p>
                <a:pPr marL="0" marR="0" lvl="0" indent="0" algn="l" defTabSz="457200" rtl="0" eaLnBrk="1" fontAlgn="auto" latinLnBrk="0" hangingPunct="1">
                  <a:lnSpc>
                    <a:spcPct val="100000"/>
                  </a:lnSpc>
                  <a:spcBef>
                    <a:spcPts val="0"/>
                  </a:spcBef>
                  <a:spcAft>
                    <a:spcPts val="0"/>
                  </a:spcAft>
                  <a:buClrTx/>
                  <a:buSzPct val="100000"/>
                  <a:buFontTx/>
                  <a:buNone/>
                  <a:tabLst/>
                  <a:defRPr/>
                </a:pPr>
                <a:endParaRPr kumimoji="0" lang="sv-SE" sz="1400" b="0" i="0" u="none" strike="noStrike" kern="1200" cap="none" spc="0" normalizeH="0" baseline="30000" noProof="0">
                  <a:ln>
                    <a:noFill/>
                  </a:ln>
                  <a:solidFill>
                    <a:prstClr val="black"/>
                  </a:solidFill>
                  <a:effectLst/>
                  <a:uLnTx/>
                  <a:uFillTx/>
                  <a:latin typeface="Arial"/>
                  <a:ea typeface="+mn-ea"/>
                  <a:cs typeface="+mn-cs"/>
                </a:endParaRPr>
              </a:p>
            </p:txBody>
          </p:sp>
          <p:sp>
            <p:nvSpPr>
              <p:cNvPr id="84" name="textruta 83">
                <a:extLst>
                  <a:ext uri="{FF2B5EF4-FFF2-40B4-BE49-F238E27FC236}">
                    <a16:creationId xmlns:a16="http://schemas.microsoft.com/office/drawing/2014/main" id="{3F81100D-9397-4F59-B709-FF9068DF2553}"/>
                  </a:ext>
                </a:extLst>
              </p:cNvPr>
              <p:cNvSpPr txBox="1"/>
              <p:nvPr/>
            </p:nvSpPr>
            <p:spPr>
              <a:xfrm>
                <a:off x="1245499" y="2891824"/>
                <a:ext cx="3240000" cy="1080000"/>
              </a:xfrm>
              <a:prstGeom prst="rect">
                <a:avLst/>
              </a:prstGeom>
              <a:noFill/>
            </p:spPr>
            <p:txBody>
              <a:bodyPr wrap="square" lIns="90000" rtlCol="0">
                <a:spAutoFit/>
              </a:bodyPr>
              <a:lstStyle/>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Skydda arters livsmiljöer så att naturvärdena utvecklas</a:t>
                </a:r>
              </a:p>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Arbeta för r</a:t>
                </a:r>
                <a:r>
                  <a:rPr kumimoji="0" lang="sv-SE" sz="1000" b="1" i="0" u="none" strike="noStrike" kern="1200" cap="none" spc="0" normalizeH="0" baseline="0">
                    <a:solidFill>
                      <a:prstClr val="black"/>
                    </a:solidFill>
                    <a:effectLst/>
                    <a:uLnTx/>
                    <a:uFillTx/>
                    <a:latin typeface="Arial"/>
                    <a:ea typeface="+mn-ea"/>
                    <a:cs typeface="+mn-cs"/>
                  </a:rPr>
                  <a:t>enare</a:t>
                </a:r>
                <a:r>
                  <a:rPr kumimoji="0" lang="sv-SE" sz="1000" b="1" i="0" u="none" strike="noStrike" kern="1200" cap="none" spc="0" normalizeH="0" baseline="0" noProof="0">
                    <a:solidFill>
                      <a:prstClr val="black"/>
                    </a:solidFill>
                    <a:effectLst/>
                    <a:uLnTx/>
                    <a:uFillTx/>
                    <a:latin typeface="Arial"/>
                    <a:ea typeface="+mn-ea"/>
                    <a:cs typeface="+mn-cs"/>
                  </a:rPr>
                  <a:t> hav, sjöar och vattendrag</a:t>
                </a:r>
              </a:p>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Öka </a:t>
                </a:r>
                <a:r>
                  <a:rPr lang="sv-SE" sz="1000" b="1" noProof="1">
                    <a:solidFill>
                      <a:prstClr val="black"/>
                    </a:solidFill>
                    <a:latin typeface="Arial"/>
                  </a:rPr>
                  <a:t>den b</a:t>
                </a:r>
                <a:r>
                  <a:rPr kumimoji="0" lang="sv-SE" sz="1000" b="1" i="0" u="none" strike="noStrike" kern="1200" cap="none" spc="0" normalizeH="0" baseline="0" noProof="1">
                    <a:solidFill>
                      <a:prstClr val="black"/>
                    </a:solidFill>
                    <a:effectLst/>
                    <a:uLnTx/>
                    <a:uFillTx/>
                    <a:latin typeface="Arial"/>
                    <a:ea typeface="+mn-ea"/>
                    <a:cs typeface="+mn-cs"/>
                  </a:rPr>
                  <a:t>iologiska </a:t>
                </a:r>
                <a:r>
                  <a:rPr kumimoji="0" lang="sv-SE" sz="1000" b="1" i="0" u="none" strike="noStrike" kern="1200" cap="none" spc="0" normalizeH="0" baseline="0" noProof="0">
                    <a:solidFill>
                      <a:prstClr val="black"/>
                    </a:solidFill>
                    <a:effectLst/>
                    <a:uLnTx/>
                    <a:uFillTx/>
                    <a:latin typeface="Arial"/>
                    <a:ea typeface="+mn-ea"/>
                    <a:cs typeface="+mn-cs"/>
                  </a:rPr>
                  <a:t>mångfalden i stadsmiljön</a:t>
                </a:r>
              </a:p>
              <a:p>
                <a:pPr marL="180000" marR="0" lvl="0" indent="-180000" algn="l" defTabSz="457200" rtl="0" eaLnBrk="1" fontAlgn="auto" latinLnBrk="0" hangingPunct="1">
                  <a:spcBef>
                    <a:spcPts val="150"/>
                  </a:spcBef>
                  <a:spcAft>
                    <a:spcPts val="150"/>
                  </a:spcAft>
                  <a:buClrTx/>
                  <a:buSzTx/>
                  <a:buFont typeface="+mj-lt"/>
                  <a:buAutoNum type="arabicPeriod"/>
                  <a:tabLst/>
                  <a:defRPr/>
                </a:pPr>
                <a:r>
                  <a:rPr lang="sv-SE" sz="1000" b="1">
                    <a:solidFill>
                      <a:prstClr val="black"/>
                    </a:solidFill>
                    <a:latin typeface="Arial"/>
                  </a:rPr>
                  <a:t>Främja biologisk mångfald vid inköp</a:t>
                </a:r>
                <a:endParaRPr kumimoji="0" lang="sv-SE" sz="1000" b="1" i="0" u="none" strike="noStrike" kern="1200" cap="none" spc="0" normalizeH="0" baseline="0" noProof="0">
                  <a:solidFill>
                    <a:prstClr val="black"/>
                  </a:solidFill>
                  <a:effectLst/>
                  <a:uLnTx/>
                  <a:uFillTx/>
                  <a:latin typeface="Arial"/>
                </a:endParaRPr>
              </a:p>
            </p:txBody>
          </p:sp>
        </p:grpSp>
      </p:grpSp>
      <p:grpSp>
        <p:nvGrpSpPr>
          <p:cNvPr id="5" name="Grupp 4">
            <a:extLst>
              <a:ext uri="{FF2B5EF4-FFF2-40B4-BE49-F238E27FC236}">
                <a16:creationId xmlns:a16="http://schemas.microsoft.com/office/drawing/2014/main" id="{E0682EFC-88A1-4F45-805A-97FB05369772}"/>
              </a:ext>
            </a:extLst>
          </p:cNvPr>
          <p:cNvGrpSpPr/>
          <p:nvPr/>
        </p:nvGrpSpPr>
        <p:grpSpPr>
          <a:xfrm>
            <a:off x="784916" y="1123110"/>
            <a:ext cx="10265001" cy="756706"/>
            <a:chOff x="784916" y="1123110"/>
            <a:chExt cx="10265001" cy="756706"/>
          </a:xfrm>
        </p:grpSpPr>
        <p:sp>
          <p:nvSpPr>
            <p:cNvPr id="54" name="Bild 24">
              <a:extLst>
                <a:ext uri="{FF2B5EF4-FFF2-40B4-BE49-F238E27FC236}">
                  <a16:creationId xmlns:a16="http://schemas.microsoft.com/office/drawing/2014/main" id="{5DAEE451-C7E4-4201-8123-867B2646F3AF}"/>
                </a:ext>
              </a:extLst>
            </p:cNvPr>
            <p:cNvSpPr/>
            <p:nvPr/>
          </p:nvSpPr>
          <p:spPr>
            <a:xfrm rot="10800000">
              <a:off x="784916" y="1123816"/>
              <a:ext cx="381600" cy="756000"/>
            </a:xfrm>
            <a:custGeom>
              <a:avLst/>
              <a:gdLst>
                <a:gd name="connsiteX0" fmla="*/ 0 w 381000"/>
                <a:gd name="connsiteY0" fmla="*/ 0 h 781050"/>
                <a:gd name="connsiteX1" fmla="*/ 388811 w 381000"/>
                <a:gd name="connsiteY1" fmla="*/ 0 h 781050"/>
                <a:gd name="connsiteX2" fmla="*/ 388811 w 381000"/>
                <a:gd name="connsiteY2" fmla="*/ 790289 h 781050"/>
                <a:gd name="connsiteX3" fmla="*/ 0 w 381000"/>
                <a:gd name="connsiteY3" fmla="*/ 790289 h 781050"/>
              </a:gdLst>
              <a:ahLst/>
              <a:cxnLst>
                <a:cxn ang="0">
                  <a:pos x="connsiteX0" y="connsiteY0"/>
                </a:cxn>
                <a:cxn ang="0">
                  <a:pos x="connsiteX1" y="connsiteY1"/>
                </a:cxn>
                <a:cxn ang="0">
                  <a:pos x="connsiteX2" y="connsiteY2"/>
                </a:cxn>
                <a:cxn ang="0">
                  <a:pos x="connsiteX3" y="connsiteY3"/>
                </a:cxn>
              </a:cxnLst>
              <a:rect l="l" t="t" r="r" b="b"/>
              <a:pathLst>
                <a:path w="381000" h="781050">
                  <a:moveTo>
                    <a:pt x="0" y="0"/>
                  </a:moveTo>
                  <a:lnTo>
                    <a:pt x="388811" y="0"/>
                  </a:lnTo>
                  <a:lnTo>
                    <a:pt x="388811" y="790289"/>
                  </a:lnTo>
                  <a:lnTo>
                    <a:pt x="0" y="790289"/>
                  </a:lnTo>
                  <a:close/>
                </a:path>
              </a:pathLst>
            </a:custGeom>
            <a:solidFill>
              <a:srgbClr val="008391"/>
            </a:solidFill>
            <a:ln w="9525" cap="flat">
              <a:noFill/>
              <a:prstDash val="solid"/>
              <a:miter/>
            </a:ln>
          </p:spPr>
          <p:txBody>
            <a:bodyPr vert="vert" lIns="108000" rtlCol="0"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300" b="0" i="0" u="none" strike="noStrike" kern="1200" cap="none" spc="0" normalizeH="0" baseline="0" noProof="0">
                  <a:ln>
                    <a:noFill/>
                  </a:ln>
                  <a:solidFill>
                    <a:prstClr val="white"/>
                  </a:solidFill>
                  <a:effectLst/>
                  <a:uLnTx/>
                  <a:uFillTx/>
                  <a:latin typeface="Arial Black"/>
                  <a:ea typeface="+mn-ea"/>
                  <a:cs typeface="+mn-cs"/>
                </a:rPr>
                <a:t>Målbild</a:t>
              </a:r>
            </a:p>
          </p:txBody>
        </p:sp>
        <p:sp>
          <p:nvSpPr>
            <p:cNvPr id="3" name="Rektangel 2">
              <a:extLst>
                <a:ext uri="{FF2B5EF4-FFF2-40B4-BE49-F238E27FC236}">
                  <a16:creationId xmlns:a16="http://schemas.microsoft.com/office/drawing/2014/main" id="{25D33D4D-CF99-4230-B5DD-69FE4E9B5536}"/>
                </a:ext>
              </a:extLst>
            </p:cNvPr>
            <p:cNvSpPr/>
            <p:nvPr/>
          </p:nvSpPr>
          <p:spPr>
            <a:xfrm>
              <a:off x="1217184" y="1123110"/>
              <a:ext cx="9832733" cy="756000"/>
            </a:xfrm>
            <a:prstGeom prst="rect">
              <a:avLst/>
            </a:prstGeom>
            <a:solidFill>
              <a:srgbClr val="008391"/>
            </a:solidFill>
            <a:ln>
              <a:solidFill>
                <a:srgbClr val="00839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solidFill>
                  <a:srgbClr val="008391"/>
                </a:solidFill>
              </a:endParaRPr>
            </a:p>
          </p:txBody>
        </p:sp>
      </p:grpSp>
      <p:sp>
        <p:nvSpPr>
          <p:cNvPr id="2" name="Rubrik 1">
            <a:extLst>
              <a:ext uri="{FF2B5EF4-FFF2-40B4-BE49-F238E27FC236}">
                <a16:creationId xmlns:a16="http://schemas.microsoft.com/office/drawing/2014/main" id="{04E53A94-3D8E-445A-9924-9B2D8453F0F2}"/>
              </a:ext>
            </a:extLst>
          </p:cNvPr>
          <p:cNvSpPr>
            <a:spLocks noGrp="1"/>
          </p:cNvSpPr>
          <p:nvPr>
            <p:ph type="title"/>
          </p:nvPr>
        </p:nvSpPr>
        <p:spPr>
          <a:xfrm>
            <a:off x="3272340" y="1245994"/>
            <a:ext cx="6001154" cy="634201"/>
          </a:xfrm>
        </p:spPr>
        <p:txBody>
          <a:bodyPr>
            <a:normAutofit/>
          </a:bodyPr>
          <a:lstStyle/>
          <a:p>
            <a:r>
              <a:rPr lang="sv-SE">
                <a:solidFill>
                  <a:schemeClr val="bg1"/>
                </a:solidFill>
              </a:rPr>
              <a:t>Ekologiskt hållbar stad 2030</a:t>
            </a:r>
          </a:p>
        </p:txBody>
      </p:sp>
    </p:spTree>
    <p:extLst>
      <p:ext uri="{BB962C8B-B14F-4D97-AF65-F5344CB8AC3E}">
        <p14:creationId xmlns:p14="http://schemas.microsoft.com/office/powerpoint/2010/main" val="1507474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rundade hörn 12">
            <a:extLst>
              <a:ext uri="{FF2B5EF4-FFF2-40B4-BE49-F238E27FC236}">
                <a16:creationId xmlns:a16="http://schemas.microsoft.com/office/drawing/2014/main" id="{0FE8EBE6-7B44-F664-B29A-998B41DDBA62}"/>
              </a:ext>
            </a:extLst>
          </p:cNvPr>
          <p:cNvSpPr/>
          <p:nvPr/>
        </p:nvSpPr>
        <p:spPr>
          <a:xfrm>
            <a:off x="228242" y="4353504"/>
            <a:ext cx="5847685" cy="1279900"/>
          </a:xfrm>
          <a:prstGeom prst="roundRect">
            <a:avLst/>
          </a:prstGeom>
          <a:solidFill>
            <a:srgbClr val="B8E1C8"/>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sv-SE"/>
          </a:p>
        </p:txBody>
      </p:sp>
      <p:sp>
        <p:nvSpPr>
          <p:cNvPr id="12" name="Rektangel: rundade hörn 11">
            <a:extLst>
              <a:ext uri="{FF2B5EF4-FFF2-40B4-BE49-F238E27FC236}">
                <a16:creationId xmlns:a16="http://schemas.microsoft.com/office/drawing/2014/main" id="{C3F5FAB2-C8C4-B520-FA55-64F51AD3401E}"/>
              </a:ext>
            </a:extLst>
          </p:cNvPr>
          <p:cNvSpPr/>
          <p:nvPr/>
        </p:nvSpPr>
        <p:spPr>
          <a:xfrm>
            <a:off x="205444" y="1375010"/>
            <a:ext cx="5847685" cy="2423286"/>
          </a:xfrm>
          <a:prstGeom prst="roundRect">
            <a:avLst/>
          </a:prstGeom>
          <a:solidFill>
            <a:srgbClr val="B8E1C8"/>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sv-SE"/>
          </a:p>
        </p:txBody>
      </p:sp>
      <p:sp>
        <p:nvSpPr>
          <p:cNvPr id="2" name="Rubrik 1">
            <a:extLst>
              <a:ext uri="{FF2B5EF4-FFF2-40B4-BE49-F238E27FC236}">
                <a16:creationId xmlns:a16="http://schemas.microsoft.com/office/drawing/2014/main" id="{DFA62B00-1BDA-83D5-A2FC-8F010BD5A11B}"/>
              </a:ext>
            </a:extLst>
          </p:cNvPr>
          <p:cNvSpPr>
            <a:spLocks noGrp="1"/>
          </p:cNvSpPr>
          <p:nvPr>
            <p:ph type="title"/>
          </p:nvPr>
        </p:nvSpPr>
        <p:spPr/>
        <p:txBody>
          <a:bodyPr>
            <a:noAutofit/>
          </a:bodyPr>
          <a:lstStyle/>
          <a:p>
            <a:r>
              <a:rPr lang="sv-SE" sz="2800"/>
              <a:t>Rapportens innehåll</a:t>
            </a:r>
          </a:p>
        </p:txBody>
      </p:sp>
      <p:sp>
        <p:nvSpPr>
          <p:cNvPr id="4" name="Platshållare för innehåll 3">
            <a:extLst>
              <a:ext uri="{FF2B5EF4-FFF2-40B4-BE49-F238E27FC236}">
                <a16:creationId xmlns:a16="http://schemas.microsoft.com/office/drawing/2014/main" id="{3114672D-F808-397C-706A-73F7148C907F}"/>
              </a:ext>
            </a:extLst>
          </p:cNvPr>
          <p:cNvSpPr>
            <a:spLocks noGrp="1"/>
          </p:cNvSpPr>
          <p:nvPr>
            <p:ph sz="half" idx="2"/>
          </p:nvPr>
        </p:nvSpPr>
        <p:spPr>
          <a:xfrm>
            <a:off x="407988" y="1631623"/>
            <a:ext cx="5442599" cy="4176710"/>
          </a:xfrm>
          <a:ln>
            <a:noFill/>
          </a:ln>
        </p:spPr>
        <p:txBody>
          <a:bodyPr>
            <a:normAutofit/>
          </a:bodyPr>
          <a:lstStyle/>
          <a:p>
            <a:pPr marL="0" indent="0">
              <a:buNone/>
            </a:pPr>
            <a:r>
              <a:rPr lang="sv-SE" b="1"/>
              <a:t> För varje mål i programmet:</a:t>
            </a:r>
          </a:p>
          <a:p>
            <a:pPr lvl="2">
              <a:buFont typeface="Arial" panose="020B0604020202020204" pitchFamily="34" charset="0"/>
              <a:buChar char="•"/>
            </a:pPr>
            <a:r>
              <a:rPr lang="sv-SE" sz="1800"/>
              <a:t>Bedömning av möjligheten att nå målet</a:t>
            </a:r>
          </a:p>
          <a:p>
            <a:pPr lvl="2">
              <a:buFont typeface="Arial" panose="020B0604020202020204" pitchFamily="34" charset="0"/>
              <a:buChar char="•"/>
            </a:pPr>
            <a:r>
              <a:rPr lang="sv-SE" sz="1800"/>
              <a:t>Så arbetar Göteborgs Stad för att nå målet</a:t>
            </a:r>
          </a:p>
          <a:p>
            <a:pPr lvl="2">
              <a:buFont typeface="Arial" panose="020B0604020202020204" pitchFamily="34" charset="0"/>
              <a:buChar char="•"/>
            </a:pPr>
            <a:endParaRPr lang="sv-SE" sz="1800"/>
          </a:p>
          <a:p>
            <a:pPr marL="457164" lvl="2" indent="0">
              <a:buNone/>
            </a:pPr>
            <a:r>
              <a:rPr lang="sv-SE" sz="1800"/>
              <a:t>	Rekommendationer till nämnder och 	styrelser för att öka framdriften mot målet </a:t>
            </a:r>
          </a:p>
          <a:p>
            <a:pPr marL="0" indent="0">
              <a:buNone/>
            </a:pPr>
            <a:endParaRPr lang="sv-SE" b="1"/>
          </a:p>
          <a:p>
            <a:pPr marL="0" indent="0">
              <a:buNone/>
            </a:pPr>
            <a:endParaRPr lang="sv-SE" b="1"/>
          </a:p>
          <a:p>
            <a:pPr marL="0" indent="0">
              <a:buNone/>
            </a:pPr>
            <a:r>
              <a:rPr lang="sv-SE" b="1"/>
              <a:t>Slutsatser</a:t>
            </a:r>
          </a:p>
          <a:p>
            <a:pPr marL="0" indent="0">
              <a:buNone/>
            </a:pPr>
            <a:r>
              <a:rPr lang="sv-SE" b="1"/>
              <a:t>Övergripande rekommendationer</a:t>
            </a:r>
          </a:p>
          <a:p>
            <a:pPr marL="0" indent="0">
              <a:buNone/>
            </a:pPr>
            <a:endParaRPr lang="sv-SE"/>
          </a:p>
          <a:p>
            <a:pPr marL="0" indent="0">
              <a:buNone/>
            </a:pPr>
            <a:endParaRPr lang="sv-SE"/>
          </a:p>
        </p:txBody>
      </p:sp>
      <p:pic>
        <p:nvPicPr>
          <p:cNvPr id="8" name="Bildobjekt 7">
            <a:extLst>
              <a:ext uri="{FF2B5EF4-FFF2-40B4-BE49-F238E27FC236}">
                <a16:creationId xmlns:a16="http://schemas.microsoft.com/office/drawing/2014/main" id="{AA7A827C-828F-B5E1-1679-651B587A051F}"/>
              </a:ext>
            </a:extLst>
          </p:cNvPr>
          <p:cNvPicPr>
            <a:picLocks noChangeAspect="1"/>
          </p:cNvPicPr>
          <p:nvPr/>
        </p:nvPicPr>
        <p:blipFill>
          <a:blip r:embed="rId3"/>
          <a:stretch>
            <a:fillRect/>
          </a:stretch>
        </p:blipFill>
        <p:spPr>
          <a:xfrm rot="21177964">
            <a:off x="6619314" y="937526"/>
            <a:ext cx="3842379" cy="5430562"/>
          </a:xfrm>
          <a:prstGeom prst="rect">
            <a:avLst/>
          </a:prstGeom>
          <a:ln>
            <a:solidFill>
              <a:schemeClr val="tx1">
                <a:lumMod val="40000"/>
                <a:lumOff val="60000"/>
              </a:schemeClr>
            </a:solidFill>
          </a:ln>
          <a:effectLst>
            <a:outerShdw blurRad="292100" dist="139700" dir="2700000" algn="tl" rotWithShape="0">
              <a:srgbClr val="333333">
                <a:alpha val="65000"/>
              </a:srgbClr>
            </a:outerShdw>
          </a:effectLst>
        </p:spPr>
      </p:pic>
      <p:sp>
        <p:nvSpPr>
          <p:cNvPr id="17" name="Flödesschema: Sammanfoga 16">
            <a:extLst>
              <a:ext uri="{FF2B5EF4-FFF2-40B4-BE49-F238E27FC236}">
                <a16:creationId xmlns:a16="http://schemas.microsoft.com/office/drawing/2014/main" id="{6BF039C4-0EC0-74B5-720F-EBC61B2DF7A1}"/>
              </a:ext>
            </a:extLst>
          </p:cNvPr>
          <p:cNvSpPr/>
          <p:nvPr/>
        </p:nvSpPr>
        <p:spPr>
          <a:xfrm rot="16200000">
            <a:off x="676857" y="3183500"/>
            <a:ext cx="290978" cy="200021"/>
          </a:xfrm>
          <a:prstGeom prst="flowChartMerge">
            <a:avLst/>
          </a:prstGeom>
          <a:solidFill>
            <a:schemeClr val="tx1"/>
          </a:solidFill>
          <a:ln>
            <a:solidFill>
              <a:schemeClr val="tx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098467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0371CA08-78F7-347B-9223-CB3D8074F189}"/>
              </a:ext>
            </a:extLst>
          </p:cNvPr>
          <p:cNvSpPr/>
          <p:nvPr/>
        </p:nvSpPr>
        <p:spPr>
          <a:xfrm>
            <a:off x="8611975" y="693111"/>
            <a:ext cx="1142695" cy="5641268"/>
          </a:xfrm>
          <a:prstGeom prst="rect">
            <a:avLst/>
          </a:prstGeom>
          <a:solidFill>
            <a:srgbClr val="B8D2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Rektangel 2">
            <a:extLst>
              <a:ext uri="{FF2B5EF4-FFF2-40B4-BE49-F238E27FC236}">
                <a16:creationId xmlns:a16="http://schemas.microsoft.com/office/drawing/2014/main" id="{901A4291-060E-903F-A82D-00A4138C618D}"/>
              </a:ext>
            </a:extLst>
          </p:cNvPr>
          <p:cNvSpPr/>
          <p:nvPr/>
        </p:nvSpPr>
        <p:spPr>
          <a:xfrm>
            <a:off x="7431157" y="688767"/>
            <a:ext cx="1142695" cy="5641268"/>
          </a:xfrm>
          <a:prstGeom prst="rect">
            <a:avLst/>
          </a:prstGeom>
          <a:solidFill>
            <a:srgbClr val="5899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Rektangel 3">
            <a:extLst>
              <a:ext uri="{FF2B5EF4-FFF2-40B4-BE49-F238E27FC236}">
                <a16:creationId xmlns:a16="http://schemas.microsoft.com/office/drawing/2014/main" id="{BE42EA11-3F45-774B-F765-333C51335509}"/>
              </a:ext>
            </a:extLst>
          </p:cNvPr>
          <p:cNvSpPr/>
          <p:nvPr/>
        </p:nvSpPr>
        <p:spPr>
          <a:xfrm>
            <a:off x="6253931" y="707829"/>
            <a:ext cx="1142695" cy="5641268"/>
          </a:xfrm>
          <a:prstGeom prst="rect">
            <a:avLst/>
          </a:prstGeom>
          <a:solidFill>
            <a:srgbClr val="188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Pil: femhörning 4">
            <a:extLst>
              <a:ext uri="{FF2B5EF4-FFF2-40B4-BE49-F238E27FC236}">
                <a16:creationId xmlns:a16="http://schemas.microsoft.com/office/drawing/2014/main" id="{B5165B2E-082D-7587-91C2-24038552C2CF}"/>
              </a:ext>
            </a:extLst>
          </p:cNvPr>
          <p:cNvSpPr/>
          <p:nvPr/>
        </p:nvSpPr>
        <p:spPr>
          <a:xfrm>
            <a:off x="338742" y="4729959"/>
            <a:ext cx="6480000" cy="96396"/>
          </a:xfrm>
          <a:prstGeom prst="homePlate">
            <a:avLst/>
          </a:prstGeom>
          <a:solidFill>
            <a:srgbClr val="C0E4F2"/>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Pil: femhörning 5">
            <a:extLst>
              <a:ext uri="{FF2B5EF4-FFF2-40B4-BE49-F238E27FC236}">
                <a16:creationId xmlns:a16="http://schemas.microsoft.com/office/drawing/2014/main" id="{26682B6E-2C88-E30A-B808-2FC8D4925A4B}"/>
              </a:ext>
            </a:extLst>
          </p:cNvPr>
          <p:cNvSpPr/>
          <p:nvPr/>
        </p:nvSpPr>
        <p:spPr>
          <a:xfrm>
            <a:off x="331497" y="2850268"/>
            <a:ext cx="6480000" cy="97200"/>
          </a:xfrm>
          <a:prstGeom prst="homePlate">
            <a:avLst/>
          </a:prstGeom>
          <a:solidFill>
            <a:srgbClr val="FBCFB9"/>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Pil: femhörning 6">
            <a:extLst>
              <a:ext uri="{FF2B5EF4-FFF2-40B4-BE49-F238E27FC236}">
                <a16:creationId xmlns:a16="http://schemas.microsoft.com/office/drawing/2014/main" id="{B51AAE1F-D174-A29D-A6ED-6B9F5A4787FF}"/>
              </a:ext>
            </a:extLst>
          </p:cNvPr>
          <p:cNvSpPr/>
          <p:nvPr/>
        </p:nvSpPr>
        <p:spPr>
          <a:xfrm>
            <a:off x="338742" y="963798"/>
            <a:ext cx="6480000" cy="88295"/>
          </a:xfrm>
          <a:prstGeom prst="homePlate">
            <a:avLst/>
          </a:prstGeom>
          <a:solidFill>
            <a:srgbClr val="B8E1C8"/>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Rektangel 7">
            <a:extLst>
              <a:ext uri="{FF2B5EF4-FFF2-40B4-BE49-F238E27FC236}">
                <a16:creationId xmlns:a16="http://schemas.microsoft.com/office/drawing/2014/main" id="{174E5B71-9E02-BF7D-39F8-DB2960652802}"/>
              </a:ext>
            </a:extLst>
          </p:cNvPr>
          <p:cNvSpPr/>
          <p:nvPr/>
        </p:nvSpPr>
        <p:spPr>
          <a:xfrm>
            <a:off x="1474192" y="1058903"/>
            <a:ext cx="5391935"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sköter och skyddar arters livsmiljöer så att naturvärdena utvecklas</a:t>
            </a:r>
          </a:p>
        </p:txBody>
      </p:sp>
      <p:sp>
        <p:nvSpPr>
          <p:cNvPr id="9" name="Rektangel 8">
            <a:extLst>
              <a:ext uri="{FF2B5EF4-FFF2-40B4-BE49-F238E27FC236}">
                <a16:creationId xmlns:a16="http://schemas.microsoft.com/office/drawing/2014/main" id="{08E7ACE2-EACA-CBAB-C5E9-91126E87CBF6}"/>
              </a:ext>
            </a:extLst>
          </p:cNvPr>
          <p:cNvSpPr/>
          <p:nvPr/>
        </p:nvSpPr>
        <p:spPr>
          <a:xfrm>
            <a:off x="1474192" y="1411884"/>
            <a:ext cx="5391935"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arbetar för renare hav, sjöar och vattendrag</a:t>
            </a:r>
          </a:p>
        </p:txBody>
      </p:sp>
      <p:sp>
        <p:nvSpPr>
          <p:cNvPr id="10" name="Rektangel 9">
            <a:extLst>
              <a:ext uri="{FF2B5EF4-FFF2-40B4-BE49-F238E27FC236}">
                <a16:creationId xmlns:a16="http://schemas.microsoft.com/office/drawing/2014/main" id="{32624733-F41A-3212-2EDB-4AC0DB37A534}"/>
              </a:ext>
            </a:extLst>
          </p:cNvPr>
          <p:cNvSpPr/>
          <p:nvPr/>
        </p:nvSpPr>
        <p:spPr>
          <a:xfrm>
            <a:off x="1474191" y="1764864"/>
            <a:ext cx="5391935"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ökar den biologiska mångfalden i stadsmiljön</a:t>
            </a:r>
          </a:p>
        </p:txBody>
      </p:sp>
      <p:sp>
        <p:nvSpPr>
          <p:cNvPr id="11" name="Rektangel 10">
            <a:extLst>
              <a:ext uri="{FF2B5EF4-FFF2-40B4-BE49-F238E27FC236}">
                <a16:creationId xmlns:a16="http://schemas.microsoft.com/office/drawing/2014/main" id="{305C7D8C-1311-171A-B564-029798F83F7E}"/>
              </a:ext>
            </a:extLst>
          </p:cNvPr>
          <p:cNvSpPr/>
          <p:nvPr/>
        </p:nvSpPr>
        <p:spPr>
          <a:xfrm>
            <a:off x="1474191" y="2117844"/>
            <a:ext cx="5391935"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s inköp bidrar till att främja biologisk mångfald</a:t>
            </a:r>
          </a:p>
        </p:txBody>
      </p:sp>
      <p:sp>
        <p:nvSpPr>
          <p:cNvPr id="12" name="Rektangel 11">
            <a:extLst>
              <a:ext uri="{FF2B5EF4-FFF2-40B4-BE49-F238E27FC236}">
                <a16:creationId xmlns:a16="http://schemas.microsoft.com/office/drawing/2014/main" id="{4CF9C2BC-5B62-4303-3A00-9088AA592231}"/>
              </a:ext>
            </a:extLst>
          </p:cNvPr>
          <p:cNvSpPr/>
          <p:nvPr/>
        </p:nvSpPr>
        <p:spPr>
          <a:xfrm>
            <a:off x="1474193" y="2907712"/>
            <a:ext cx="5391933"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minskar energianvändningen i bostäder och lokaler</a:t>
            </a:r>
          </a:p>
        </p:txBody>
      </p:sp>
      <p:sp>
        <p:nvSpPr>
          <p:cNvPr id="13" name="Rektangel 12">
            <a:extLst>
              <a:ext uri="{FF2B5EF4-FFF2-40B4-BE49-F238E27FC236}">
                <a16:creationId xmlns:a16="http://schemas.microsoft.com/office/drawing/2014/main" id="{A3460A3D-5621-8B47-5589-1DD3BA9C8F60}"/>
              </a:ext>
            </a:extLst>
          </p:cNvPr>
          <p:cNvSpPr/>
          <p:nvPr/>
        </p:nvSpPr>
        <p:spPr>
          <a:xfrm>
            <a:off x="1474192" y="3252380"/>
            <a:ext cx="5391933"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producerar enbart energi av förnybara källor</a:t>
            </a:r>
          </a:p>
        </p:txBody>
      </p:sp>
      <p:sp>
        <p:nvSpPr>
          <p:cNvPr id="14" name="Rektangel 13">
            <a:extLst>
              <a:ext uri="{FF2B5EF4-FFF2-40B4-BE49-F238E27FC236}">
                <a16:creationId xmlns:a16="http://schemas.microsoft.com/office/drawing/2014/main" id="{2B381D2D-0F3F-FE5B-FF2F-97773D5DEFF3}"/>
              </a:ext>
            </a:extLst>
          </p:cNvPr>
          <p:cNvSpPr/>
          <p:nvPr/>
        </p:nvSpPr>
        <p:spPr>
          <a:xfrm>
            <a:off x="1474190" y="3597048"/>
            <a:ext cx="5391933"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minskar klimatpåverkan från transporter</a:t>
            </a:r>
          </a:p>
        </p:txBody>
      </p:sp>
      <p:sp>
        <p:nvSpPr>
          <p:cNvPr id="15" name="Rektangel 14">
            <a:extLst>
              <a:ext uri="{FF2B5EF4-FFF2-40B4-BE49-F238E27FC236}">
                <a16:creationId xmlns:a16="http://schemas.microsoft.com/office/drawing/2014/main" id="{46E8BB62-EF50-20A4-488A-65E7FF71DFFD}"/>
              </a:ext>
            </a:extLst>
          </p:cNvPr>
          <p:cNvSpPr/>
          <p:nvPr/>
        </p:nvSpPr>
        <p:spPr>
          <a:xfrm>
            <a:off x="1474190" y="3950028"/>
            <a:ext cx="5391933"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minskar klimatpåverkan från inköp</a:t>
            </a:r>
          </a:p>
        </p:txBody>
      </p:sp>
      <p:sp>
        <p:nvSpPr>
          <p:cNvPr id="16" name="Rektangel 15">
            <a:extLst>
              <a:ext uri="{FF2B5EF4-FFF2-40B4-BE49-F238E27FC236}">
                <a16:creationId xmlns:a16="http://schemas.microsoft.com/office/drawing/2014/main" id="{E11316FD-945A-09CF-C4AC-081E21BADF5B}"/>
              </a:ext>
            </a:extLst>
          </p:cNvPr>
          <p:cNvSpPr/>
          <p:nvPr/>
        </p:nvSpPr>
        <p:spPr>
          <a:xfrm>
            <a:off x="1474194" y="4816596"/>
            <a:ext cx="5386571"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minskar användningen av skadliga ämnen</a:t>
            </a:r>
          </a:p>
        </p:txBody>
      </p:sp>
      <p:sp>
        <p:nvSpPr>
          <p:cNvPr id="17" name="Rektangel 16">
            <a:extLst>
              <a:ext uri="{FF2B5EF4-FFF2-40B4-BE49-F238E27FC236}">
                <a16:creationId xmlns:a16="http://schemas.microsoft.com/office/drawing/2014/main" id="{FC1F83BE-ACDD-DCED-E52C-6CA0B4553108}"/>
              </a:ext>
            </a:extLst>
          </p:cNvPr>
          <p:cNvSpPr/>
          <p:nvPr/>
        </p:nvSpPr>
        <p:spPr>
          <a:xfrm>
            <a:off x="1474193" y="5170028"/>
            <a:ext cx="5386571"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säkrar en god luftkvalitet för göteborgarna</a:t>
            </a:r>
          </a:p>
        </p:txBody>
      </p:sp>
      <p:sp>
        <p:nvSpPr>
          <p:cNvPr id="18" name="Rektangel 17">
            <a:extLst>
              <a:ext uri="{FF2B5EF4-FFF2-40B4-BE49-F238E27FC236}">
                <a16:creationId xmlns:a16="http://schemas.microsoft.com/office/drawing/2014/main" id="{3ED12190-941F-7AB1-09BD-D9721AFF3426}"/>
              </a:ext>
            </a:extLst>
          </p:cNvPr>
          <p:cNvSpPr/>
          <p:nvPr/>
        </p:nvSpPr>
        <p:spPr>
          <a:xfrm>
            <a:off x="1474191" y="5523462"/>
            <a:ext cx="5386571"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säkrar en god ljudmiljö för göteborgarna</a:t>
            </a:r>
          </a:p>
        </p:txBody>
      </p:sp>
      <p:sp>
        <p:nvSpPr>
          <p:cNvPr id="19" name="Rektangel 18">
            <a:extLst>
              <a:ext uri="{FF2B5EF4-FFF2-40B4-BE49-F238E27FC236}">
                <a16:creationId xmlns:a16="http://schemas.microsoft.com/office/drawing/2014/main" id="{B7288306-1303-87B8-7B80-3EA0C7C72546}"/>
              </a:ext>
            </a:extLst>
          </p:cNvPr>
          <p:cNvSpPr/>
          <p:nvPr/>
        </p:nvSpPr>
        <p:spPr>
          <a:xfrm>
            <a:off x="1474191" y="5870072"/>
            <a:ext cx="5386571"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333333"/>
                </a:solidFill>
                <a:effectLst/>
                <a:uLnTx/>
                <a:uFillTx/>
                <a:latin typeface="Arial"/>
                <a:ea typeface="+mn-ea"/>
                <a:cs typeface="+mn-cs"/>
              </a:rPr>
              <a:t>Göteborgs Stad säkrar tillgången till grönområden och nyttjar ekosystemtjänster</a:t>
            </a:r>
          </a:p>
        </p:txBody>
      </p:sp>
      <p:sp>
        <p:nvSpPr>
          <p:cNvPr id="20" name="Rektangel 19">
            <a:extLst>
              <a:ext uri="{FF2B5EF4-FFF2-40B4-BE49-F238E27FC236}">
                <a16:creationId xmlns:a16="http://schemas.microsoft.com/office/drawing/2014/main" id="{28C04C73-1510-CF91-C935-29C77D81B84A}"/>
              </a:ext>
            </a:extLst>
          </p:cNvPr>
          <p:cNvSpPr/>
          <p:nvPr/>
        </p:nvSpPr>
        <p:spPr>
          <a:xfrm>
            <a:off x="1474190" y="2571115"/>
            <a:ext cx="4455627"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51" b="1" i="0" u="none" strike="noStrike" kern="1200" cap="none" spc="0" normalizeH="0" baseline="0" noProof="0">
                <a:ln>
                  <a:noFill/>
                </a:ln>
                <a:solidFill>
                  <a:srgbClr val="333333"/>
                </a:solidFill>
                <a:effectLst/>
                <a:uLnTx/>
                <a:uFillTx/>
                <a:latin typeface="Arial"/>
                <a:ea typeface="+mn-ea"/>
                <a:cs typeface="+mn-cs"/>
              </a:rPr>
              <a:t>Göteborgs klimatavtryck är nära noll</a:t>
            </a:r>
          </a:p>
        </p:txBody>
      </p:sp>
      <p:sp>
        <p:nvSpPr>
          <p:cNvPr id="21" name="Rektangel 20">
            <a:extLst>
              <a:ext uri="{FF2B5EF4-FFF2-40B4-BE49-F238E27FC236}">
                <a16:creationId xmlns:a16="http://schemas.microsoft.com/office/drawing/2014/main" id="{2932CD1E-F85C-7AB5-8F1D-1B680930CA57}"/>
              </a:ext>
            </a:extLst>
          </p:cNvPr>
          <p:cNvSpPr/>
          <p:nvPr/>
        </p:nvSpPr>
        <p:spPr>
          <a:xfrm>
            <a:off x="1467001" y="695006"/>
            <a:ext cx="4469563"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51" b="1" i="0" u="none" strike="noStrike" kern="1200" cap="none" spc="0" normalizeH="0" baseline="0" noProof="0">
                <a:ln>
                  <a:noFill/>
                </a:ln>
                <a:solidFill>
                  <a:srgbClr val="333333"/>
                </a:solidFill>
                <a:effectLst/>
                <a:uLnTx/>
                <a:uFillTx/>
                <a:latin typeface="Arial"/>
                <a:ea typeface="+mn-ea"/>
                <a:cs typeface="+mn-cs"/>
              </a:rPr>
              <a:t>Göteborg har en hög biologisk mångfald</a:t>
            </a:r>
          </a:p>
        </p:txBody>
      </p:sp>
      <p:sp>
        <p:nvSpPr>
          <p:cNvPr id="22" name="Rektangel 21">
            <a:extLst>
              <a:ext uri="{FF2B5EF4-FFF2-40B4-BE49-F238E27FC236}">
                <a16:creationId xmlns:a16="http://schemas.microsoft.com/office/drawing/2014/main" id="{4D136CB7-409D-0F3F-A317-75DB7F80869A}"/>
              </a:ext>
            </a:extLst>
          </p:cNvPr>
          <p:cNvSpPr/>
          <p:nvPr/>
        </p:nvSpPr>
        <p:spPr>
          <a:xfrm>
            <a:off x="1474191" y="4439944"/>
            <a:ext cx="4455624" cy="331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051" b="1" i="0" u="none" strike="noStrike" kern="1200" cap="none" spc="0" normalizeH="0" baseline="0" noProof="0">
                <a:ln>
                  <a:noFill/>
                </a:ln>
                <a:solidFill>
                  <a:srgbClr val="333333"/>
                </a:solidFill>
                <a:effectLst/>
                <a:uLnTx/>
                <a:uFillTx/>
                <a:latin typeface="Arial"/>
                <a:ea typeface="+mn-ea"/>
                <a:cs typeface="+mn-cs"/>
              </a:rPr>
              <a:t>Göteborgarna har en hälsosam livsmiljö</a:t>
            </a:r>
          </a:p>
        </p:txBody>
      </p:sp>
      <p:sp>
        <p:nvSpPr>
          <p:cNvPr id="23" name="Rektangel 22">
            <a:extLst>
              <a:ext uri="{FF2B5EF4-FFF2-40B4-BE49-F238E27FC236}">
                <a16:creationId xmlns:a16="http://schemas.microsoft.com/office/drawing/2014/main" id="{A900098E-4705-390E-F7EB-AAB9E2BF8108}"/>
              </a:ext>
            </a:extLst>
          </p:cNvPr>
          <p:cNvSpPr/>
          <p:nvPr/>
        </p:nvSpPr>
        <p:spPr>
          <a:xfrm>
            <a:off x="1573946" y="3509739"/>
            <a:ext cx="7596000" cy="45719"/>
          </a:xfrm>
          <a:prstGeom prst="rect">
            <a:avLst/>
          </a:prstGeom>
          <a:solidFill>
            <a:srgbClr val="FAC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Rektangel 23">
            <a:extLst>
              <a:ext uri="{FF2B5EF4-FFF2-40B4-BE49-F238E27FC236}">
                <a16:creationId xmlns:a16="http://schemas.microsoft.com/office/drawing/2014/main" id="{375AA743-B11F-109F-E6E3-7C5C34EF6E6F}"/>
              </a:ext>
            </a:extLst>
          </p:cNvPr>
          <p:cNvSpPr/>
          <p:nvPr/>
        </p:nvSpPr>
        <p:spPr>
          <a:xfrm>
            <a:off x="1573945" y="3849097"/>
            <a:ext cx="5220000" cy="45719"/>
          </a:xfrm>
          <a:prstGeom prst="rect">
            <a:avLst/>
          </a:prstGeom>
          <a:solidFill>
            <a:srgbClr val="FAC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Rektangel 24">
            <a:extLst>
              <a:ext uri="{FF2B5EF4-FFF2-40B4-BE49-F238E27FC236}">
                <a16:creationId xmlns:a16="http://schemas.microsoft.com/office/drawing/2014/main" id="{86116867-DFB1-00DB-E445-91BAAACB674C}"/>
              </a:ext>
            </a:extLst>
          </p:cNvPr>
          <p:cNvSpPr/>
          <p:nvPr/>
        </p:nvSpPr>
        <p:spPr>
          <a:xfrm>
            <a:off x="1573947" y="4192862"/>
            <a:ext cx="6371999" cy="45719"/>
          </a:xfrm>
          <a:prstGeom prst="rect">
            <a:avLst/>
          </a:prstGeom>
          <a:solidFill>
            <a:srgbClr val="FAC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Rektangel 25">
            <a:extLst>
              <a:ext uri="{FF2B5EF4-FFF2-40B4-BE49-F238E27FC236}">
                <a16:creationId xmlns:a16="http://schemas.microsoft.com/office/drawing/2014/main" id="{63BFC558-6E4D-CF02-4A9D-633938726839}"/>
              </a:ext>
            </a:extLst>
          </p:cNvPr>
          <p:cNvSpPr/>
          <p:nvPr/>
        </p:nvSpPr>
        <p:spPr>
          <a:xfrm>
            <a:off x="6253930" y="198441"/>
            <a:ext cx="1140909" cy="4645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prstClr val="white"/>
                </a:solidFill>
                <a:effectLst/>
                <a:uLnTx/>
                <a:uFillTx/>
                <a:latin typeface="Arial"/>
                <a:ea typeface="+mn-ea"/>
                <a:cs typeface="+mn-cs"/>
              </a:rPr>
              <a:t>Kräver system- omställning</a:t>
            </a:r>
          </a:p>
        </p:txBody>
      </p:sp>
      <p:sp>
        <p:nvSpPr>
          <p:cNvPr id="27" name="Rektangel 26">
            <a:extLst>
              <a:ext uri="{FF2B5EF4-FFF2-40B4-BE49-F238E27FC236}">
                <a16:creationId xmlns:a16="http://schemas.microsoft.com/office/drawing/2014/main" id="{D7E5A9BA-ECE0-53CA-4FEA-A97AA653B5AB}"/>
              </a:ext>
            </a:extLst>
          </p:cNvPr>
          <p:cNvSpPr/>
          <p:nvPr/>
        </p:nvSpPr>
        <p:spPr>
          <a:xfrm>
            <a:off x="7431157" y="198441"/>
            <a:ext cx="1142695" cy="4645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prstClr val="white"/>
                </a:solidFill>
                <a:effectLst/>
                <a:uLnTx/>
                <a:uFillTx/>
                <a:latin typeface="Arial"/>
                <a:ea typeface="+mn-ea"/>
                <a:cs typeface="+mn-cs"/>
              </a:rPr>
              <a:t>Kräver kraftfulla insatser </a:t>
            </a:r>
          </a:p>
        </p:txBody>
      </p:sp>
      <p:sp>
        <p:nvSpPr>
          <p:cNvPr id="28" name="Rektangel 27">
            <a:extLst>
              <a:ext uri="{FF2B5EF4-FFF2-40B4-BE49-F238E27FC236}">
                <a16:creationId xmlns:a16="http://schemas.microsoft.com/office/drawing/2014/main" id="{1FD05D54-021C-30AA-3967-07A817835F3B}"/>
              </a:ext>
            </a:extLst>
          </p:cNvPr>
          <p:cNvSpPr/>
          <p:nvPr/>
        </p:nvSpPr>
        <p:spPr>
          <a:xfrm>
            <a:off x="8611975" y="198063"/>
            <a:ext cx="1142695" cy="4658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prstClr val="white"/>
                </a:solidFill>
                <a:effectLst/>
                <a:uLnTx/>
                <a:uFillTx/>
                <a:latin typeface="Arial"/>
                <a:ea typeface="+mn-ea"/>
                <a:cs typeface="+mn-cs"/>
              </a:rPr>
              <a:t>På rätt väg </a:t>
            </a:r>
          </a:p>
        </p:txBody>
      </p:sp>
      <p:sp>
        <p:nvSpPr>
          <p:cNvPr id="31" name="Rektangel 30">
            <a:extLst>
              <a:ext uri="{FF2B5EF4-FFF2-40B4-BE49-F238E27FC236}">
                <a16:creationId xmlns:a16="http://schemas.microsoft.com/office/drawing/2014/main" id="{0807230A-97BC-27D1-D85C-8ED45C30F93F}"/>
              </a:ext>
            </a:extLst>
          </p:cNvPr>
          <p:cNvSpPr/>
          <p:nvPr/>
        </p:nvSpPr>
        <p:spPr>
          <a:xfrm>
            <a:off x="1573945" y="5783518"/>
            <a:ext cx="6408000" cy="45719"/>
          </a:xfrm>
          <a:prstGeom prst="rect">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Rektangel 31">
            <a:extLst>
              <a:ext uri="{FF2B5EF4-FFF2-40B4-BE49-F238E27FC236}">
                <a16:creationId xmlns:a16="http://schemas.microsoft.com/office/drawing/2014/main" id="{2B0E54D7-4CF6-48ED-E59A-0E40949E9590}"/>
              </a:ext>
            </a:extLst>
          </p:cNvPr>
          <p:cNvSpPr/>
          <p:nvPr/>
        </p:nvSpPr>
        <p:spPr>
          <a:xfrm>
            <a:off x="1573945" y="6137002"/>
            <a:ext cx="6408000" cy="45719"/>
          </a:xfrm>
          <a:prstGeom prst="rect">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pic>
        <p:nvPicPr>
          <p:cNvPr id="33" name="Picture 7">
            <a:extLst>
              <a:ext uri="{FF2B5EF4-FFF2-40B4-BE49-F238E27FC236}">
                <a16:creationId xmlns:a16="http://schemas.microsoft.com/office/drawing/2014/main" id="{F78345ED-25C9-184D-94B1-2F6715D6EC2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8742" y="1133031"/>
            <a:ext cx="972000" cy="972000"/>
          </a:xfrm>
          <a:prstGeom prst="rect">
            <a:avLst/>
          </a:prstGeom>
          <a:noFill/>
          <a:ln w="3175">
            <a:noFill/>
          </a:ln>
          <a:effectLst>
            <a:outerShdw blurRad="63500" sx="102000" sy="102000" algn="ctr" rotWithShape="0">
              <a:prstClr val="black">
                <a:alpha val="40000"/>
              </a:prstClr>
            </a:outerShdw>
          </a:effectLst>
        </p:spPr>
      </p:pic>
      <p:pic>
        <p:nvPicPr>
          <p:cNvPr id="34" name="Picture 8">
            <a:extLst>
              <a:ext uri="{FF2B5EF4-FFF2-40B4-BE49-F238E27FC236}">
                <a16:creationId xmlns:a16="http://schemas.microsoft.com/office/drawing/2014/main" id="{7A19B7B0-B0EF-6777-5DE3-B450E21581A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8742" y="3031253"/>
            <a:ext cx="972000" cy="972000"/>
          </a:xfrm>
          <a:prstGeom prst="rect">
            <a:avLst/>
          </a:prstGeom>
          <a:noFill/>
          <a:ln w="3175">
            <a:noFill/>
          </a:ln>
          <a:effectLst>
            <a:outerShdw blurRad="63500" sx="102000" sy="102000" algn="ctr" rotWithShape="0">
              <a:prstClr val="black">
                <a:alpha val="40000"/>
              </a:prstClr>
            </a:outerShdw>
          </a:effectLst>
        </p:spPr>
      </p:pic>
      <p:pic>
        <p:nvPicPr>
          <p:cNvPr id="35" name="Picture 9">
            <a:extLst>
              <a:ext uri="{FF2B5EF4-FFF2-40B4-BE49-F238E27FC236}">
                <a16:creationId xmlns:a16="http://schemas.microsoft.com/office/drawing/2014/main" id="{2DA24BD2-A1C9-3156-9CF8-0977A7EA504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38742" y="4903121"/>
            <a:ext cx="972000" cy="972000"/>
          </a:xfrm>
          <a:prstGeom prst="rect">
            <a:avLst/>
          </a:prstGeom>
          <a:noFill/>
          <a:ln w="3175">
            <a:noFill/>
          </a:ln>
          <a:effectLst>
            <a:outerShdw blurRad="63500" sx="102000" sy="102000" algn="ctr" rotWithShape="0">
              <a:prstClr val="black">
                <a:alpha val="40000"/>
              </a:prstClr>
            </a:outerShdw>
          </a:effectLst>
        </p:spPr>
      </p:pic>
      <p:sp>
        <p:nvSpPr>
          <p:cNvPr id="36" name="Pil: femhörning 35">
            <a:extLst>
              <a:ext uri="{FF2B5EF4-FFF2-40B4-BE49-F238E27FC236}">
                <a16:creationId xmlns:a16="http://schemas.microsoft.com/office/drawing/2014/main" id="{E793AA17-8F5A-F9BC-A780-1F10A21B8F21}"/>
              </a:ext>
            </a:extLst>
          </p:cNvPr>
          <p:cNvSpPr/>
          <p:nvPr/>
        </p:nvSpPr>
        <p:spPr>
          <a:xfrm flipV="1">
            <a:off x="1573947" y="1348982"/>
            <a:ext cx="6407999" cy="48679"/>
          </a:xfrm>
          <a:prstGeom prst="homePlate">
            <a:avLst/>
          </a:prstGeom>
          <a:solidFill>
            <a:srgbClr val="B8E1C8"/>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Pil: femhörning 37">
            <a:extLst>
              <a:ext uri="{FF2B5EF4-FFF2-40B4-BE49-F238E27FC236}">
                <a16:creationId xmlns:a16="http://schemas.microsoft.com/office/drawing/2014/main" id="{D04AE43E-C358-9709-9F9C-1991F64BA22F}"/>
              </a:ext>
            </a:extLst>
          </p:cNvPr>
          <p:cNvSpPr/>
          <p:nvPr/>
        </p:nvSpPr>
        <p:spPr>
          <a:xfrm flipV="1">
            <a:off x="1573945" y="2049301"/>
            <a:ext cx="6372000" cy="45719"/>
          </a:xfrm>
          <a:prstGeom prst="homePlate">
            <a:avLst/>
          </a:prstGeom>
          <a:solidFill>
            <a:srgbClr val="B8E1C8"/>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Pil: femhörning 38">
            <a:extLst>
              <a:ext uri="{FF2B5EF4-FFF2-40B4-BE49-F238E27FC236}">
                <a16:creationId xmlns:a16="http://schemas.microsoft.com/office/drawing/2014/main" id="{C5AB8E92-BFE8-53B2-C4EB-9BE4FE62CEC9}"/>
              </a:ext>
            </a:extLst>
          </p:cNvPr>
          <p:cNvSpPr/>
          <p:nvPr/>
        </p:nvSpPr>
        <p:spPr>
          <a:xfrm flipV="1">
            <a:off x="1573945" y="2392699"/>
            <a:ext cx="5220000" cy="45719"/>
          </a:xfrm>
          <a:prstGeom prst="homePlate">
            <a:avLst/>
          </a:prstGeom>
          <a:solidFill>
            <a:srgbClr val="B8E1C8"/>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Ellips 39">
            <a:extLst>
              <a:ext uri="{FF2B5EF4-FFF2-40B4-BE49-F238E27FC236}">
                <a16:creationId xmlns:a16="http://schemas.microsoft.com/office/drawing/2014/main" id="{5C99D9AA-7485-19AB-1322-6874D0C80DC2}"/>
              </a:ext>
            </a:extLst>
          </p:cNvPr>
          <p:cNvSpPr/>
          <p:nvPr/>
        </p:nvSpPr>
        <p:spPr>
          <a:xfrm flipV="1">
            <a:off x="7920787" y="1306977"/>
            <a:ext cx="138960" cy="136752"/>
          </a:xfrm>
          <a:prstGeom prst="ellipse">
            <a:avLst/>
          </a:prstGeom>
          <a:solidFill>
            <a:srgbClr val="B8E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2" name="Ellips 41">
            <a:extLst>
              <a:ext uri="{FF2B5EF4-FFF2-40B4-BE49-F238E27FC236}">
                <a16:creationId xmlns:a16="http://schemas.microsoft.com/office/drawing/2014/main" id="{B4E66094-5A0C-C2EC-3632-BC62E7669CD4}"/>
              </a:ext>
            </a:extLst>
          </p:cNvPr>
          <p:cNvSpPr/>
          <p:nvPr/>
        </p:nvSpPr>
        <p:spPr>
          <a:xfrm flipV="1">
            <a:off x="6730609" y="2345251"/>
            <a:ext cx="138960" cy="136752"/>
          </a:xfrm>
          <a:prstGeom prst="ellipse">
            <a:avLst/>
          </a:prstGeom>
          <a:solidFill>
            <a:srgbClr val="B8E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Ellips 42">
            <a:extLst>
              <a:ext uri="{FF2B5EF4-FFF2-40B4-BE49-F238E27FC236}">
                <a16:creationId xmlns:a16="http://schemas.microsoft.com/office/drawing/2014/main" id="{5FE465BC-9B31-5BCE-86A3-429640FD942E}"/>
              </a:ext>
            </a:extLst>
          </p:cNvPr>
          <p:cNvSpPr/>
          <p:nvPr/>
        </p:nvSpPr>
        <p:spPr>
          <a:xfrm flipV="1">
            <a:off x="7920787" y="2003783"/>
            <a:ext cx="138960" cy="136752"/>
          </a:xfrm>
          <a:prstGeom prst="ellipse">
            <a:avLst/>
          </a:prstGeom>
          <a:solidFill>
            <a:srgbClr val="B8E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Ellips 43">
            <a:extLst>
              <a:ext uri="{FF2B5EF4-FFF2-40B4-BE49-F238E27FC236}">
                <a16:creationId xmlns:a16="http://schemas.microsoft.com/office/drawing/2014/main" id="{E68B81E6-B2FF-D4DB-8410-9FF6A9AA957B}"/>
              </a:ext>
            </a:extLst>
          </p:cNvPr>
          <p:cNvSpPr/>
          <p:nvPr/>
        </p:nvSpPr>
        <p:spPr>
          <a:xfrm flipV="1">
            <a:off x="6732509" y="3802173"/>
            <a:ext cx="138960" cy="136752"/>
          </a:xfrm>
          <a:prstGeom prst="ellipse">
            <a:avLst/>
          </a:prstGeom>
          <a:solidFill>
            <a:srgbClr val="FBC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Ellips 44">
            <a:extLst>
              <a:ext uri="{FF2B5EF4-FFF2-40B4-BE49-F238E27FC236}">
                <a16:creationId xmlns:a16="http://schemas.microsoft.com/office/drawing/2014/main" id="{FFC43F23-ADB8-5FA7-2CA3-D961F881A6F9}"/>
              </a:ext>
            </a:extLst>
          </p:cNvPr>
          <p:cNvSpPr/>
          <p:nvPr/>
        </p:nvSpPr>
        <p:spPr>
          <a:xfrm flipV="1">
            <a:off x="7924294" y="4152840"/>
            <a:ext cx="138960" cy="136752"/>
          </a:xfrm>
          <a:prstGeom prst="ellipse">
            <a:avLst/>
          </a:prstGeom>
          <a:solidFill>
            <a:srgbClr val="FBC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Ellips 46">
            <a:extLst>
              <a:ext uri="{FF2B5EF4-FFF2-40B4-BE49-F238E27FC236}">
                <a16:creationId xmlns:a16="http://schemas.microsoft.com/office/drawing/2014/main" id="{4FD991F5-A587-2C8A-00B2-0311748F90F7}"/>
              </a:ext>
            </a:extLst>
          </p:cNvPr>
          <p:cNvSpPr/>
          <p:nvPr/>
        </p:nvSpPr>
        <p:spPr>
          <a:xfrm flipV="1">
            <a:off x="9105613" y="3464221"/>
            <a:ext cx="138960" cy="136752"/>
          </a:xfrm>
          <a:prstGeom prst="ellipse">
            <a:avLst/>
          </a:prstGeom>
          <a:solidFill>
            <a:srgbClr val="FBC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0" name="Ellips 49">
            <a:extLst>
              <a:ext uri="{FF2B5EF4-FFF2-40B4-BE49-F238E27FC236}">
                <a16:creationId xmlns:a16="http://schemas.microsoft.com/office/drawing/2014/main" id="{071E704B-2AF3-73B9-188A-501B1F1D22F8}"/>
              </a:ext>
            </a:extLst>
          </p:cNvPr>
          <p:cNvSpPr/>
          <p:nvPr/>
        </p:nvSpPr>
        <p:spPr>
          <a:xfrm flipV="1">
            <a:off x="7924187" y="5742555"/>
            <a:ext cx="138960" cy="136752"/>
          </a:xfrm>
          <a:prstGeom prst="ellipse">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1" name="Ellips 50">
            <a:extLst>
              <a:ext uri="{FF2B5EF4-FFF2-40B4-BE49-F238E27FC236}">
                <a16:creationId xmlns:a16="http://schemas.microsoft.com/office/drawing/2014/main" id="{989B99EC-F43F-A13A-0DD4-9AD12D3355B0}"/>
              </a:ext>
            </a:extLst>
          </p:cNvPr>
          <p:cNvSpPr/>
          <p:nvPr/>
        </p:nvSpPr>
        <p:spPr>
          <a:xfrm flipV="1">
            <a:off x="7928238" y="6085481"/>
            <a:ext cx="138960" cy="136752"/>
          </a:xfrm>
          <a:prstGeom prst="ellipse">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Ellips 51">
            <a:extLst>
              <a:ext uri="{FF2B5EF4-FFF2-40B4-BE49-F238E27FC236}">
                <a16:creationId xmlns:a16="http://schemas.microsoft.com/office/drawing/2014/main" id="{1CB5D5E6-0BD6-5F88-7EA8-A66B4ED4B38B}"/>
              </a:ext>
            </a:extLst>
          </p:cNvPr>
          <p:cNvSpPr/>
          <p:nvPr/>
        </p:nvSpPr>
        <p:spPr>
          <a:xfrm flipV="1">
            <a:off x="6643443" y="4613092"/>
            <a:ext cx="326147" cy="320963"/>
          </a:xfrm>
          <a:prstGeom prst="ellipse">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textruta 52">
            <a:extLst>
              <a:ext uri="{FF2B5EF4-FFF2-40B4-BE49-F238E27FC236}">
                <a16:creationId xmlns:a16="http://schemas.microsoft.com/office/drawing/2014/main" id="{DA178384-B541-6936-5ACF-8914AAF2AADA}"/>
              </a:ext>
            </a:extLst>
          </p:cNvPr>
          <p:cNvSpPr txBox="1"/>
          <p:nvPr/>
        </p:nvSpPr>
        <p:spPr>
          <a:xfrm>
            <a:off x="324307" y="4438055"/>
            <a:ext cx="144987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333333"/>
                </a:solidFill>
                <a:effectLst/>
                <a:uLnTx/>
                <a:uFillTx/>
                <a:latin typeface="Arial"/>
                <a:ea typeface="+mn-ea"/>
                <a:cs typeface="+mn-cs"/>
              </a:rPr>
              <a:t>Människan</a:t>
            </a:r>
          </a:p>
        </p:txBody>
      </p:sp>
      <p:sp>
        <p:nvSpPr>
          <p:cNvPr id="54" name="textruta 53">
            <a:extLst>
              <a:ext uri="{FF2B5EF4-FFF2-40B4-BE49-F238E27FC236}">
                <a16:creationId xmlns:a16="http://schemas.microsoft.com/office/drawing/2014/main" id="{B468CF94-20DF-3BF1-45B7-B3E22B4EAE4A}"/>
              </a:ext>
            </a:extLst>
          </p:cNvPr>
          <p:cNvSpPr txBox="1"/>
          <p:nvPr/>
        </p:nvSpPr>
        <p:spPr>
          <a:xfrm>
            <a:off x="324307" y="2539851"/>
            <a:ext cx="114269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333333"/>
                </a:solidFill>
                <a:effectLst/>
                <a:uLnTx/>
                <a:uFillTx/>
                <a:latin typeface="Arial"/>
                <a:ea typeface="+mn-ea"/>
                <a:cs typeface="+mn-cs"/>
              </a:rPr>
              <a:t>Klimatet</a:t>
            </a:r>
          </a:p>
        </p:txBody>
      </p:sp>
      <p:sp>
        <p:nvSpPr>
          <p:cNvPr id="55" name="textruta 54">
            <a:extLst>
              <a:ext uri="{FF2B5EF4-FFF2-40B4-BE49-F238E27FC236}">
                <a16:creationId xmlns:a16="http://schemas.microsoft.com/office/drawing/2014/main" id="{80F4631F-679D-265F-0266-4F6F518B6BF9}"/>
              </a:ext>
            </a:extLst>
          </p:cNvPr>
          <p:cNvSpPr txBox="1"/>
          <p:nvPr/>
        </p:nvSpPr>
        <p:spPr>
          <a:xfrm>
            <a:off x="325987" y="575393"/>
            <a:ext cx="114269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333333"/>
                </a:solidFill>
                <a:effectLst/>
                <a:uLnTx/>
                <a:uFillTx/>
                <a:latin typeface="Arial"/>
                <a:ea typeface="+mn-ea"/>
                <a:cs typeface="+mn-cs"/>
              </a:rPr>
              <a:t>Naturen</a:t>
            </a:r>
          </a:p>
        </p:txBody>
      </p:sp>
      <p:sp>
        <p:nvSpPr>
          <p:cNvPr id="56" name="Ellips 55">
            <a:extLst>
              <a:ext uri="{FF2B5EF4-FFF2-40B4-BE49-F238E27FC236}">
                <a16:creationId xmlns:a16="http://schemas.microsoft.com/office/drawing/2014/main" id="{A3B89945-2A3E-2CB3-7259-9011830EF479}"/>
              </a:ext>
            </a:extLst>
          </p:cNvPr>
          <p:cNvSpPr/>
          <p:nvPr/>
        </p:nvSpPr>
        <p:spPr>
          <a:xfrm flipV="1">
            <a:off x="6639185" y="2731101"/>
            <a:ext cx="326147" cy="320963"/>
          </a:xfrm>
          <a:prstGeom prst="ellipse">
            <a:avLst/>
          </a:prstGeom>
          <a:solidFill>
            <a:srgbClr val="FBC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Ellips 56">
            <a:extLst>
              <a:ext uri="{FF2B5EF4-FFF2-40B4-BE49-F238E27FC236}">
                <a16:creationId xmlns:a16="http://schemas.microsoft.com/office/drawing/2014/main" id="{8A09CFF5-7D10-E699-2E61-5DB12D2B28CC}"/>
              </a:ext>
            </a:extLst>
          </p:cNvPr>
          <p:cNvSpPr/>
          <p:nvPr/>
        </p:nvSpPr>
        <p:spPr>
          <a:xfrm flipV="1">
            <a:off x="6639185" y="844031"/>
            <a:ext cx="326147" cy="320963"/>
          </a:xfrm>
          <a:prstGeom prst="ellipse">
            <a:avLst/>
          </a:prstGeom>
          <a:solidFill>
            <a:srgbClr val="B8E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Pil: femhörning 60">
            <a:extLst>
              <a:ext uri="{FF2B5EF4-FFF2-40B4-BE49-F238E27FC236}">
                <a16:creationId xmlns:a16="http://schemas.microsoft.com/office/drawing/2014/main" id="{19B2E015-3A16-2956-35B4-CE2AF52C0D94}"/>
              </a:ext>
            </a:extLst>
          </p:cNvPr>
          <p:cNvSpPr/>
          <p:nvPr/>
        </p:nvSpPr>
        <p:spPr>
          <a:xfrm flipV="1">
            <a:off x="1573946" y="1690904"/>
            <a:ext cx="6407999" cy="48679"/>
          </a:xfrm>
          <a:prstGeom prst="homePlate">
            <a:avLst/>
          </a:prstGeom>
          <a:solidFill>
            <a:srgbClr val="B8E1C8"/>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2" name="Ellips 61">
            <a:extLst>
              <a:ext uri="{FF2B5EF4-FFF2-40B4-BE49-F238E27FC236}">
                <a16:creationId xmlns:a16="http://schemas.microsoft.com/office/drawing/2014/main" id="{4F3C60D5-909C-6CB7-8AC6-79C51FEAF576}"/>
              </a:ext>
            </a:extLst>
          </p:cNvPr>
          <p:cNvSpPr/>
          <p:nvPr/>
        </p:nvSpPr>
        <p:spPr>
          <a:xfrm flipV="1">
            <a:off x="7918709" y="1649822"/>
            <a:ext cx="138960" cy="136752"/>
          </a:xfrm>
          <a:prstGeom prst="ellipse">
            <a:avLst/>
          </a:prstGeom>
          <a:solidFill>
            <a:srgbClr val="B8E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3" name="Rektangel 62">
            <a:extLst>
              <a:ext uri="{FF2B5EF4-FFF2-40B4-BE49-F238E27FC236}">
                <a16:creationId xmlns:a16="http://schemas.microsoft.com/office/drawing/2014/main" id="{0B463517-CB44-6778-00F3-D4B0B4A3E2D5}"/>
              </a:ext>
            </a:extLst>
          </p:cNvPr>
          <p:cNvSpPr/>
          <p:nvPr/>
        </p:nvSpPr>
        <p:spPr>
          <a:xfrm>
            <a:off x="1573945" y="3191538"/>
            <a:ext cx="7596000" cy="45719"/>
          </a:xfrm>
          <a:prstGeom prst="rect">
            <a:avLst/>
          </a:prstGeom>
          <a:solidFill>
            <a:srgbClr val="FACE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4" name="Ellips 63">
            <a:extLst>
              <a:ext uri="{FF2B5EF4-FFF2-40B4-BE49-F238E27FC236}">
                <a16:creationId xmlns:a16="http://schemas.microsoft.com/office/drawing/2014/main" id="{FD9B3D77-54D9-02A6-E077-09E916F4FBF0}"/>
              </a:ext>
            </a:extLst>
          </p:cNvPr>
          <p:cNvSpPr/>
          <p:nvPr/>
        </p:nvSpPr>
        <p:spPr>
          <a:xfrm flipV="1">
            <a:off x="9099415" y="3149130"/>
            <a:ext cx="138960" cy="136752"/>
          </a:xfrm>
          <a:prstGeom prst="ellipse">
            <a:avLst/>
          </a:prstGeom>
          <a:solidFill>
            <a:srgbClr val="FBC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5" name="Rektangel 64">
            <a:extLst>
              <a:ext uri="{FF2B5EF4-FFF2-40B4-BE49-F238E27FC236}">
                <a16:creationId xmlns:a16="http://schemas.microsoft.com/office/drawing/2014/main" id="{0B81EBDF-A9BA-297F-9CFA-961590EB058F}"/>
              </a:ext>
            </a:extLst>
          </p:cNvPr>
          <p:cNvSpPr/>
          <p:nvPr/>
        </p:nvSpPr>
        <p:spPr>
          <a:xfrm>
            <a:off x="1577996" y="5086487"/>
            <a:ext cx="6408000" cy="45719"/>
          </a:xfrm>
          <a:prstGeom prst="rect">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6" name="Ellips 65">
            <a:extLst>
              <a:ext uri="{FF2B5EF4-FFF2-40B4-BE49-F238E27FC236}">
                <a16:creationId xmlns:a16="http://schemas.microsoft.com/office/drawing/2014/main" id="{A39A8200-519A-326E-466B-E2559BD73029}"/>
              </a:ext>
            </a:extLst>
          </p:cNvPr>
          <p:cNvSpPr/>
          <p:nvPr/>
        </p:nvSpPr>
        <p:spPr>
          <a:xfrm flipV="1">
            <a:off x="7928238" y="5045524"/>
            <a:ext cx="138960" cy="136752"/>
          </a:xfrm>
          <a:prstGeom prst="ellipse">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9" name="Rektangel 68">
            <a:extLst>
              <a:ext uri="{FF2B5EF4-FFF2-40B4-BE49-F238E27FC236}">
                <a16:creationId xmlns:a16="http://schemas.microsoft.com/office/drawing/2014/main" id="{FC62D0BD-CC67-5E37-7F5B-CF58AAD128A2}"/>
              </a:ext>
            </a:extLst>
          </p:cNvPr>
          <p:cNvSpPr/>
          <p:nvPr/>
        </p:nvSpPr>
        <p:spPr>
          <a:xfrm>
            <a:off x="1573945" y="5439157"/>
            <a:ext cx="6408000" cy="45719"/>
          </a:xfrm>
          <a:prstGeom prst="rect">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0" name="Ellips 69">
            <a:extLst>
              <a:ext uri="{FF2B5EF4-FFF2-40B4-BE49-F238E27FC236}">
                <a16:creationId xmlns:a16="http://schemas.microsoft.com/office/drawing/2014/main" id="{E4D3AA5B-43B4-B708-358C-975A114B481A}"/>
              </a:ext>
            </a:extLst>
          </p:cNvPr>
          <p:cNvSpPr/>
          <p:nvPr/>
        </p:nvSpPr>
        <p:spPr>
          <a:xfrm flipV="1">
            <a:off x="7918709" y="5398178"/>
            <a:ext cx="138960" cy="136752"/>
          </a:xfrm>
          <a:prstGeom prst="ellipse">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3" name="Rektangel 72">
            <a:extLst>
              <a:ext uri="{FF2B5EF4-FFF2-40B4-BE49-F238E27FC236}">
                <a16:creationId xmlns:a16="http://schemas.microsoft.com/office/drawing/2014/main" id="{60D1C299-FE28-912F-1E31-92F08428F80C}"/>
              </a:ext>
            </a:extLst>
          </p:cNvPr>
          <p:cNvSpPr/>
          <p:nvPr/>
        </p:nvSpPr>
        <p:spPr>
          <a:xfrm>
            <a:off x="6748226" y="1643869"/>
            <a:ext cx="45719" cy="136752"/>
          </a:xfrm>
          <a:prstGeom prst="rect">
            <a:avLst/>
          </a:prstGeom>
          <a:solidFill>
            <a:srgbClr val="B8E1C8"/>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4" name="Rektangel 73">
            <a:extLst>
              <a:ext uri="{FF2B5EF4-FFF2-40B4-BE49-F238E27FC236}">
                <a16:creationId xmlns:a16="http://schemas.microsoft.com/office/drawing/2014/main" id="{A112D223-3D47-274E-9AC7-FEB57DBD216D}"/>
              </a:ext>
            </a:extLst>
          </p:cNvPr>
          <p:cNvSpPr/>
          <p:nvPr/>
        </p:nvSpPr>
        <p:spPr>
          <a:xfrm>
            <a:off x="7958581" y="3143190"/>
            <a:ext cx="45719" cy="136752"/>
          </a:xfrm>
          <a:prstGeom prst="rect">
            <a:avLst/>
          </a:prstGeom>
          <a:solidFill>
            <a:srgbClr val="FBCFB9"/>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8" name="Rektangel 77">
            <a:extLst>
              <a:ext uri="{FF2B5EF4-FFF2-40B4-BE49-F238E27FC236}">
                <a16:creationId xmlns:a16="http://schemas.microsoft.com/office/drawing/2014/main" id="{B3C5C9F6-F2A6-8A89-C92C-515BEE856020}"/>
              </a:ext>
            </a:extLst>
          </p:cNvPr>
          <p:cNvSpPr/>
          <p:nvPr/>
        </p:nvSpPr>
        <p:spPr>
          <a:xfrm>
            <a:off x="6788637" y="5043110"/>
            <a:ext cx="45719" cy="136752"/>
          </a:xfrm>
          <a:prstGeom prst="rect">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9" name="Rektangel 78">
            <a:extLst>
              <a:ext uri="{FF2B5EF4-FFF2-40B4-BE49-F238E27FC236}">
                <a16:creationId xmlns:a16="http://schemas.microsoft.com/office/drawing/2014/main" id="{D869A40A-23B7-F270-9FE6-EB8036073CAC}"/>
              </a:ext>
            </a:extLst>
          </p:cNvPr>
          <p:cNvSpPr/>
          <p:nvPr/>
        </p:nvSpPr>
        <p:spPr>
          <a:xfrm>
            <a:off x="6788637" y="5394965"/>
            <a:ext cx="45719" cy="136752"/>
          </a:xfrm>
          <a:prstGeom prst="rect">
            <a:avLst/>
          </a:prstGeom>
          <a:solidFill>
            <a:srgbClr val="C0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2344669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D35B4CD-9C61-DED2-15B2-7423BB317758}"/>
              </a:ext>
            </a:extLst>
          </p:cNvPr>
          <p:cNvSpPr>
            <a:spLocks noGrp="1"/>
          </p:cNvSpPr>
          <p:nvPr>
            <p:ph type="title"/>
          </p:nvPr>
        </p:nvSpPr>
        <p:spPr/>
        <p:txBody>
          <a:bodyPr>
            <a:normAutofit/>
          </a:bodyPr>
          <a:lstStyle/>
          <a:p>
            <a:r>
              <a:rPr lang="sv-SE" sz="2800" b="1" i="0" u="none" strike="noStrike" baseline="0">
                <a:solidFill>
                  <a:srgbClr val="0D0D0D"/>
                </a:solidFill>
                <a:latin typeface="Arial Black" panose="020B0A04020102020204" pitchFamily="34" charset="0"/>
              </a:rPr>
              <a:t>Slutsatser</a:t>
            </a:r>
            <a:endParaRPr lang="sv-SE" sz="2800">
              <a:latin typeface="Arial Black" panose="020B0A04020102020204" pitchFamily="34" charset="0"/>
            </a:endParaRPr>
          </a:p>
        </p:txBody>
      </p:sp>
      <p:sp>
        <p:nvSpPr>
          <p:cNvPr id="3" name="Platshållare för innehåll 2">
            <a:extLst>
              <a:ext uri="{FF2B5EF4-FFF2-40B4-BE49-F238E27FC236}">
                <a16:creationId xmlns:a16="http://schemas.microsoft.com/office/drawing/2014/main" id="{A63A53EF-E942-FA65-0CDD-4CD38DC6F554}"/>
              </a:ext>
            </a:extLst>
          </p:cNvPr>
          <p:cNvSpPr>
            <a:spLocks noGrp="1"/>
          </p:cNvSpPr>
          <p:nvPr>
            <p:ph sz="half" idx="1"/>
          </p:nvPr>
        </p:nvSpPr>
        <p:spPr/>
        <p:txBody>
          <a:bodyPr vert="horz" lIns="0" tIns="0" rIns="0" bIns="0" rtlCol="0" anchor="t">
            <a:normAutofit/>
          </a:bodyPr>
          <a:lstStyle/>
          <a:p>
            <a:pPr marL="229870" indent="-229870"/>
            <a:r>
              <a:rPr lang="sv-SE"/>
              <a:t>Det går åt rätt håll och takten behöver öka </a:t>
            </a:r>
            <a:endParaRPr lang="sv-SE">
              <a:cs typeface="Arial"/>
            </a:endParaRPr>
          </a:p>
          <a:p>
            <a:pPr marL="229870" indent="-229870"/>
            <a:r>
              <a:rPr lang="sv-SE"/>
              <a:t>Miljö- och klimatprogrammets strategier och stadens systematiska miljöarbete fungerar</a:t>
            </a:r>
            <a:endParaRPr lang="sv-SE">
              <a:cs typeface="Arial"/>
            </a:endParaRPr>
          </a:p>
          <a:p>
            <a:pPr marL="229870" indent="-229870"/>
            <a:r>
              <a:rPr lang="sv-SE"/>
              <a:t>Styrningen mot flera mål har förbättrats de senaste två åren</a:t>
            </a:r>
            <a:endParaRPr lang="sv-SE">
              <a:cs typeface="Arial"/>
            </a:endParaRPr>
          </a:p>
          <a:p>
            <a:pPr marL="229870" indent="-229870"/>
            <a:r>
              <a:rPr lang="sv-SE"/>
              <a:t>Nämnder och styrelser behöver genomföra rekommendationerna i rapporten</a:t>
            </a:r>
            <a:endParaRPr lang="sv-SE">
              <a:cs typeface="Arial"/>
            </a:endParaRPr>
          </a:p>
        </p:txBody>
      </p:sp>
      <p:sp>
        <p:nvSpPr>
          <p:cNvPr id="4" name="Platshållare för innehåll 3">
            <a:extLst>
              <a:ext uri="{FF2B5EF4-FFF2-40B4-BE49-F238E27FC236}">
                <a16:creationId xmlns:a16="http://schemas.microsoft.com/office/drawing/2014/main" id="{3B2B14FB-FC54-BE4A-EBE1-D22E3A208F61}"/>
              </a:ext>
            </a:extLst>
          </p:cNvPr>
          <p:cNvSpPr>
            <a:spLocks noGrp="1"/>
          </p:cNvSpPr>
          <p:nvPr>
            <p:ph sz="half" idx="2"/>
          </p:nvPr>
        </p:nvSpPr>
        <p:spPr/>
        <p:txBody>
          <a:bodyPr>
            <a:normAutofit/>
          </a:bodyPr>
          <a:lstStyle/>
          <a:p>
            <a:pPr marL="0" indent="0">
              <a:buNone/>
            </a:pPr>
            <a:r>
              <a:rPr lang="sv-SE" dirty="0"/>
              <a:t>Staden behöver fokusera områden med bäring på flera mål: </a:t>
            </a:r>
          </a:p>
          <a:p>
            <a:pPr lvl="1">
              <a:lnSpc>
                <a:spcPct val="115000"/>
              </a:lnSpc>
              <a:spcAft>
                <a:spcPts val="0"/>
              </a:spcAft>
              <a:buFont typeface="Wingdings" panose="05000000000000000000" pitchFamily="2" charset="2"/>
              <a:buChar char="ü"/>
            </a:pPr>
            <a:r>
              <a:rPr lang="sv-SE" sz="2000" dirty="0"/>
              <a:t>Minskad vägtrafik</a:t>
            </a:r>
          </a:p>
          <a:p>
            <a:pPr lvl="1">
              <a:lnSpc>
                <a:spcPct val="115000"/>
              </a:lnSpc>
              <a:spcAft>
                <a:spcPts val="0"/>
              </a:spcAft>
              <a:buFont typeface="Wingdings" panose="05000000000000000000" pitchFamily="2" charset="2"/>
              <a:buChar char="ü"/>
            </a:pPr>
            <a:r>
              <a:rPr lang="sv-SE" sz="2000" dirty="0"/>
              <a:t>Skydd av natur och prioritering av grönytor</a:t>
            </a:r>
          </a:p>
          <a:p>
            <a:pPr lvl="1">
              <a:lnSpc>
                <a:spcPct val="115000"/>
              </a:lnSpc>
              <a:spcAft>
                <a:spcPts val="0"/>
              </a:spcAft>
              <a:buFont typeface="Wingdings" panose="05000000000000000000" pitchFamily="2" charset="2"/>
              <a:buChar char="ü"/>
            </a:pPr>
            <a:r>
              <a:rPr lang="sv-SE" sz="2000" dirty="0"/>
              <a:t>Stadens och invånarnas inköp/konsumtion</a:t>
            </a:r>
          </a:p>
        </p:txBody>
      </p:sp>
      <p:pic>
        <p:nvPicPr>
          <p:cNvPr id="5" name="Picture 7">
            <a:extLst>
              <a:ext uri="{FF2B5EF4-FFF2-40B4-BE49-F238E27FC236}">
                <a16:creationId xmlns:a16="http://schemas.microsoft.com/office/drawing/2014/main" id="{54AB92EF-8E4E-E009-E0D7-C89085CED63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12485" y="4672545"/>
            <a:ext cx="1780642" cy="1780642"/>
          </a:xfrm>
          <a:prstGeom prst="rect">
            <a:avLst/>
          </a:prstGeom>
          <a:noFill/>
          <a:ln w="3175">
            <a:noFill/>
          </a:ln>
          <a:effectLst>
            <a:outerShdw blurRad="63500" sx="102000" sy="102000" algn="ctr" rotWithShape="0">
              <a:prstClr val="black">
                <a:alpha val="40000"/>
              </a:prstClr>
            </a:outerShdw>
          </a:effectLst>
        </p:spPr>
      </p:pic>
      <p:pic>
        <p:nvPicPr>
          <p:cNvPr id="6" name="Picture 8">
            <a:extLst>
              <a:ext uri="{FF2B5EF4-FFF2-40B4-BE49-F238E27FC236}">
                <a16:creationId xmlns:a16="http://schemas.microsoft.com/office/drawing/2014/main" id="{74C25DC9-9C8C-9AEA-8E5B-41E637E61AB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32480" y="4672545"/>
            <a:ext cx="1780642" cy="1780642"/>
          </a:xfrm>
          <a:prstGeom prst="rect">
            <a:avLst/>
          </a:prstGeom>
          <a:noFill/>
          <a:ln w="3175">
            <a:noFill/>
          </a:ln>
          <a:effectLst>
            <a:outerShdw blurRad="63500" sx="102000" sy="102000" algn="ctr" rotWithShape="0">
              <a:prstClr val="black">
                <a:alpha val="40000"/>
              </a:prstClr>
            </a:outerShdw>
          </a:effectLst>
        </p:spPr>
      </p:pic>
      <p:pic>
        <p:nvPicPr>
          <p:cNvPr id="7" name="Picture 9">
            <a:extLst>
              <a:ext uri="{FF2B5EF4-FFF2-40B4-BE49-F238E27FC236}">
                <a16:creationId xmlns:a16="http://schemas.microsoft.com/office/drawing/2014/main" id="{76197EEC-40F9-C12B-752C-AB8CC905FDC3}"/>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797625" y="4672545"/>
            <a:ext cx="1780642" cy="1780642"/>
          </a:xfrm>
          <a:prstGeom prst="rect">
            <a:avLst/>
          </a:prstGeom>
          <a:noFill/>
          <a:ln w="3175">
            <a:no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98831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rundade hörn 5">
            <a:extLst>
              <a:ext uri="{FF2B5EF4-FFF2-40B4-BE49-F238E27FC236}">
                <a16:creationId xmlns:a16="http://schemas.microsoft.com/office/drawing/2014/main" id="{9206F885-6C4A-6DF6-A9BF-58D2EDF1275A}"/>
              </a:ext>
            </a:extLst>
          </p:cNvPr>
          <p:cNvSpPr/>
          <p:nvPr/>
        </p:nvSpPr>
        <p:spPr>
          <a:xfrm>
            <a:off x="606964" y="1566408"/>
            <a:ext cx="4613714" cy="3582062"/>
          </a:xfrm>
          <a:prstGeom prst="roundRect">
            <a:avLst/>
          </a:prstGeom>
          <a:solidFill>
            <a:srgbClr val="FFF2B0"/>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Rektangel: rundade hörn 4">
            <a:extLst>
              <a:ext uri="{FF2B5EF4-FFF2-40B4-BE49-F238E27FC236}">
                <a16:creationId xmlns:a16="http://schemas.microsoft.com/office/drawing/2014/main" id="{E136BA37-3496-A0E1-2370-4BA32001135A}"/>
              </a:ext>
            </a:extLst>
          </p:cNvPr>
          <p:cNvSpPr/>
          <p:nvPr/>
        </p:nvSpPr>
        <p:spPr>
          <a:xfrm>
            <a:off x="5599620" y="1566408"/>
            <a:ext cx="5955527" cy="3582062"/>
          </a:xfrm>
          <a:prstGeom prst="roundRect">
            <a:avLst/>
          </a:prstGeom>
          <a:solidFill>
            <a:srgbClr val="B8E1C8"/>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Rubrik 1">
            <a:extLst>
              <a:ext uri="{FF2B5EF4-FFF2-40B4-BE49-F238E27FC236}">
                <a16:creationId xmlns:a16="http://schemas.microsoft.com/office/drawing/2014/main" id="{4D35B4CD-9C61-DED2-15B2-7423BB317758}"/>
              </a:ext>
            </a:extLst>
          </p:cNvPr>
          <p:cNvSpPr>
            <a:spLocks noGrp="1"/>
          </p:cNvSpPr>
          <p:nvPr>
            <p:ph type="title"/>
          </p:nvPr>
        </p:nvSpPr>
        <p:spPr/>
        <p:txBody>
          <a:bodyPr>
            <a:normAutofit/>
          </a:bodyPr>
          <a:lstStyle/>
          <a:p>
            <a:r>
              <a:rPr lang="sv-SE" sz="2800">
                <a:solidFill>
                  <a:srgbClr val="0D0D0D"/>
                </a:solidFill>
                <a:latin typeface="Arial Black" panose="020B0A04020102020204" pitchFamily="34" charset="0"/>
              </a:rPr>
              <a:t>R</a:t>
            </a:r>
            <a:r>
              <a:rPr lang="sv-SE" sz="2800" b="1" i="0" u="none" strike="noStrike" baseline="0">
                <a:solidFill>
                  <a:srgbClr val="0D0D0D"/>
                </a:solidFill>
                <a:latin typeface="Arial Black" panose="020B0A04020102020204" pitchFamily="34" charset="0"/>
              </a:rPr>
              <a:t>ekommendationer </a:t>
            </a:r>
            <a:endParaRPr lang="sv-SE" sz="2800">
              <a:latin typeface="Arial Black" panose="020B0A04020102020204" pitchFamily="34" charset="0"/>
            </a:endParaRPr>
          </a:p>
        </p:txBody>
      </p:sp>
      <p:sp>
        <p:nvSpPr>
          <p:cNvPr id="3" name="Platshållare för innehåll 2">
            <a:extLst>
              <a:ext uri="{FF2B5EF4-FFF2-40B4-BE49-F238E27FC236}">
                <a16:creationId xmlns:a16="http://schemas.microsoft.com/office/drawing/2014/main" id="{A63A53EF-E942-FA65-0CDD-4CD38DC6F554}"/>
              </a:ext>
            </a:extLst>
          </p:cNvPr>
          <p:cNvSpPr>
            <a:spLocks noGrp="1"/>
          </p:cNvSpPr>
          <p:nvPr>
            <p:ph sz="half" idx="1"/>
          </p:nvPr>
        </p:nvSpPr>
        <p:spPr>
          <a:xfrm>
            <a:off x="855397" y="2033714"/>
            <a:ext cx="5400000" cy="4176710"/>
          </a:xfrm>
        </p:spPr>
        <p:txBody>
          <a:bodyPr/>
          <a:lstStyle/>
          <a:p>
            <a:pPr marL="0" indent="0">
              <a:buNone/>
            </a:pPr>
            <a:r>
              <a:rPr lang="sv-SE"/>
              <a:t>Miljöförvaltningens övergripande </a:t>
            </a:r>
            <a:br>
              <a:rPr lang="sv-SE"/>
            </a:br>
            <a:r>
              <a:rPr lang="sv-SE"/>
              <a:t>bedömning</a:t>
            </a:r>
          </a:p>
          <a:p>
            <a:pPr marL="0" indent="0">
              <a:buNone/>
            </a:pPr>
            <a:r>
              <a:rPr lang="sv-SE"/>
              <a:t>Kompletterar eller förstärker</a:t>
            </a:r>
          </a:p>
          <a:p>
            <a:pPr marL="0" indent="0">
              <a:buNone/>
            </a:pPr>
            <a:r>
              <a:rPr lang="sv-SE"/>
              <a:t>Föreslår relevanta nämnder/styrelser</a:t>
            </a:r>
          </a:p>
          <a:p>
            <a:pPr marL="0" indent="0">
              <a:buNone/>
            </a:pPr>
            <a:r>
              <a:rPr lang="sv-SE"/>
              <a:t>Riktar sig oftast till flera</a:t>
            </a:r>
          </a:p>
          <a:p>
            <a:pPr marL="0" indent="0">
              <a:buNone/>
            </a:pPr>
            <a:endParaRPr lang="sv-SE"/>
          </a:p>
          <a:p>
            <a:pPr marL="0" indent="0">
              <a:buNone/>
            </a:pPr>
            <a:endParaRPr lang="sv-SE"/>
          </a:p>
          <a:p>
            <a:endParaRPr lang="sv-SE"/>
          </a:p>
        </p:txBody>
      </p:sp>
      <p:sp>
        <p:nvSpPr>
          <p:cNvPr id="4" name="Platshållare för innehåll 3">
            <a:extLst>
              <a:ext uri="{FF2B5EF4-FFF2-40B4-BE49-F238E27FC236}">
                <a16:creationId xmlns:a16="http://schemas.microsoft.com/office/drawing/2014/main" id="{4303B911-547C-46C9-9AC6-C1E819A52E83}"/>
              </a:ext>
            </a:extLst>
          </p:cNvPr>
          <p:cNvSpPr>
            <a:spLocks noGrp="1"/>
          </p:cNvSpPr>
          <p:nvPr>
            <p:ph sz="half" idx="2"/>
          </p:nvPr>
        </p:nvSpPr>
        <p:spPr>
          <a:xfrm>
            <a:off x="6120306" y="1736729"/>
            <a:ext cx="5400000" cy="4176710"/>
          </a:xfrm>
        </p:spPr>
        <p:txBody>
          <a:bodyPr/>
          <a:lstStyle/>
          <a:p>
            <a:pPr marL="0" indent="0">
              <a:buNone/>
            </a:pPr>
            <a:r>
              <a:rPr lang="sv-SE" b="1" dirty="0"/>
              <a:t>Förvaltningar/bolag </a:t>
            </a:r>
            <a:r>
              <a:rPr lang="sv-SE" dirty="0"/>
              <a:t>kan använda dem i sin verksamhetsplanering/affärsplan och sitt systematiska miljöarbete </a:t>
            </a:r>
          </a:p>
          <a:p>
            <a:pPr marL="0" indent="0">
              <a:buNone/>
            </a:pPr>
            <a:r>
              <a:rPr lang="sv-SE" b="1" dirty="0"/>
              <a:t>Nämnder/styrelser </a:t>
            </a:r>
            <a:r>
              <a:rPr lang="sv-SE" dirty="0"/>
              <a:t>kan använda dem i arbetet med sin genomförandeplan</a:t>
            </a:r>
          </a:p>
          <a:p>
            <a:pPr marL="0" indent="0">
              <a:buNone/>
            </a:pPr>
            <a:r>
              <a:rPr lang="sv-SE" b="1" dirty="0"/>
              <a:t>Politiska partier </a:t>
            </a:r>
            <a:r>
              <a:rPr lang="sv-SE" dirty="0"/>
              <a:t>kan använda dem i arbetet med stadens budget</a:t>
            </a:r>
          </a:p>
          <a:p>
            <a:pPr marL="0" indent="0">
              <a:buNone/>
            </a:pPr>
            <a:r>
              <a:rPr lang="sv-SE" b="1" dirty="0"/>
              <a:t>Miljöförvaltningen</a:t>
            </a:r>
            <a:r>
              <a:rPr lang="sv-SE" dirty="0"/>
              <a:t> följer och driver på</a:t>
            </a:r>
          </a:p>
        </p:txBody>
      </p:sp>
    </p:spTree>
    <p:extLst>
      <p:ext uri="{BB962C8B-B14F-4D97-AF65-F5344CB8AC3E}">
        <p14:creationId xmlns:p14="http://schemas.microsoft.com/office/powerpoint/2010/main" val="2803379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D69CAFD-DDB3-4826-D17D-6C0CF0180682}"/>
              </a:ext>
            </a:extLst>
          </p:cNvPr>
          <p:cNvSpPr>
            <a:spLocks noGrp="1"/>
          </p:cNvSpPr>
          <p:nvPr>
            <p:ph type="title"/>
          </p:nvPr>
        </p:nvSpPr>
        <p:spPr/>
        <p:txBody>
          <a:bodyPr/>
          <a:lstStyle/>
          <a:p>
            <a:r>
              <a:rPr lang="sv-SE" sz="3200" b="1" i="0" u="none" strike="noStrike" baseline="0" dirty="0">
                <a:solidFill>
                  <a:srgbClr val="0D0D0D"/>
                </a:solidFill>
                <a:latin typeface="Arial Black" panose="020B0A04020102020204" pitchFamily="34" charset="0"/>
              </a:rPr>
              <a:t>Övergripande rekommendationer</a:t>
            </a:r>
            <a:endParaRPr lang="sv-SE" dirty="0"/>
          </a:p>
        </p:txBody>
      </p:sp>
      <p:sp>
        <p:nvSpPr>
          <p:cNvPr id="3" name="Platshållare för innehåll 2">
            <a:extLst>
              <a:ext uri="{FF2B5EF4-FFF2-40B4-BE49-F238E27FC236}">
                <a16:creationId xmlns:a16="http://schemas.microsoft.com/office/drawing/2014/main" id="{FC566E40-1819-BE5A-7225-01A923A51983}"/>
              </a:ext>
            </a:extLst>
          </p:cNvPr>
          <p:cNvSpPr>
            <a:spLocks noGrp="1"/>
          </p:cNvSpPr>
          <p:nvPr>
            <p:ph sz="half" idx="1"/>
          </p:nvPr>
        </p:nvSpPr>
        <p:spPr>
          <a:xfrm>
            <a:off x="1131887" y="1646798"/>
            <a:ext cx="9170279" cy="4176710"/>
          </a:xfrm>
        </p:spPr>
        <p:txBody>
          <a:bodyPr>
            <a:normAutofit/>
          </a:bodyPr>
          <a:lstStyle/>
          <a:p>
            <a:pPr marL="457200" lvl="0" indent="-457200">
              <a:buAutoNum type="arabicPeriod"/>
            </a:pPr>
            <a:r>
              <a:rPr lang="sv-SE" sz="2200"/>
              <a:t>Säkerställ att tillräckliga insatser genomförs</a:t>
            </a:r>
          </a:p>
          <a:p>
            <a:pPr marL="457200" indent="-457200">
              <a:buFont typeface="+mj-lt"/>
              <a:buAutoNum type="arabicPeriod" startAt="2"/>
            </a:pPr>
            <a:r>
              <a:rPr lang="sv-SE" sz="2200"/>
              <a:t>Förbättra förutsättningarna för informerat beslutsfattande</a:t>
            </a:r>
          </a:p>
          <a:p>
            <a:pPr marL="457200" lvl="0" indent="-457200">
              <a:buFont typeface="+mj-lt"/>
              <a:buAutoNum type="arabicPeriod" startAt="3"/>
            </a:pPr>
            <a:r>
              <a:rPr lang="sv-SE" sz="2200"/>
              <a:t>Utveckla stadens kapacitet att finansiera insatser</a:t>
            </a:r>
          </a:p>
          <a:p>
            <a:pPr marL="457200" lvl="0" indent="-457200">
              <a:buFont typeface="+mj-lt"/>
              <a:buAutoNum type="arabicPeriod" startAt="4"/>
            </a:pPr>
            <a:r>
              <a:rPr lang="sv-SE" sz="2200"/>
              <a:t>Utveckla ledarskap och kompetens för omställning</a:t>
            </a:r>
          </a:p>
          <a:p>
            <a:pPr marL="457200" lvl="0" indent="-457200">
              <a:buFont typeface="+mj-lt"/>
              <a:buAutoNum type="arabicPeriod" startAt="5"/>
            </a:pPr>
            <a:r>
              <a:rPr lang="sv-SE" sz="2200"/>
              <a:t>Samverka på nationell och internationell nivå </a:t>
            </a:r>
          </a:p>
          <a:p>
            <a:endParaRPr lang="sv-SE"/>
          </a:p>
        </p:txBody>
      </p:sp>
      <p:sp>
        <p:nvSpPr>
          <p:cNvPr id="4" name="Platshållare för innehåll 3">
            <a:extLst>
              <a:ext uri="{FF2B5EF4-FFF2-40B4-BE49-F238E27FC236}">
                <a16:creationId xmlns:a16="http://schemas.microsoft.com/office/drawing/2014/main" id="{D529E987-4623-0361-101E-57B00E84B1AC}"/>
              </a:ext>
            </a:extLst>
          </p:cNvPr>
          <p:cNvSpPr>
            <a:spLocks noGrp="1"/>
          </p:cNvSpPr>
          <p:nvPr>
            <p:ph sz="half" idx="2"/>
          </p:nvPr>
        </p:nvSpPr>
        <p:spPr>
          <a:xfrm>
            <a:off x="6769100" y="2193928"/>
            <a:ext cx="3949700" cy="6010271"/>
          </a:xfrm>
        </p:spPr>
        <p:txBody>
          <a:bodyPr>
            <a:normAutofit/>
          </a:bodyPr>
          <a:lstStyle/>
          <a:p>
            <a:endParaRPr lang="sv-SE"/>
          </a:p>
          <a:p>
            <a:endParaRPr lang="sv-SE"/>
          </a:p>
        </p:txBody>
      </p:sp>
      <p:pic>
        <p:nvPicPr>
          <p:cNvPr id="5" name="Picture 7">
            <a:extLst>
              <a:ext uri="{FF2B5EF4-FFF2-40B4-BE49-F238E27FC236}">
                <a16:creationId xmlns:a16="http://schemas.microsoft.com/office/drawing/2014/main" id="{7E3D140E-60F3-697E-471E-79C1DD4C1AF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21800" y="1133031"/>
            <a:ext cx="1780642" cy="1780642"/>
          </a:xfrm>
          <a:prstGeom prst="rect">
            <a:avLst/>
          </a:prstGeom>
          <a:noFill/>
          <a:ln w="3175">
            <a:noFill/>
          </a:ln>
          <a:effectLst>
            <a:outerShdw blurRad="63500" sx="102000" sy="102000" algn="ctr" rotWithShape="0">
              <a:prstClr val="black">
                <a:alpha val="40000"/>
              </a:prstClr>
            </a:outerShdw>
          </a:effectLst>
        </p:spPr>
      </p:pic>
      <p:pic>
        <p:nvPicPr>
          <p:cNvPr id="7" name="Picture 8">
            <a:extLst>
              <a:ext uri="{FF2B5EF4-FFF2-40B4-BE49-F238E27FC236}">
                <a16:creationId xmlns:a16="http://schemas.microsoft.com/office/drawing/2014/main" id="{B29A5C40-9503-E387-6228-B63C4E9B727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21800" y="3031253"/>
            <a:ext cx="1780642" cy="1780642"/>
          </a:xfrm>
          <a:prstGeom prst="rect">
            <a:avLst/>
          </a:prstGeom>
          <a:noFill/>
          <a:ln w="3175">
            <a:noFill/>
          </a:ln>
          <a:effectLst>
            <a:outerShdw blurRad="63500" sx="102000" sy="102000" algn="ctr" rotWithShape="0">
              <a:prstClr val="black">
                <a:alpha val="40000"/>
              </a:prstClr>
            </a:outerShdw>
          </a:effectLst>
        </p:spPr>
      </p:pic>
      <p:pic>
        <p:nvPicPr>
          <p:cNvPr id="8" name="Picture 9">
            <a:extLst>
              <a:ext uri="{FF2B5EF4-FFF2-40B4-BE49-F238E27FC236}">
                <a16:creationId xmlns:a16="http://schemas.microsoft.com/office/drawing/2014/main" id="{38518BFA-819D-7E35-BAB8-FD1E2B302C4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321800" y="4903121"/>
            <a:ext cx="1780642" cy="1780642"/>
          </a:xfrm>
          <a:prstGeom prst="rect">
            <a:avLst/>
          </a:prstGeom>
          <a:noFill/>
          <a:ln w="3175">
            <a:no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6876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descr="En bild som visar utomhus, himmel, vinter, vatten&#10;&#10;Automatiskt genererad beskrivning">
            <a:extLst>
              <a:ext uri="{FF2B5EF4-FFF2-40B4-BE49-F238E27FC236}">
                <a16:creationId xmlns:a16="http://schemas.microsoft.com/office/drawing/2014/main" id="{2D18EF27-F037-4900-950B-714CAFBECF23}"/>
              </a:ext>
            </a:extLst>
          </p:cNvPr>
          <p:cNvPicPr>
            <a:picLocks noChangeAspect="1"/>
          </p:cNvPicPr>
          <p:nvPr/>
        </p:nvPicPr>
        <p:blipFill rotWithShape="1">
          <a:blip r:embed="rId3">
            <a:extLst>
              <a:ext uri="{28A0092B-C50C-407E-A947-70E740481C1C}">
                <a14:useLocalDpi xmlns:a14="http://schemas.microsoft.com/office/drawing/2010/main" val="0"/>
              </a:ext>
            </a:extLst>
          </a:blip>
          <a:srcRect l="77" t="57" r="-41" b="-114"/>
          <a:stretch/>
        </p:blipFill>
        <p:spPr>
          <a:xfrm>
            <a:off x="4355" y="3905"/>
            <a:ext cx="12262989" cy="6896467"/>
          </a:xfrm>
          <a:prstGeom prst="rect">
            <a:avLst/>
          </a:prstGeom>
        </p:spPr>
      </p:pic>
      <p:sp>
        <p:nvSpPr>
          <p:cNvPr id="3" name="Rubrik 2">
            <a:extLst>
              <a:ext uri="{FF2B5EF4-FFF2-40B4-BE49-F238E27FC236}">
                <a16:creationId xmlns:a16="http://schemas.microsoft.com/office/drawing/2014/main" id="{FE71FB20-A80E-7DA0-38B7-1B96B907F827}"/>
              </a:ext>
            </a:extLst>
          </p:cNvPr>
          <p:cNvSpPr>
            <a:spLocks noGrp="1"/>
          </p:cNvSpPr>
          <p:nvPr>
            <p:ph type="ctrTitle"/>
          </p:nvPr>
        </p:nvSpPr>
        <p:spPr>
          <a:xfrm>
            <a:off x="1030449" y="1589976"/>
            <a:ext cx="10210799" cy="1349829"/>
          </a:xfrm>
        </p:spPr>
        <p:txBody>
          <a:bodyPr/>
          <a:lstStyle/>
          <a:p>
            <a:r>
              <a:rPr lang="sv-SE" sz="3200" dirty="0">
                <a:solidFill>
                  <a:schemeClr val="tx1"/>
                </a:solidFill>
              </a:rPr>
              <a:t>Näringsliv</a:t>
            </a:r>
            <a:r>
              <a:rPr lang="sv-SE" sz="3200">
                <a:solidFill>
                  <a:schemeClr val="tx1"/>
                </a:solidFill>
              </a:rPr>
              <a:t>, akademi, invånare </a:t>
            </a:r>
            <a:r>
              <a:rPr lang="sv-SE" sz="3200" dirty="0">
                <a:solidFill>
                  <a:schemeClr val="tx1"/>
                </a:solidFill>
              </a:rPr>
              <a:t>och nationell politik behövs för omställningen</a:t>
            </a:r>
            <a:br>
              <a:rPr lang="sv-SE" sz="3200" dirty="0">
                <a:solidFill>
                  <a:schemeClr val="tx1"/>
                </a:solidFill>
              </a:rPr>
            </a:br>
            <a:br>
              <a:rPr lang="sv-SE" sz="3200" dirty="0">
                <a:solidFill>
                  <a:schemeClr val="tx1"/>
                </a:solidFill>
              </a:rPr>
            </a:br>
            <a:r>
              <a:rPr lang="sv-SE" sz="3200" dirty="0">
                <a:solidFill>
                  <a:schemeClr val="tx1"/>
                </a:solidFill>
              </a:rPr>
              <a:t>Här har BRG en viktig roll</a:t>
            </a:r>
          </a:p>
        </p:txBody>
      </p:sp>
    </p:spTree>
    <p:extLst>
      <p:ext uri="{BB962C8B-B14F-4D97-AF65-F5344CB8AC3E}">
        <p14:creationId xmlns:p14="http://schemas.microsoft.com/office/powerpoint/2010/main" val="28902510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2E9B4EF-1E7A-D6E9-30B6-971FEF57F263}"/>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B40E0951-2498-A5CD-BA54-90C95C569E7E}"/>
              </a:ext>
            </a:extLst>
          </p:cNvPr>
          <p:cNvSpPr txBox="1">
            <a:spLocks/>
          </p:cNvSpPr>
          <p:nvPr/>
        </p:nvSpPr>
        <p:spPr>
          <a:xfrm>
            <a:off x="407988" y="589479"/>
            <a:ext cx="9170279" cy="736959"/>
          </a:xfrm>
          <a:prstGeom prst="rect">
            <a:avLst/>
          </a:prstGeom>
        </p:spPr>
        <p:txBody>
          <a:bodyPr vert="horz" lIns="0" tIns="45720" rIns="0" bIns="45720" rtlCol="0" anchor="ctr">
            <a:normAutofit/>
          </a:bodyPr>
          <a:lstStyle>
            <a:lvl1pPr algn="l" defTabSz="914332" rtl="0" eaLnBrk="1" latinLnBrk="0" hangingPunct="1">
              <a:lnSpc>
                <a:spcPct val="90000"/>
              </a:lnSpc>
              <a:spcBef>
                <a:spcPct val="0"/>
              </a:spcBef>
              <a:buNone/>
              <a:defRPr sz="3000" b="1" kern="0" spc="0" baseline="0">
                <a:solidFill>
                  <a:schemeClr val="tx1"/>
                </a:solidFill>
                <a:latin typeface="+mj-lt"/>
                <a:ea typeface="+mj-ea"/>
                <a:cs typeface="+mj-cs"/>
              </a:defRPr>
            </a:lvl1pPr>
          </a:lstStyle>
          <a:p>
            <a:r>
              <a:rPr lang="sv-SE" sz="3200" dirty="0">
                <a:solidFill>
                  <a:srgbClr val="0D0D0D"/>
                </a:solidFill>
                <a:latin typeface="Arial Black" panose="020B0A04020102020204" pitchFamily="34" charset="0"/>
              </a:rPr>
              <a:t>Hur kan BRG ytterligare driva på för att…</a:t>
            </a:r>
            <a:endParaRPr lang="sv-SE" dirty="0"/>
          </a:p>
        </p:txBody>
      </p:sp>
      <p:sp>
        <p:nvSpPr>
          <p:cNvPr id="6" name="Platshållare för innehåll 5">
            <a:extLst>
              <a:ext uri="{FF2B5EF4-FFF2-40B4-BE49-F238E27FC236}">
                <a16:creationId xmlns:a16="http://schemas.microsoft.com/office/drawing/2014/main" id="{212AF8F5-BE0F-FE28-B284-588846723C5D}"/>
              </a:ext>
            </a:extLst>
          </p:cNvPr>
          <p:cNvSpPr>
            <a:spLocks noGrp="1"/>
          </p:cNvSpPr>
          <p:nvPr>
            <p:ph idx="11"/>
          </p:nvPr>
        </p:nvSpPr>
        <p:spPr>
          <a:xfrm>
            <a:off x="1055999" y="1804524"/>
            <a:ext cx="9787327" cy="3908453"/>
          </a:xfrm>
        </p:spPr>
        <p:txBody>
          <a:bodyPr>
            <a:normAutofit/>
          </a:bodyPr>
          <a:lstStyle/>
          <a:p>
            <a:pPr marL="0" indent="0">
              <a:buNone/>
            </a:pPr>
            <a:r>
              <a:rPr lang="sv-SE" sz="2200" b="1" dirty="0">
                <a:solidFill>
                  <a:srgbClr val="000000"/>
                </a:solidFill>
                <a:latin typeface="Arial" panose="020B0604020202020204" pitchFamily="34" charset="0"/>
                <a:ea typeface="MS PMincho" panose="02020600040205080304" pitchFamily="18" charset="-128"/>
                <a:cs typeface="Times New Roman" panose="02020603050405020304" pitchFamily="18" charset="0"/>
              </a:rPr>
              <a:t>Få med näringslivet i omställningen? </a:t>
            </a:r>
            <a:br>
              <a:rPr lang="sv-SE" sz="2200" b="1" dirty="0">
                <a:solidFill>
                  <a:srgbClr val="000000"/>
                </a:solidFill>
                <a:latin typeface="Arial" panose="020B0604020202020204" pitchFamily="34" charset="0"/>
                <a:ea typeface="MS PMincho" panose="02020600040205080304" pitchFamily="18" charset="-128"/>
                <a:cs typeface="Times New Roman" panose="02020603050405020304" pitchFamily="18" charset="0"/>
              </a:rPr>
            </a:br>
            <a:r>
              <a:rPr lang="sv-SE" sz="1600" dirty="0">
                <a:solidFill>
                  <a:srgbClr val="000000"/>
                </a:solidFill>
                <a:latin typeface="Arial" panose="020B0604020202020204" pitchFamily="34" charset="0"/>
                <a:ea typeface="MS PMincho" panose="02020600040205080304" pitchFamily="18" charset="-128"/>
                <a:cs typeface="Times New Roman" panose="02020603050405020304" pitchFamily="18" charset="0"/>
              </a:rPr>
              <a:t>Tex. samlas kring gemensamma utmaningar, lyfta bra lösningar, verka för varor och tjänster med lägre påverkan (klimat, giftfritt, biologisk mångfald), utveckla industriell och urban symbios </a:t>
            </a:r>
          </a:p>
          <a:p>
            <a:pPr marL="0" indent="0">
              <a:spcBef>
                <a:spcPts val="1600"/>
              </a:spcBef>
              <a:buNone/>
            </a:pPr>
            <a:r>
              <a:rPr lang="sv-SE" sz="2200" b="1" dirty="0"/>
              <a:t>Minska hushållens konsumtionsbaserade utsläpp?</a:t>
            </a:r>
            <a:br>
              <a:rPr lang="sv-SE" sz="2200" b="1" dirty="0"/>
            </a:br>
            <a:r>
              <a:rPr lang="sv-SE" sz="1600" dirty="0"/>
              <a:t>Tex. plast, resande, konsumtion, livsmedel, cirkulär ekonomi. Ökad samverkan strategi Leva Hållbart. </a:t>
            </a:r>
          </a:p>
          <a:p>
            <a:pPr marL="0" indent="0">
              <a:spcBef>
                <a:spcPts val="1600"/>
              </a:spcBef>
              <a:buNone/>
            </a:pPr>
            <a:r>
              <a:rPr lang="sv-SE" sz="2200" b="1" dirty="0"/>
              <a:t>Minska stadens konsumtionsbaserade utsläpp? </a:t>
            </a:r>
            <a:br>
              <a:rPr lang="sv-SE" sz="2200" b="1" dirty="0"/>
            </a:br>
            <a:r>
              <a:rPr lang="sv-SE" sz="1600" dirty="0"/>
              <a:t>Tex. fossilfria transporter (elektrifiering, mikromobilitet), samverkan marknadsaktörer</a:t>
            </a:r>
          </a:p>
          <a:p>
            <a:pPr marL="0" indent="0">
              <a:spcBef>
                <a:spcPts val="1600"/>
              </a:spcBef>
              <a:buNone/>
            </a:pPr>
            <a:r>
              <a:rPr lang="sv-SE" sz="2200" b="1" dirty="0">
                <a:solidFill>
                  <a:srgbClr val="000000"/>
                </a:solidFill>
                <a:latin typeface="Arial" panose="020B0604020202020204" pitchFamily="34" charset="0"/>
                <a:ea typeface="MS PMincho" panose="02020600040205080304" pitchFamily="18" charset="-128"/>
                <a:cs typeface="Times New Roman" panose="02020603050405020304" pitchFamily="18" charset="0"/>
              </a:rPr>
              <a:t>Få nationella förutsättningar och styrmedel som driver mot målen</a:t>
            </a:r>
            <a:br>
              <a:rPr lang="sv-SE" sz="2200" b="1" dirty="0">
                <a:solidFill>
                  <a:srgbClr val="000000"/>
                </a:solidFill>
                <a:latin typeface="Arial" panose="020B0604020202020204" pitchFamily="34" charset="0"/>
                <a:ea typeface="MS PMincho" panose="02020600040205080304" pitchFamily="18" charset="-128"/>
                <a:cs typeface="Times New Roman" panose="02020603050405020304" pitchFamily="18" charset="0"/>
              </a:rPr>
            </a:br>
            <a:r>
              <a:rPr lang="sv-SE" sz="1600" dirty="0">
                <a:solidFill>
                  <a:srgbClr val="000000"/>
                </a:solidFill>
                <a:latin typeface="Arial" panose="020B0604020202020204" pitchFamily="34" charset="0"/>
                <a:ea typeface="MS PMincho" panose="02020600040205080304" pitchFamily="18" charset="-128"/>
                <a:cs typeface="Times New Roman" panose="02020603050405020304" pitchFamily="18" charset="0"/>
              </a:rPr>
              <a:t>Tex. styrmedel inom transport och elektrifiering, vägar till kontakt nationell politik </a:t>
            </a:r>
            <a:endParaRPr lang="sv-SE" sz="2000" b="1" dirty="0">
              <a:solidFill>
                <a:srgbClr val="000000"/>
              </a:solidFill>
              <a:effectLst/>
              <a:latin typeface="Arial" panose="020B0604020202020204" pitchFamily="34" charset="0"/>
              <a:ea typeface="MS PMincho" panose="02020600040205080304" pitchFamily="18" charset="-128"/>
              <a:cs typeface="Times New Roman" panose="02020603050405020304" pitchFamily="18" charset="0"/>
            </a:endParaRPr>
          </a:p>
        </p:txBody>
      </p:sp>
      <p:sp>
        <p:nvSpPr>
          <p:cNvPr id="11" name="textruta 10">
            <a:extLst>
              <a:ext uri="{FF2B5EF4-FFF2-40B4-BE49-F238E27FC236}">
                <a16:creationId xmlns:a16="http://schemas.microsoft.com/office/drawing/2014/main" id="{086863E1-8C93-1BF5-F41D-8AC89870DC63}"/>
              </a:ext>
            </a:extLst>
          </p:cNvPr>
          <p:cNvSpPr txBox="1"/>
          <p:nvPr/>
        </p:nvSpPr>
        <p:spPr>
          <a:xfrm>
            <a:off x="467313" y="5957845"/>
            <a:ext cx="10376013" cy="369332"/>
          </a:xfrm>
          <a:prstGeom prst="rect">
            <a:avLst/>
          </a:prstGeom>
          <a:noFill/>
        </p:spPr>
        <p:txBody>
          <a:bodyPr wrap="square">
            <a:spAutoFit/>
          </a:bodyPr>
          <a:lstStyle/>
          <a:p>
            <a:pPr marL="0" indent="0">
              <a:buNone/>
            </a:pPr>
            <a:r>
              <a:rPr lang="sv-SE" dirty="0">
                <a:solidFill>
                  <a:srgbClr val="000000"/>
                </a:solidFill>
                <a:latin typeface="Arial" panose="020B0604020202020204" pitchFamily="34" charset="0"/>
                <a:ea typeface="MS PMincho" panose="02020600040205080304" pitchFamily="18" charset="-128"/>
                <a:cs typeface="Times New Roman" panose="02020603050405020304" pitchFamily="18" charset="0"/>
              </a:rPr>
              <a:t>Återkoppla till staden/politiken vad som behövs för att näringslivet ska spela en större roll här</a:t>
            </a:r>
          </a:p>
        </p:txBody>
      </p:sp>
    </p:spTree>
    <p:extLst>
      <p:ext uri="{BB962C8B-B14F-4D97-AF65-F5344CB8AC3E}">
        <p14:creationId xmlns:p14="http://schemas.microsoft.com/office/powerpoint/2010/main" val="775213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öteborgs Stad – Blå dekor">
  <a:themeElements>
    <a:clrScheme name="Göteborgs Stad färgpalett webbsvart">
      <a:dk1>
        <a:srgbClr val="333333"/>
      </a:dk1>
      <a:lt1>
        <a:sysClr val="window" lastClr="FFFFFF"/>
      </a:lt1>
      <a:dk2>
        <a:srgbClr val="3F5564"/>
      </a:dk2>
      <a:lt2>
        <a:srgbClr val="FFCD37"/>
      </a:lt2>
      <a:accent1>
        <a:srgbClr val="0077BC"/>
      </a:accent1>
      <a:accent2>
        <a:srgbClr val="D24723"/>
      </a:accent2>
      <a:accent3>
        <a:srgbClr val="008391"/>
      </a:accent3>
      <a:accent4>
        <a:srgbClr val="D53878"/>
      </a:accent4>
      <a:accent5>
        <a:srgbClr val="008767"/>
      </a:accent5>
      <a:accent6>
        <a:srgbClr val="674B99"/>
      </a:accent6>
      <a:hlink>
        <a:srgbClr val="0563C1"/>
      </a:hlink>
      <a:folHlink>
        <a:srgbClr val="954F72"/>
      </a:folHlink>
    </a:clrScheme>
    <a:fontScheme name="Göteborgs Stad Powerpoint">
      <a:majorFont>
        <a:latin typeface="Arial Black"/>
        <a:ea typeface=""/>
        <a:cs typeface=""/>
      </a:majorFont>
      <a:minorFont>
        <a:latin typeface="Arial"/>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ctr">
          <a:defRPr dirty="0" smtClean="0"/>
        </a:defP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Standard 16_9.sv-SE_ny.potx" id="{A3BC0E49-C5D0-4865-B1BE-3A636DF5CAE3}" vid="{607A6647-1E2D-454B-A339-17BC31080D31}"/>
    </a:ext>
  </a:extLst>
</a:theme>
</file>

<file path=ppt/theme/theme10.xml><?xml version="1.0" encoding="utf-8"?>
<a:theme xmlns:a="http://schemas.openxmlformats.org/drawingml/2006/main" name="Office-tema">
  <a:themeElements>
    <a:clrScheme name="Göteborgs Stad Powerpoint">
      <a:dk1>
        <a:sysClr val="windowText" lastClr="000000"/>
      </a:dk1>
      <a:lt1>
        <a:sysClr val="window" lastClr="FFFFFF"/>
      </a:lt1>
      <a:dk2>
        <a:srgbClr val="495663"/>
      </a:dk2>
      <a:lt2>
        <a:srgbClr val="FFCD37"/>
      </a:lt2>
      <a:accent1>
        <a:srgbClr val="0077BC"/>
      </a:accent1>
      <a:accent2>
        <a:srgbClr val="D24723"/>
      </a:accent2>
      <a:accent3>
        <a:srgbClr val="008391"/>
      </a:accent3>
      <a:accent4>
        <a:srgbClr val="D53878"/>
      </a:accent4>
      <a:accent5>
        <a:srgbClr val="008868"/>
      </a:accent5>
      <a:accent6>
        <a:srgbClr val="674B99"/>
      </a:accent6>
      <a:hlink>
        <a:srgbClr val="0563C1"/>
      </a:hlink>
      <a:folHlink>
        <a:srgbClr val="954F72"/>
      </a:folHlink>
    </a:clrScheme>
    <a:fontScheme name="Göteborgs Stad Powerpoin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öteborgs Stad – Turkos dekor">
  <a:themeElements>
    <a:clrScheme name="Göteborgs Stad färgpalett webbsvart">
      <a:dk1>
        <a:srgbClr val="333333"/>
      </a:dk1>
      <a:lt1>
        <a:sysClr val="window" lastClr="FFFFFF"/>
      </a:lt1>
      <a:dk2>
        <a:srgbClr val="3F5564"/>
      </a:dk2>
      <a:lt2>
        <a:srgbClr val="FFCD37"/>
      </a:lt2>
      <a:accent1>
        <a:srgbClr val="0077BC"/>
      </a:accent1>
      <a:accent2>
        <a:srgbClr val="D24723"/>
      </a:accent2>
      <a:accent3>
        <a:srgbClr val="008391"/>
      </a:accent3>
      <a:accent4>
        <a:srgbClr val="D53878"/>
      </a:accent4>
      <a:accent5>
        <a:srgbClr val="008767"/>
      </a:accent5>
      <a:accent6>
        <a:srgbClr val="674B99"/>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ctr">
          <a:defRPr dirty="0" smtClean="0"/>
        </a:defP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Standard 16_9.sv-SE_ny.potx" id="{A3BC0E49-C5D0-4865-B1BE-3A636DF5CAE3}" vid="{4E0CFFA6-2F53-49AE-8AB5-FCEC43EEE8CD}"/>
    </a:ext>
  </a:extLst>
</a:theme>
</file>

<file path=ppt/theme/theme3.xml><?xml version="1.0" encoding="utf-8"?>
<a:theme xmlns:a="http://schemas.openxmlformats.org/drawingml/2006/main" name="Layout diverse">
  <a:themeElements>
    <a:clrScheme name="Gryab_2021">
      <a:dk1>
        <a:srgbClr val="000000"/>
      </a:dk1>
      <a:lt1>
        <a:srgbClr val="FFFFFF"/>
      </a:lt1>
      <a:dk2>
        <a:srgbClr val="44546A"/>
      </a:dk2>
      <a:lt2>
        <a:srgbClr val="E7E6E6"/>
      </a:lt2>
      <a:accent1>
        <a:srgbClr val="004F91"/>
      </a:accent1>
      <a:accent2>
        <a:srgbClr val="0071B3"/>
      </a:accent2>
      <a:accent3>
        <a:srgbClr val="008ACF"/>
      </a:accent3>
      <a:accent4>
        <a:srgbClr val="96BE0D"/>
      </a:accent4>
      <a:accent5>
        <a:srgbClr val="ED7F00"/>
      </a:accent5>
      <a:accent6>
        <a:srgbClr val="C1AB74"/>
      </a:accent6>
      <a:hlink>
        <a:srgbClr val="EE7F00"/>
      </a:hlink>
      <a:folHlink>
        <a:srgbClr val="AB652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ryaab_mall_210624.pptx  -  Skrivskyddad" id="{D8BD1E49-40F0-44DB-9658-9CDC91EF59D5}" vid="{9E395100-41B8-4FA8-869F-00FAB1EBEC5E}"/>
    </a:ext>
  </a:extLst>
</a:theme>
</file>

<file path=ppt/theme/theme4.xml><?xml version="1.0" encoding="utf-8"?>
<a:theme xmlns:a="http://schemas.openxmlformats.org/drawingml/2006/main" name="GE-standard">
  <a:themeElements>
    <a:clrScheme name="GE nya färger 20220413">
      <a:dk1>
        <a:sysClr val="windowText" lastClr="000000"/>
      </a:dk1>
      <a:lt1>
        <a:sysClr val="window" lastClr="FFFFFF"/>
      </a:lt1>
      <a:dk2>
        <a:srgbClr val="322408"/>
      </a:dk2>
      <a:lt2>
        <a:srgbClr val="F5F4F0"/>
      </a:lt2>
      <a:accent1>
        <a:srgbClr val="397699"/>
      </a:accent1>
      <a:accent2>
        <a:srgbClr val="278700"/>
      </a:accent2>
      <a:accent3>
        <a:srgbClr val="BE831F"/>
      </a:accent3>
      <a:accent4>
        <a:srgbClr val="BE531C"/>
      </a:accent4>
      <a:accent5>
        <a:srgbClr val="951D7E"/>
      </a:accent5>
      <a:accent6>
        <a:srgbClr val="BCBCBC"/>
      </a:accent6>
      <a:hlink>
        <a:srgbClr val="0563C1"/>
      </a:hlink>
      <a:folHlink>
        <a:srgbClr val="954F72"/>
      </a:folHlink>
    </a:clrScheme>
    <a:fontScheme name="GBG Ene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7E5381F-A1A6-4EE0-A2E5-6F365FB16834}" vid="{AB3784CA-711E-41D6-B7D6-15E80F7ED358}"/>
    </a:ext>
  </a:extLst>
</a:theme>
</file>

<file path=ppt/theme/theme5.xml><?xml version="1.0" encoding="utf-8"?>
<a:theme xmlns:a="http://schemas.openxmlformats.org/drawingml/2006/main" name="1_Göteborgs Stad – Turkos dekor">
  <a:themeElements>
    <a:clrScheme name="Göteborgs Stad färgpalett webbsvart">
      <a:dk1>
        <a:srgbClr val="333333"/>
      </a:dk1>
      <a:lt1>
        <a:sysClr val="window" lastClr="FFFFFF"/>
      </a:lt1>
      <a:dk2>
        <a:srgbClr val="3F5564"/>
      </a:dk2>
      <a:lt2>
        <a:srgbClr val="FFCD37"/>
      </a:lt2>
      <a:accent1>
        <a:srgbClr val="0077BC"/>
      </a:accent1>
      <a:accent2>
        <a:srgbClr val="D24723"/>
      </a:accent2>
      <a:accent3>
        <a:srgbClr val="008391"/>
      </a:accent3>
      <a:accent4>
        <a:srgbClr val="D53878"/>
      </a:accent4>
      <a:accent5>
        <a:srgbClr val="008767"/>
      </a:accent5>
      <a:accent6>
        <a:srgbClr val="674B99"/>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ctr">
          <a:defRPr dirty="0" smtClean="0"/>
        </a:defP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Standard 16_9.sv-SE_ny.potx" id="{BEFC9357-EA3A-416B-AF88-BD006C65C46B}" vid="{660F87B0-D292-478C-9F59-554F637119EA}"/>
    </a:ext>
  </a:extLst>
</a:theme>
</file>

<file path=ppt/theme/theme6.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sidor -23" id="{F5CAC154-4372-4F69-88D1-6799C7C674B0}" vid="{26FA61FD-B4B8-443C-A3E6-0560F8681B2E}"/>
    </a:ext>
  </a:extLst>
</a:theme>
</file>

<file path=ppt/theme/theme7.xml><?xml version="1.0" encoding="utf-8"?>
<a:theme xmlns:a="http://schemas.openxmlformats.org/drawingml/2006/main" name="Lila">
  <a:themeElements>
    <a:clrScheme name="Inköp och upphandling">
      <a:dk1>
        <a:srgbClr val="1F1F1F"/>
      </a:dk1>
      <a:lt1>
        <a:sysClr val="window" lastClr="FFFFFF"/>
      </a:lt1>
      <a:dk2>
        <a:srgbClr val="674B99"/>
      </a:dk2>
      <a:lt2>
        <a:srgbClr val="E1D1E8"/>
      </a:lt2>
      <a:accent1>
        <a:srgbClr val="008391"/>
      </a:accent1>
      <a:accent2>
        <a:srgbClr val="C0E4F2"/>
      </a:accent2>
      <a:accent3>
        <a:srgbClr val="B8E1C8"/>
      </a:accent3>
      <a:accent4>
        <a:srgbClr val="D53878"/>
      </a:accent4>
      <a:accent5>
        <a:srgbClr val="F8CCDC"/>
      </a:accent5>
      <a:accent6>
        <a:srgbClr val="FBCFB9"/>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ctr">
          <a:defRPr dirty="0" smtClean="0"/>
        </a:defP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Presentation1" id="{9260532B-6A49-4D1F-9F9D-291A30343214}" vid="{73330DFE-7F4F-42DB-8BB0-A9D1AC9B31F9}"/>
    </a:ext>
  </a:extLst>
</a:theme>
</file>

<file path=ppt/theme/theme8.xml><?xml version="1.0" encoding="utf-8"?>
<a:theme xmlns:a="http://schemas.openxmlformats.org/drawingml/2006/main" name="Göteborgs Stad – Grön dekor">
  <a:themeElements>
    <a:clrScheme name="Göteborgs Stad Powerpoint">
      <a:dk1>
        <a:sysClr val="windowText" lastClr="000000"/>
      </a:dk1>
      <a:lt1>
        <a:sysClr val="window" lastClr="FFFFFF"/>
      </a:lt1>
      <a:dk2>
        <a:srgbClr val="495663"/>
      </a:dk2>
      <a:lt2>
        <a:srgbClr val="FFCD37"/>
      </a:lt2>
      <a:accent1>
        <a:srgbClr val="0077BC"/>
      </a:accent1>
      <a:accent2>
        <a:srgbClr val="D24723"/>
      </a:accent2>
      <a:accent3>
        <a:srgbClr val="008391"/>
      </a:accent3>
      <a:accent4>
        <a:srgbClr val="D53878"/>
      </a:accent4>
      <a:accent5>
        <a:srgbClr val="008868"/>
      </a:accent5>
      <a:accent6>
        <a:srgbClr val="674B99"/>
      </a:accent6>
      <a:hlink>
        <a:srgbClr val="0563C1"/>
      </a:hlink>
      <a:folHlink>
        <a:srgbClr val="954F72"/>
      </a:folHlink>
    </a:clrScheme>
    <a:fontScheme name="Göteborgs Stad Powerpoint">
      <a:majorFont>
        <a:latin typeface="Arial Black"/>
        <a:ea typeface=""/>
        <a:cs typeface=""/>
      </a:majorFont>
      <a:minorFont>
        <a:latin typeface="Arial"/>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ctr">
          <a:defRPr dirty="0" smtClean="0"/>
        </a:defP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gbgs_stad_16-9_mall_samtliga_dekorbilder_sv.potx" id="{F648E09F-5C94-44ED-AF7E-78959434EC91}" vid="{26C33C10-7E45-4C8A-A1FB-DC79FE736FDC}"/>
    </a:ext>
  </a:extLst>
</a:theme>
</file>

<file path=ppt/theme/theme9.xml><?xml version="1.0" encoding="utf-8"?>
<a:theme xmlns:a="http://schemas.openxmlformats.org/drawingml/2006/main" name="1_Göteborgs Stad – Lila dekor">
  <a:themeElements>
    <a:clrScheme name="Göteborgs Stad mörka">
      <a:dk1>
        <a:srgbClr val="1F1F1F"/>
      </a:dk1>
      <a:lt1>
        <a:sysClr val="window" lastClr="FFFFFF"/>
      </a:lt1>
      <a:dk2>
        <a:srgbClr val="3F5564"/>
      </a:dk2>
      <a:lt2>
        <a:srgbClr val="FFCD37"/>
      </a:lt2>
      <a:accent1>
        <a:srgbClr val="0077BC"/>
      </a:accent1>
      <a:accent2>
        <a:srgbClr val="D24723"/>
      </a:accent2>
      <a:accent3>
        <a:srgbClr val="008391"/>
      </a:accent3>
      <a:accent4>
        <a:srgbClr val="D53878"/>
      </a:accent4>
      <a:accent5>
        <a:srgbClr val="008767"/>
      </a:accent5>
      <a:accent6>
        <a:srgbClr val="674B99"/>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ctr">
          <a:defRPr dirty="0" smtClean="0"/>
        </a:defP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Standard 16_9.sv-SE_med infografik.potx" id="{7F272A0E-72ED-41EE-B722-A71A6D99A2EE}" vid="{6461B390-5C14-4DAF-9E91-39D7F097FA7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116A92000201544F9D267C49C52F4A04" ma:contentTypeVersion="8" ma:contentTypeDescription="Skapa ett nytt dokument." ma:contentTypeScope="" ma:versionID="808be85ae30898a67c5aeb0bb91c8617">
  <xsd:schema xmlns:xsd="http://www.w3.org/2001/XMLSchema" xmlns:xs="http://www.w3.org/2001/XMLSchema" xmlns:p="http://schemas.microsoft.com/office/2006/metadata/properties" xmlns:ns2="c14830de-8ea5-41ee-a0d2-cef36d32dd58" xmlns:ns3="059b457e-ae0d-48bb-b90e-7b883d6bd4f4" targetNamespace="http://schemas.microsoft.com/office/2006/metadata/properties" ma:root="true" ma:fieldsID="6a7799012f0e134719e403534f566bd3" ns2:_="" ns3:_="">
    <xsd:import namespace="c14830de-8ea5-41ee-a0d2-cef36d32dd58"/>
    <xsd:import namespace="059b457e-ae0d-48bb-b90e-7b883d6bd4f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4830de-8ea5-41ee-a0d2-cef36d32dd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59b457e-ae0d-48bb-b90e-7b883d6bd4f4"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15503D-3530-486C-B96B-65F23DB60DED}">
  <ds:schemaRefs>
    <ds:schemaRef ds:uri="http://schemas.microsoft.com/sharepoint/v3/contenttype/forms"/>
  </ds:schemaRefs>
</ds:datastoreItem>
</file>

<file path=customXml/itemProps2.xml><?xml version="1.0" encoding="utf-8"?>
<ds:datastoreItem xmlns:ds="http://schemas.openxmlformats.org/officeDocument/2006/customXml" ds:itemID="{30E321CB-FABA-4CD3-ABAD-2A66E6E8C4F0}">
  <ds:schemaRefs>
    <ds:schemaRef ds:uri="http://schemas.microsoft.com/office/2006/metadata/properties"/>
    <ds:schemaRef ds:uri="http://www.w3.org/XML/1998/namespace"/>
    <ds:schemaRef ds:uri="http://schemas.microsoft.com/office/2006/documentManagement/types"/>
    <ds:schemaRef ds:uri="544ed455-2304-41e4-8425-360ddd3f2b92"/>
    <ds:schemaRef ds:uri="http://schemas.openxmlformats.org/package/2006/metadata/core-properties"/>
    <ds:schemaRef ds:uri="http://purl.org/dc/elements/1.1/"/>
    <ds:schemaRef ds:uri="http://schemas.microsoft.com/office/infopath/2007/PartnerControls"/>
    <ds:schemaRef ds:uri="4af0e314-ca46-4d76-af73-16c4137eef8a"/>
    <ds:schemaRef ds:uri="http://purl.org/dc/dcmitype/"/>
    <ds:schemaRef ds:uri="http://purl.org/dc/terms/"/>
  </ds:schemaRefs>
</ds:datastoreItem>
</file>

<file path=customXml/itemProps3.xml><?xml version="1.0" encoding="utf-8"?>
<ds:datastoreItem xmlns:ds="http://schemas.openxmlformats.org/officeDocument/2006/customXml" ds:itemID="{911398FD-F35C-48AE-B774-7DF8D0313BEE}"/>
</file>

<file path=docProps/app.xml><?xml version="1.0" encoding="utf-8"?>
<Properties xmlns="http://schemas.openxmlformats.org/officeDocument/2006/extended-properties" xmlns:vt="http://schemas.openxmlformats.org/officeDocument/2006/docPropsVTypes">
  <Template/>
  <TotalTime>0</TotalTime>
  <Words>1645</Words>
  <Application>Microsoft Office PowerPoint</Application>
  <PresentationFormat>Bredbild</PresentationFormat>
  <Paragraphs>179</Paragraphs>
  <Slides>12</Slides>
  <Notes>11</Notes>
  <HiddenSlides>0</HiddenSlides>
  <MMClips>0</MMClips>
  <ScaleCrop>false</ScaleCrop>
  <HeadingPairs>
    <vt:vector size="8" baseType="variant">
      <vt:variant>
        <vt:lpstr>Använt teckensnitt</vt:lpstr>
      </vt:variant>
      <vt:variant>
        <vt:i4>10</vt:i4>
      </vt:variant>
      <vt:variant>
        <vt:lpstr>Tema</vt:lpstr>
      </vt:variant>
      <vt:variant>
        <vt:i4>9</vt:i4>
      </vt:variant>
      <vt:variant>
        <vt:lpstr>Serverprogram för OLE-inbäddning</vt:lpstr>
      </vt:variant>
      <vt:variant>
        <vt:i4>1</vt:i4>
      </vt:variant>
      <vt:variant>
        <vt:lpstr>Bildrubriker</vt:lpstr>
      </vt:variant>
      <vt:variant>
        <vt:i4>12</vt:i4>
      </vt:variant>
    </vt:vector>
  </HeadingPairs>
  <TitlesOfParts>
    <vt:vector size="32" baseType="lpstr">
      <vt:lpstr>Arial</vt:lpstr>
      <vt:lpstr>Arial (Brödtext)</vt:lpstr>
      <vt:lpstr>Arial Black</vt:lpstr>
      <vt:lpstr>Calibri</vt:lpstr>
      <vt:lpstr>Corbel</vt:lpstr>
      <vt:lpstr>OpenSans</vt:lpstr>
      <vt:lpstr>Symbol</vt:lpstr>
      <vt:lpstr>Times New Roman</vt:lpstr>
      <vt:lpstr>TimesNewRomanPSMT</vt:lpstr>
      <vt:lpstr>Wingdings</vt:lpstr>
      <vt:lpstr>Göteborgs Stad – Blå dekor</vt:lpstr>
      <vt:lpstr>Göteborgs Stad – Turkos dekor</vt:lpstr>
      <vt:lpstr>Layout diverse</vt:lpstr>
      <vt:lpstr>GE-standard</vt:lpstr>
      <vt:lpstr>1_Göteborgs Stad – Turkos dekor</vt:lpstr>
      <vt:lpstr>BRG Basic</vt:lpstr>
      <vt:lpstr>Lila</vt:lpstr>
      <vt:lpstr>Göteborgs Stad – Grön dekor</vt:lpstr>
      <vt:lpstr>1_Göteborgs Stad – Lila dekor</vt:lpstr>
      <vt:lpstr>think-cell Slide</vt:lpstr>
      <vt:lpstr>Uppföljning av målen i  miljö- och klimatprogrammet   Stadsmiljönämnden 21 november 2025</vt:lpstr>
      <vt:lpstr>Ekologiskt hållbar stad 2030</vt:lpstr>
      <vt:lpstr>Rapportens innehåll</vt:lpstr>
      <vt:lpstr>PowerPoint-presentation</vt:lpstr>
      <vt:lpstr>Slutsatser</vt:lpstr>
      <vt:lpstr>Rekommendationer </vt:lpstr>
      <vt:lpstr>Övergripande rekommendationer</vt:lpstr>
      <vt:lpstr>Näringsliv, akademi, invånare och nationell politik behövs för omställningen  Här har BRG en viktig roll</vt:lpstr>
      <vt:lpstr>PowerPoint-presentation</vt:lpstr>
      <vt:lpstr>Mål Hållbarhet 2025</vt:lpstr>
      <vt:lpstr>Mål Hållbarhet 2025</vt:lpstr>
      <vt:lpstr>Läs mer i rapport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16:9</dc:title>
  <dc:creator>kristofer.palmestal@miljo.goteborg.se</dc:creator>
  <cp:lastModifiedBy>Jessica Nilsson</cp:lastModifiedBy>
  <cp:revision>26</cp:revision>
  <cp:lastPrinted>2025-03-03T13:04:11Z</cp:lastPrinted>
  <dcterms:created xsi:type="dcterms:W3CDTF">2022-01-20T14:09:27Z</dcterms:created>
  <dcterms:modified xsi:type="dcterms:W3CDTF">2025-11-04T06:5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6A92000201544F9D267C49C52F4A04</vt:lpwstr>
  </property>
  <property fmtid="{D5CDD505-2E9C-101B-9397-08002B2CF9AE}" pid="3" name="MediaServiceImageTags">
    <vt:lpwstr/>
  </property>
</Properties>
</file>